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Override1.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41" r:id="rId5"/>
  </p:sldMasterIdLst>
  <p:notesMasterIdLst>
    <p:notesMasterId r:id="rId30"/>
  </p:notesMasterIdLst>
  <p:handoutMasterIdLst>
    <p:handoutMasterId r:id="rId31"/>
  </p:handoutMasterIdLst>
  <p:sldIdLst>
    <p:sldId id="591" r:id="rId6"/>
    <p:sldId id="691" r:id="rId7"/>
    <p:sldId id="789" r:id="rId8"/>
    <p:sldId id="798" r:id="rId9"/>
    <p:sldId id="774" r:id="rId10"/>
    <p:sldId id="775" r:id="rId11"/>
    <p:sldId id="796" r:id="rId12"/>
    <p:sldId id="795" r:id="rId13"/>
    <p:sldId id="783" r:id="rId14"/>
    <p:sldId id="797" r:id="rId15"/>
    <p:sldId id="804" r:id="rId16"/>
    <p:sldId id="778" r:id="rId17"/>
    <p:sldId id="803" r:id="rId18"/>
    <p:sldId id="712" r:id="rId19"/>
    <p:sldId id="791" r:id="rId20"/>
    <p:sldId id="799" r:id="rId21"/>
    <p:sldId id="792" r:id="rId22"/>
    <p:sldId id="793" r:id="rId23"/>
    <p:sldId id="801" r:id="rId24"/>
    <p:sldId id="713" r:id="rId25"/>
    <p:sldId id="781" r:id="rId26"/>
    <p:sldId id="800" r:id="rId27"/>
    <p:sldId id="802" r:id="rId28"/>
    <p:sldId id="696" r:id="rId29"/>
  </p:sldIdLst>
  <p:sldSz cx="9144000" cy="5143500" type="screen16x9"/>
  <p:notesSz cx="6858000" cy="9144000"/>
  <p:defaultTextStyle>
    <a:defPPr>
      <a:defRPr lang="en-US"/>
    </a:defPPr>
    <a:lvl1pPr algn="l" rtl="0" fontAlgn="base">
      <a:spcBef>
        <a:spcPct val="50000"/>
      </a:spcBef>
      <a:spcAft>
        <a:spcPct val="0"/>
      </a:spcAft>
      <a:defRPr kern="1200">
        <a:solidFill>
          <a:schemeClr val="tx1"/>
        </a:solidFill>
        <a:latin typeface="Trebuchet MS" pitchFamily="34" charset="0"/>
        <a:ea typeface="+mn-ea"/>
        <a:cs typeface="+mn-cs"/>
      </a:defRPr>
    </a:lvl1pPr>
    <a:lvl2pPr marL="348389" algn="l" rtl="0" fontAlgn="base">
      <a:spcBef>
        <a:spcPct val="50000"/>
      </a:spcBef>
      <a:spcAft>
        <a:spcPct val="0"/>
      </a:spcAft>
      <a:defRPr kern="1200">
        <a:solidFill>
          <a:schemeClr val="tx1"/>
        </a:solidFill>
        <a:latin typeface="Trebuchet MS" pitchFamily="34" charset="0"/>
        <a:ea typeface="+mn-ea"/>
        <a:cs typeface="+mn-cs"/>
      </a:defRPr>
    </a:lvl2pPr>
    <a:lvl3pPr marL="696777" algn="l" rtl="0" fontAlgn="base">
      <a:spcBef>
        <a:spcPct val="50000"/>
      </a:spcBef>
      <a:spcAft>
        <a:spcPct val="0"/>
      </a:spcAft>
      <a:defRPr kern="1200">
        <a:solidFill>
          <a:schemeClr val="tx1"/>
        </a:solidFill>
        <a:latin typeface="Trebuchet MS" pitchFamily="34" charset="0"/>
        <a:ea typeface="+mn-ea"/>
        <a:cs typeface="+mn-cs"/>
      </a:defRPr>
    </a:lvl3pPr>
    <a:lvl4pPr marL="1045165" algn="l" rtl="0" fontAlgn="base">
      <a:spcBef>
        <a:spcPct val="50000"/>
      </a:spcBef>
      <a:spcAft>
        <a:spcPct val="0"/>
      </a:spcAft>
      <a:defRPr kern="1200">
        <a:solidFill>
          <a:schemeClr val="tx1"/>
        </a:solidFill>
        <a:latin typeface="Trebuchet MS" pitchFamily="34" charset="0"/>
        <a:ea typeface="+mn-ea"/>
        <a:cs typeface="+mn-cs"/>
      </a:defRPr>
    </a:lvl4pPr>
    <a:lvl5pPr marL="1393554" algn="l" rtl="0" fontAlgn="base">
      <a:spcBef>
        <a:spcPct val="50000"/>
      </a:spcBef>
      <a:spcAft>
        <a:spcPct val="0"/>
      </a:spcAft>
      <a:defRPr kern="1200">
        <a:solidFill>
          <a:schemeClr val="tx1"/>
        </a:solidFill>
        <a:latin typeface="Trebuchet MS" pitchFamily="34" charset="0"/>
        <a:ea typeface="+mn-ea"/>
        <a:cs typeface="+mn-cs"/>
      </a:defRPr>
    </a:lvl5pPr>
    <a:lvl6pPr marL="1741943" algn="l" defTabSz="696777" rtl="0" eaLnBrk="1" latinLnBrk="0" hangingPunct="1">
      <a:defRPr kern="1200">
        <a:solidFill>
          <a:schemeClr val="tx1"/>
        </a:solidFill>
        <a:latin typeface="Trebuchet MS" pitchFamily="34" charset="0"/>
        <a:ea typeface="+mn-ea"/>
        <a:cs typeface="+mn-cs"/>
      </a:defRPr>
    </a:lvl6pPr>
    <a:lvl7pPr marL="2090332" algn="l" defTabSz="696777" rtl="0" eaLnBrk="1" latinLnBrk="0" hangingPunct="1">
      <a:defRPr kern="1200">
        <a:solidFill>
          <a:schemeClr val="tx1"/>
        </a:solidFill>
        <a:latin typeface="Trebuchet MS" pitchFamily="34" charset="0"/>
        <a:ea typeface="+mn-ea"/>
        <a:cs typeface="+mn-cs"/>
      </a:defRPr>
    </a:lvl7pPr>
    <a:lvl8pPr marL="2438721" algn="l" defTabSz="696777" rtl="0" eaLnBrk="1" latinLnBrk="0" hangingPunct="1">
      <a:defRPr kern="1200">
        <a:solidFill>
          <a:schemeClr val="tx1"/>
        </a:solidFill>
        <a:latin typeface="Trebuchet MS" pitchFamily="34" charset="0"/>
        <a:ea typeface="+mn-ea"/>
        <a:cs typeface="+mn-cs"/>
      </a:defRPr>
    </a:lvl8pPr>
    <a:lvl9pPr marL="2787109" algn="l" defTabSz="696777" rtl="0" eaLnBrk="1" latinLnBrk="0" hangingPunct="1">
      <a:defRPr kern="1200">
        <a:solidFill>
          <a:schemeClr val="tx1"/>
        </a:solidFill>
        <a:latin typeface="Trebuchet MS" pitchFamily="34" charset="0"/>
        <a:ea typeface="+mn-ea"/>
        <a:cs typeface="+mn-cs"/>
      </a:defRPr>
    </a:lvl9pPr>
  </p:defaultTextStyle>
  <p:extLst>
    <p:ext uri="{EFAFB233-063F-42B5-8137-9DF3F51BA10A}">
      <p15:sldGuideLst xmlns:p15="http://schemas.microsoft.com/office/powerpoint/2012/main">
        <p15:guide id="1" orient="horz" pos="2845" userDrawn="1">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anielle Claude" initials="DC" lastIdx="6" clrIdx="0"/>
  <p:cmAuthor id="1" name="Greg Kovich" initials="" lastIdx="6" clrIdx="1"/>
  <p:cmAuthor id="2" name="hfaroni" initials="h" lastIdx="7"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0085CA"/>
    <a:srgbClr val="CF0072"/>
    <a:srgbClr val="D30547"/>
    <a:srgbClr val="00B2AA"/>
    <a:srgbClr val="E1E1E1"/>
    <a:srgbClr val="C6C6C6"/>
    <a:srgbClr val="ABABAB"/>
    <a:srgbClr val="919191"/>
    <a:srgbClr val="7878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110" autoAdjust="0"/>
    <p:restoredTop sz="93911" autoAdjust="0"/>
  </p:normalViewPr>
  <p:slideViewPr>
    <p:cSldViewPr snapToGrid="0">
      <p:cViewPr varScale="1">
        <p:scale>
          <a:sx n="90" d="100"/>
          <a:sy n="90" d="100"/>
        </p:scale>
        <p:origin x="792" y="78"/>
      </p:cViewPr>
      <p:guideLst>
        <p:guide orient="horz" pos="2845"/>
        <p:guide pos="288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p:cViewPr varScale="1">
        <p:scale>
          <a:sx n="85" d="100"/>
          <a:sy n="85" d="100"/>
        </p:scale>
        <p:origin x="2940" y="96"/>
      </p:cViewPr>
      <p:guideLst>
        <p:guide orient="horz" pos="2880"/>
        <p:guide pos="2160"/>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2"/>
          <p:cNvSpPr txBox="1">
            <a:spLocks/>
          </p:cNvSpPr>
          <p:nvPr/>
        </p:nvSpPr>
        <p:spPr>
          <a:xfrm>
            <a:off x="3175000" y="8660041"/>
            <a:ext cx="484187" cy="239712"/>
          </a:xfrm>
          <a:prstGeom prst="rect">
            <a:avLst/>
          </a:prstGeom>
        </p:spPr>
        <p:txBody>
          <a:bodyPr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600" smtClean="0">
                <a:solidFill>
                  <a:schemeClr val="tx1"/>
                </a:solidFill>
                <a:latin typeface="Trebuchet MS" panose="020B0603020202020204" pitchFamily="34" charset="0"/>
                <a:cs typeface="Trebuchet MS" panose="020B0604020202020204" pitchFamily="34" charset="-128"/>
              </a:rPr>
              <a:pPr algn="ctr">
                <a:spcBef>
                  <a:spcPct val="0"/>
                </a:spcBef>
                <a:defRPr/>
              </a:pPr>
              <a:t>‹Nº›</a:t>
            </a:fld>
            <a:endParaRPr lang="en-US" sz="600" dirty="0">
              <a:solidFill>
                <a:schemeClr val="tx1"/>
              </a:solidFill>
              <a:latin typeface="Trebuchet MS" panose="020B0603020202020204" pitchFamily="34" charset="0"/>
              <a:cs typeface="Trebuchet MS" panose="020B0604020202020204" pitchFamily="34" charset="-128"/>
            </a:endParaRPr>
          </a:p>
        </p:txBody>
      </p:sp>
    </p:spTree>
    <p:extLst>
      <p:ext uri="{BB962C8B-B14F-4D97-AF65-F5344CB8AC3E}">
        <p14:creationId xmlns:p14="http://schemas.microsoft.com/office/powerpoint/2010/main" val="26553609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8" name="Rectangle 4"/>
          <p:cNvSpPr>
            <a:spLocks noGrp="1" noRot="1" noChangeAspect="1" noChangeArrowheads="1" noTextEdit="1"/>
          </p:cNvSpPr>
          <p:nvPr>
            <p:ph type="sldImg" idx="2"/>
          </p:nvPr>
        </p:nvSpPr>
        <p:spPr bwMode="auto">
          <a:xfrm>
            <a:off x="381000" y="400050"/>
            <a:ext cx="6096000" cy="3429000"/>
          </a:xfrm>
          <a:prstGeom prst="rect">
            <a:avLst/>
          </a:prstGeom>
          <a:noFill/>
          <a:ln w="9525">
            <a:solidFill>
              <a:srgbClr val="000000"/>
            </a:solidFill>
            <a:miter lim="800000"/>
            <a:headEnd/>
            <a:tailEnd/>
          </a:ln>
          <a:effectLst/>
        </p:spPr>
      </p:sp>
      <p:sp>
        <p:nvSpPr>
          <p:cNvPr id="11269" name="Rectangle 5"/>
          <p:cNvSpPr>
            <a:spLocks noGrp="1" noChangeArrowheads="1"/>
          </p:cNvSpPr>
          <p:nvPr>
            <p:ph type="body" sz="quarter" idx="3"/>
          </p:nvPr>
        </p:nvSpPr>
        <p:spPr bwMode="auto">
          <a:xfrm>
            <a:off x="457200" y="3971925"/>
            <a:ext cx="5943600" cy="464800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2"/>
          <p:cNvSpPr txBox="1">
            <a:spLocks/>
          </p:cNvSpPr>
          <p:nvPr/>
        </p:nvSpPr>
        <p:spPr>
          <a:xfrm>
            <a:off x="3165476" y="8677637"/>
            <a:ext cx="484187" cy="239712"/>
          </a:xfrm>
          <a:prstGeom prst="rect">
            <a:avLst/>
          </a:prstGeom>
        </p:spPr>
        <p:txBody>
          <a:bodyPr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600" smtClean="0">
                <a:solidFill>
                  <a:schemeClr val="tx1"/>
                </a:solidFill>
                <a:latin typeface="Trebuchet MS" panose="020B0603020202020204" pitchFamily="34" charset="0"/>
                <a:cs typeface="Trebuchet MS" panose="020B0604020202020204" pitchFamily="34" charset="-128"/>
              </a:rPr>
              <a:pPr algn="ctr">
                <a:spcBef>
                  <a:spcPct val="0"/>
                </a:spcBef>
                <a:defRPr/>
              </a:pPr>
              <a:t>‹Nº›</a:t>
            </a:fld>
            <a:endParaRPr lang="en-US" sz="600" dirty="0">
              <a:solidFill>
                <a:schemeClr val="tx1"/>
              </a:solidFill>
              <a:latin typeface="Trebuchet MS" panose="020B0603020202020204" pitchFamily="34" charset="0"/>
              <a:cs typeface="Trebuchet MS" panose="020B0604020202020204" pitchFamily="34" charset="-128"/>
            </a:endParaRPr>
          </a:p>
        </p:txBody>
      </p:sp>
    </p:spTree>
    <p:extLst>
      <p:ext uri="{BB962C8B-B14F-4D97-AF65-F5344CB8AC3E}">
        <p14:creationId xmlns:p14="http://schemas.microsoft.com/office/powerpoint/2010/main" val="2017138817"/>
      </p:ext>
    </p:extLst>
  </p:cSld>
  <p:clrMap bg1="lt1" tx1="dk1" bg2="lt2" tx2="dk2" accent1="accent1" accent2="accent2" accent3="accent3" accent4="accent4" accent5="accent5" accent6="accent6" hlink="hlink" folHlink="folHlink"/>
  <p:notesStyle>
    <a:lvl1pPr marL="87097" indent="-87097" algn="l" rtl="0" fontAlgn="base">
      <a:spcBef>
        <a:spcPct val="30000"/>
      </a:spcBef>
      <a:spcAft>
        <a:spcPct val="0"/>
      </a:spcAft>
      <a:buClr>
        <a:srgbClr val="404040"/>
      </a:buClr>
      <a:buFont typeface="Trebuchet MS" pitchFamily="34" charset="0"/>
      <a:buChar char="•"/>
      <a:defRPr sz="800" kern="1200">
        <a:solidFill>
          <a:schemeClr val="tx1"/>
        </a:solidFill>
        <a:latin typeface="Trebuchet MS" panose="020B0603020202020204" pitchFamily="34" charset="0"/>
        <a:ea typeface="+mn-ea"/>
        <a:cs typeface="+mn-cs"/>
      </a:defRPr>
    </a:lvl1pPr>
    <a:lvl2pPr marL="174194" indent="-87097" algn="l" rtl="0" fontAlgn="base">
      <a:spcBef>
        <a:spcPts val="0"/>
      </a:spcBef>
      <a:spcAft>
        <a:spcPct val="0"/>
      </a:spcAft>
      <a:buClr>
        <a:srgbClr val="404040"/>
      </a:buClr>
      <a:buFont typeface="Trebuchet MS"/>
      <a:buChar char="‒"/>
      <a:defRPr sz="800" kern="1200">
        <a:solidFill>
          <a:schemeClr val="tx1"/>
        </a:solidFill>
        <a:latin typeface="Trebuchet MS" panose="020B0603020202020204" pitchFamily="34" charset="0"/>
        <a:ea typeface="+mn-ea"/>
        <a:cs typeface="+mn-cs"/>
      </a:defRPr>
    </a:lvl2pPr>
    <a:lvl3pPr marL="261291" indent="-87097" algn="l" rtl="0" fontAlgn="base">
      <a:spcBef>
        <a:spcPts val="0"/>
      </a:spcBef>
      <a:spcAft>
        <a:spcPct val="0"/>
      </a:spcAft>
      <a:buClr>
        <a:srgbClr val="404040"/>
      </a:buClr>
      <a:buFont typeface="Trebuchet MS"/>
      <a:buChar char="–"/>
      <a:defRPr sz="800" kern="1200">
        <a:solidFill>
          <a:schemeClr val="tx1"/>
        </a:solidFill>
        <a:latin typeface="Trebuchet MS" panose="020B0603020202020204" pitchFamily="34" charset="0"/>
        <a:ea typeface="+mn-ea"/>
        <a:cs typeface="+mn-cs"/>
      </a:defRPr>
    </a:lvl3pPr>
    <a:lvl4pPr marL="348389" indent="-87097" algn="l" rtl="0" fontAlgn="base">
      <a:spcBef>
        <a:spcPts val="0"/>
      </a:spcBef>
      <a:spcAft>
        <a:spcPct val="0"/>
      </a:spcAft>
      <a:buClr>
        <a:srgbClr val="404040"/>
      </a:buClr>
      <a:buFont typeface="Trebuchet MS"/>
      <a:buChar char="–"/>
      <a:defRPr sz="700" kern="1200">
        <a:solidFill>
          <a:schemeClr val="tx1"/>
        </a:solidFill>
        <a:latin typeface="Trebuchet MS" panose="020B0603020202020204" pitchFamily="34" charset="0"/>
        <a:ea typeface="+mn-ea"/>
        <a:cs typeface="+mn-cs"/>
      </a:defRPr>
    </a:lvl4pPr>
    <a:lvl5pPr marL="435485" indent="-87097" algn="l" rtl="0" fontAlgn="base">
      <a:spcBef>
        <a:spcPts val="0"/>
      </a:spcBef>
      <a:spcAft>
        <a:spcPct val="0"/>
      </a:spcAft>
      <a:buClr>
        <a:srgbClr val="404040"/>
      </a:buClr>
      <a:buFont typeface="Trebuchet MS"/>
      <a:buChar char="–"/>
      <a:defRPr sz="600" kern="1200">
        <a:solidFill>
          <a:schemeClr val="tx1"/>
        </a:solidFill>
        <a:latin typeface="Trebuchet MS" panose="020B0603020202020204" pitchFamily="34" charset="0"/>
        <a:ea typeface="+mn-ea"/>
        <a:cs typeface="+mn-cs"/>
      </a:defRPr>
    </a:lvl5pPr>
    <a:lvl6pPr marL="1741943" algn="l" defTabSz="696777" rtl="0" eaLnBrk="1" latinLnBrk="0" hangingPunct="1">
      <a:defRPr sz="900" kern="1200">
        <a:solidFill>
          <a:schemeClr val="tx1"/>
        </a:solidFill>
        <a:latin typeface="Trebuchet MS"/>
        <a:ea typeface="+mn-ea"/>
        <a:cs typeface="+mn-cs"/>
      </a:defRPr>
    </a:lvl6pPr>
    <a:lvl7pPr marL="2090332" algn="l" defTabSz="696777" rtl="0" eaLnBrk="1" latinLnBrk="0" hangingPunct="1">
      <a:defRPr sz="900" kern="1200">
        <a:solidFill>
          <a:schemeClr val="tx1"/>
        </a:solidFill>
        <a:latin typeface="Trebuchet MS"/>
        <a:ea typeface="+mn-ea"/>
        <a:cs typeface="+mn-cs"/>
      </a:defRPr>
    </a:lvl7pPr>
    <a:lvl8pPr marL="2438721" algn="l" defTabSz="696777" rtl="0" eaLnBrk="1" latinLnBrk="0" hangingPunct="1">
      <a:defRPr sz="900" kern="1200">
        <a:solidFill>
          <a:schemeClr val="tx1"/>
        </a:solidFill>
        <a:latin typeface="Trebuchet MS"/>
        <a:ea typeface="+mn-ea"/>
        <a:cs typeface="+mn-cs"/>
      </a:defRPr>
    </a:lvl8pPr>
    <a:lvl9pPr marL="2787109" algn="l" defTabSz="696777" rtl="0" eaLnBrk="1" latinLnBrk="0" hangingPunct="1">
      <a:defRPr sz="900" kern="1200">
        <a:solidFill>
          <a:schemeClr val="tx1"/>
        </a:solidFill>
        <a:latin typeface="Trebuchet MS"/>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aseline="0" dirty="0"/>
              <a:t>Gartner Report: Infrastructure and Operations Leaders: Prepare for the IoT Rush, 1 March 2016</a:t>
            </a:r>
          </a:p>
          <a:p>
            <a:endParaRPr lang="en-US" baseline="0"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In</a:t>
            </a:r>
            <a:r>
              <a:rPr lang="en-US" baseline="0" dirty="0"/>
              <a:t> March, 2019, ALE will be able to automate the identification of IoT devices working in conjunction with </a:t>
            </a:r>
            <a:r>
              <a:rPr lang="en-US" baseline="0" dirty="0" err="1"/>
              <a:t>fingerbank</a:t>
            </a:r>
            <a:r>
              <a:rPr lang="en-US" baseline="0" dirty="0"/>
              <a:t> cloud service. </a:t>
            </a:r>
            <a:r>
              <a:rPr lang="en-US" baseline="0" dirty="0" err="1"/>
              <a:t>Fingerbank</a:t>
            </a:r>
            <a:r>
              <a:rPr lang="en-US" baseline="0" dirty="0"/>
              <a:t> provides an extensive data base of products and devices which cover a variety of industries and equipment vendors. In this example, you’ll note the Honeywell smart thermostat being detected by the system..</a:t>
            </a:r>
            <a:endParaRPr lang="en-US" dirty="0"/>
          </a:p>
        </p:txBody>
      </p:sp>
    </p:spTree>
    <p:extLst>
      <p:ext uri="{BB962C8B-B14F-4D97-AF65-F5344CB8AC3E}">
        <p14:creationId xmlns:p14="http://schemas.microsoft.com/office/powerpoint/2010/main" val="36190853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87097" lvl="1" indent="0">
              <a:buNone/>
            </a:pPr>
            <a:endParaRPr lang="en-US" dirty="0"/>
          </a:p>
        </p:txBody>
      </p:sp>
      <p:sp>
        <p:nvSpPr>
          <p:cNvPr id="4" name="Slide Number Placeholder 3"/>
          <p:cNvSpPr>
            <a:spLocks noGrp="1"/>
          </p:cNvSpPr>
          <p:nvPr>
            <p:ph type="sldNum" sz="quarter" idx="10"/>
          </p:nvPr>
        </p:nvSpPr>
        <p:spPr/>
        <p:txBody>
          <a:bodyPr/>
          <a:lstStyle/>
          <a:p>
            <a:fld id="{B8CF3955-D8C6-D940-A75B-E7B550A24CB0}" type="slidenum">
              <a:rPr lang="en-US" smtClean="0"/>
              <a:t>19</a:t>
            </a:fld>
            <a:endParaRPr lang="en-US"/>
          </a:p>
        </p:txBody>
      </p:sp>
    </p:spTree>
    <p:extLst>
      <p:ext uri="{BB962C8B-B14F-4D97-AF65-F5344CB8AC3E}">
        <p14:creationId xmlns:p14="http://schemas.microsoft.com/office/powerpoint/2010/main" val="1488671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00075" y="1143000"/>
            <a:ext cx="5657850" cy="3086100"/>
          </a:xfrm>
        </p:spPr>
      </p:sp>
      <p:sp>
        <p:nvSpPr>
          <p:cNvPr id="3" name="Notes Placeholder 2"/>
          <p:cNvSpPr>
            <a:spLocks noGrp="1"/>
          </p:cNvSpPr>
          <p:nvPr>
            <p:ph type="body" idx="1"/>
          </p:nvPr>
        </p:nvSpPr>
        <p:spPr/>
        <p:txBody>
          <a:bodyPr/>
          <a:lstStyle/>
          <a:p>
            <a:endParaRPr lang="sk-SK"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CF3955-D8C6-D940-A75B-E7B550A24CB0}" type="slidenum">
              <a:rPr kumimoji="0" lang="en-US" sz="1200" b="0" i="0" u="none" strike="noStrike" kern="1200" cap="none" spc="0" normalizeH="0" baseline="0" noProof="0" smtClean="0">
                <a:ln>
                  <a:noFill/>
                </a:ln>
                <a:solidFill>
                  <a:prstClr val="black"/>
                </a:solidFill>
                <a:effectLst/>
                <a:uLnTx/>
                <a:uFillTx/>
                <a:latin typeface="Trebuchet MS" panose="020B0603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Trebuchet MS" panose="020B0603020202020204" pitchFamily="34" charset="0"/>
              <a:ea typeface="+mn-ea"/>
              <a:cs typeface="+mn-cs"/>
            </a:endParaRPr>
          </a:p>
        </p:txBody>
      </p:sp>
    </p:spTree>
    <p:extLst>
      <p:ext uri="{BB962C8B-B14F-4D97-AF65-F5344CB8AC3E}">
        <p14:creationId xmlns:p14="http://schemas.microsoft.com/office/powerpoint/2010/main" val="21763199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Notes Placeholder 2"/>
          <p:cNvSpPr>
            <a:spLocks noGrp="1"/>
          </p:cNvSpPr>
          <p:nvPr>
            <p:ph type="body" idx="1"/>
          </p:nvPr>
        </p:nvSpPr>
        <p:spPr>
          <a:noFill/>
          <a:ln/>
        </p:spPr>
        <p:txBody>
          <a:bodyPr/>
          <a:lstStyle/>
          <a:p>
            <a:pPr eaLnBrk="1" hangingPunct="1">
              <a:buFont typeface="Trebuchet MS" charset="0"/>
              <a:buNone/>
            </a:pPr>
            <a:r>
              <a:rPr lang="en-US" dirty="0">
                <a:latin typeface="Trebuchet MS" charset="0"/>
              </a:rPr>
              <a:t> </a:t>
            </a:r>
          </a:p>
        </p:txBody>
      </p:sp>
      <p:sp>
        <p:nvSpPr>
          <p:cNvPr id="22531" name="Slide Image Placeholder 4"/>
          <p:cNvSpPr>
            <a:spLocks noGrp="1" noRot="1" noChangeAspect="1"/>
          </p:cNvSpPr>
          <p:nvPr>
            <p:ph type="sldImg"/>
          </p:nvPr>
        </p:nvSpPr>
        <p:spPr>
          <a:ln/>
        </p:spPr>
      </p:sp>
    </p:spTree>
    <p:extLst>
      <p:ext uri="{BB962C8B-B14F-4D97-AF65-F5344CB8AC3E}">
        <p14:creationId xmlns:p14="http://schemas.microsoft.com/office/powerpoint/2010/main" val="4292853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On the operations side there is an evolution toward the smart campus.</a:t>
            </a:r>
          </a:p>
          <a:p>
            <a:r>
              <a:rPr lang="en-US" dirty="0"/>
              <a:t>Universities behave like a small city</a:t>
            </a:r>
            <a:r>
              <a:rPr lang="en-US" baseline="0" dirty="0"/>
              <a:t> which strive to </a:t>
            </a:r>
            <a:r>
              <a:rPr lang="en-US" dirty="0">
                <a:solidFill>
                  <a:schemeClr val="tx2">
                    <a:lumMod val="20000"/>
                    <a:lumOff val="80000"/>
                  </a:schemeClr>
                </a:solidFill>
              </a:rPr>
              <a:t>improve the users experience and the operational efficiency </a:t>
            </a:r>
          </a:p>
          <a:p>
            <a:r>
              <a:rPr lang="en-US" baseline="0" dirty="0">
                <a:solidFill>
                  <a:schemeClr val="tx2">
                    <a:lumMod val="20000"/>
                    <a:lumOff val="80000"/>
                  </a:schemeClr>
                </a:solidFill>
              </a:rPr>
              <a:t>In this context, </a:t>
            </a:r>
            <a:r>
              <a:rPr lang="en-US" dirty="0">
                <a:solidFill>
                  <a:schemeClr val="accent1">
                    <a:lumMod val="20000"/>
                    <a:lumOff val="80000"/>
                  </a:schemeClr>
                </a:solidFill>
                <a:latin typeface="Trebuchet MS"/>
                <a:cs typeface="Trebuchet MS" panose="020B0502040204020203" pitchFamily="34" charset="0"/>
              </a:rPr>
              <a:t>IoT plays an important role to…</a:t>
            </a:r>
          </a:p>
          <a:p>
            <a:pPr marL="288950" indent="-288950">
              <a:buFontTx/>
              <a:buChar char="-"/>
            </a:pPr>
            <a:r>
              <a:rPr lang="en-US" dirty="0">
                <a:solidFill>
                  <a:schemeClr val="accent1">
                    <a:lumMod val="20000"/>
                    <a:lumOff val="80000"/>
                  </a:schemeClr>
                </a:solidFill>
                <a:latin typeface="Trebuchet MS"/>
                <a:cs typeface="Trebuchet MS" panose="020B0502040204020203" pitchFamily="34" charset="0"/>
              </a:rPr>
              <a:t>Make operations more efficient</a:t>
            </a:r>
          </a:p>
          <a:p>
            <a:pPr marL="288950" indent="-288950">
              <a:buFontTx/>
              <a:buChar char="-"/>
            </a:pPr>
            <a:r>
              <a:rPr lang="en-US" dirty="0">
                <a:solidFill>
                  <a:schemeClr val="accent1">
                    <a:lumMod val="20000"/>
                    <a:lumOff val="80000"/>
                  </a:schemeClr>
                </a:solidFill>
                <a:latin typeface="Trebuchet MS"/>
                <a:cs typeface="Trebuchet MS" panose="020B0502040204020203" pitchFamily="34" charset="0"/>
              </a:rPr>
              <a:t>Reduce cost</a:t>
            </a:r>
          </a:p>
          <a:p>
            <a:pPr marL="288950" indent="-288950">
              <a:buFontTx/>
              <a:buChar char="-"/>
            </a:pPr>
            <a:r>
              <a:rPr lang="en-US" dirty="0">
                <a:solidFill>
                  <a:schemeClr val="accent1">
                    <a:lumMod val="20000"/>
                    <a:lumOff val="80000"/>
                  </a:schemeClr>
                </a:solidFill>
                <a:latin typeface="Trebuchet MS"/>
                <a:cs typeface="Trebuchet MS" panose="020B0502040204020203" pitchFamily="34" charset="0"/>
              </a:rPr>
              <a:t>Improve the safety of students and staff</a:t>
            </a:r>
          </a:p>
          <a:p>
            <a:pPr marL="288950" indent="-288950">
              <a:buFontTx/>
              <a:buChar char="-"/>
            </a:pPr>
            <a:r>
              <a:rPr lang="en-US" dirty="0">
                <a:solidFill>
                  <a:schemeClr val="accent1">
                    <a:lumMod val="20000"/>
                    <a:lumOff val="80000"/>
                  </a:schemeClr>
                </a:solidFill>
                <a:latin typeface="Trebuchet MS"/>
                <a:cs typeface="Trebuchet MS" panose="020B0502040204020203" pitchFamily="34" charset="0"/>
              </a:rPr>
              <a:t>Offer better educational tools</a:t>
            </a:r>
          </a:p>
          <a:p>
            <a:pPr marL="288950" indent="-288950">
              <a:buFontTx/>
              <a:buChar char="-"/>
            </a:pPr>
            <a:r>
              <a:rPr lang="en-US" dirty="0">
                <a:solidFill>
                  <a:schemeClr val="accent1">
                    <a:lumMod val="20000"/>
                    <a:lumOff val="80000"/>
                  </a:schemeClr>
                </a:solidFill>
                <a:latin typeface="Trebuchet MS"/>
                <a:cs typeface="Trebuchet MS" panose="020B0502040204020203" pitchFamily="34" charset="0"/>
              </a:rPr>
              <a:t>And also provide a better and more pleasant experience in the campus.</a:t>
            </a:r>
          </a:p>
          <a:p>
            <a:endParaRPr lang="en-US" baseline="0" dirty="0"/>
          </a:p>
        </p:txBody>
      </p:sp>
    </p:spTree>
    <p:extLst>
      <p:ext uri="{BB962C8B-B14F-4D97-AF65-F5344CB8AC3E}">
        <p14:creationId xmlns:p14="http://schemas.microsoft.com/office/powerpoint/2010/main" val="16569479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a:t>IOT HUB Orchestration : by developing on top of the API or directly by using integrated node-red for defining</a:t>
            </a:r>
            <a:r>
              <a:rPr lang="en-US" baseline="0" dirty="0"/>
              <a:t> the </a:t>
            </a:r>
            <a:r>
              <a:rPr lang="en-US" dirty="0"/>
              <a:t>workflows. Being connected doesn’t mean </a:t>
            </a:r>
            <a:r>
              <a:rPr lang="en-US" dirty="0" err="1"/>
              <a:t>IoT</a:t>
            </a:r>
            <a:r>
              <a:rPr lang="en-US" dirty="0"/>
              <a:t> objects are intelligent enough to make decisions based on the information they have collected. That is why orchestration is key . </a:t>
            </a:r>
          </a:p>
          <a:p>
            <a:endParaRPr lang="en-US" dirty="0"/>
          </a:p>
          <a:p>
            <a:r>
              <a:rPr lang="en-US" dirty="0"/>
              <a:t>IOT HUB Analytics : </a:t>
            </a:r>
            <a:r>
              <a:rPr lang="en-US" dirty="0" err="1"/>
              <a:t>Influxdb</a:t>
            </a:r>
            <a:r>
              <a:rPr lang="en-US" dirty="0"/>
              <a:t> ( time series)  connector to </a:t>
            </a:r>
            <a:r>
              <a:rPr lang="en-US" dirty="0" err="1"/>
              <a:t>Grafana</a:t>
            </a:r>
            <a:r>
              <a:rPr lang="en-US" dirty="0"/>
              <a:t> for creating rapid</a:t>
            </a:r>
            <a:r>
              <a:rPr lang="en-US" baseline="0" dirty="0"/>
              <a:t> Dashboards </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Analytics, dashboard management and potential complement with AI, through Rainbow </a:t>
            </a:r>
            <a:r>
              <a:rPr lang="en-US" sz="1200" kern="1200" dirty="0" err="1">
                <a:solidFill>
                  <a:schemeClr val="tx1"/>
                </a:solidFill>
                <a:effectLst/>
                <a:latin typeface="+mn-lt"/>
                <a:ea typeface="+mn-ea"/>
                <a:cs typeface="+mn-cs"/>
              </a:rPr>
              <a:t>CPaaS</a:t>
            </a:r>
            <a:endParaRPr lang="fr-FR" sz="1200" kern="1200" dirty="0">
              <a:solidFill>
                <a:schemeClr val="tx1"/>
              </a:solidFill>
              <a:effectLst/>
              <a:latin typeface="+mn-lt"/>
              <a:ea typeface="+mn-ea"/>
              <a:cs typeface="+mn-cs"/>
            </a:endParaRPr>
          </a:p>
          <a:p>
            <a:endParaRPr lang="en-US" dirty="0"/>
          </a:p>
          <a:p>
            <a:endParaRPr lang="en-US" dirty="0"/>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7E6B40-3035-4E4D-A3B7-B0EC41535E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24431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rack bus routes, for improved safety</a:t>
            </a:r>
          </a:p>
          <a:p>
            <a:r>
              <a:rPr lang="en-US" dirty="0"/>
              <a:t>Automated attendance</a:t>
            </a:r>
          </a:p>
        </p:txBody>
      </p:sp>
    </p:spTree>
    <p:extLst>
      <p:ext uri="{BB962C8B-B14F-4D97-AF65-F5344CB8AC3E}">
        <p14:creationId xmlns:p14="http://schemas.microsoft.com/office/powerpoint/2010/main" val="17774376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oT is all about moving from being reactive to being proactive and even being predictive as a result of automating processes and decision making.</a:t>
            </a:r>
          </a:p>
          <a:p>
            <a:r>
              <a:rPr lang="en-US" dirty="0"/>
              <a:t>http://www.educationandlearning.nl/agenda/2017-02-24-innovation-room-8-augmented-reality-in-higher-education</a:t>
            </a:r>
          </a:p>
          <a:p>
            <a:endParaRPr lang="en-US" dirty="0"/>
          </a:p>
          <a:p>
            <a:endParaRPr lang="en-US" dirty="0"/>
          </a:p>
        </p:txBody>
      </p:sp>
    </p:spTree>
    <p:extLst>
      <p:ext uri="{BB962C8B-B14F-4D97-AF65-F5344CB8AC3E}">
        <p14:creationId xmlns:p14="http://schemas.microsoft.com/office/powerpoint/2010/main" val="4154731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 Sun Devil Stadium on the campus of Arizona State University in Tempe, sensors connected to the </a:t>
            </a:r>
            <a:r>
              <a:rPr lang="en-US" dirty="0" err="1"/>
              <a:t>WiFi</a:t>
            </a:r>
            <a:r>
              <a:rPr lang="en-US" dirty="0"/>
              <a:t> and cellular network collect temperature, humidity and noise data for use by facilities staff. As part of a longstanding cheering contest, the noise data analysis identifies the section of the stadium that is making the most noise and puts the results on a big screen. Sensors can identify if a faucet anywhere in the stadium is left running after a football game is over, to help cut water usage</a:t>
            </a:r>
          </a:p>
          <a:p>
            <a:endParaRPr lang="en-US" dirty="0"/>
          </a:p>
        </p:txBody>
      </p:sp>
    </p:spTree>
    <p:extLst>
      <p:ext uri="{BB962C8B-B14F-4D97-AF65-F5344CB8AC3E}">
        <p14:creationId xmlns:p14="http://schemas.microsoft.com/office/powerpoint/2010/main" val="389322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oT is all about moving from being reactive to being proactive and even being predictive as a result of automating processes and decision making.</a:t>
            </a:r>
          </a:p>
          <a:p>
            <a:r>
              <a:rPr lang="en-US" dirty="0"/>
              <a:t>http://www.educationandlearning.nl/agenda/2017-02-24-innovation-room-8-augmented-reality-in-higher-education</a:t>
            </a:r>
          </a:p>
          <a:p>
            <a:endParaRPr lang="en-US" dirty="0"/>
          </a:p>
          <a:p>
            <a:endParaRPr lang="en-US" dirty="0"/>
          </a:p>
        </p:txBody>
      </p:sp>
    </p:spTree>
    <p:extLst>
      <p:ext uri="{BB962C8B-B14F-4D97-AF65-F5344CB8AC3E}">
        <p14:creationId xmlns:p14="http://schemas.microsoft.com/office/powerpoint/2010/main" val="12381104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pPr marL="0" indent="0">
              <a:buNone/>
            </a:pPr>
            <a:r>
              <a:rPr lang="en-GB" baseline="0" dirty="0"/>
              <a:t>It’s about getting back the direct contact with the guests and rebuilding loyalty by offering differentiating services via an intuitive interface on a smart device, while capturing analytics and protecting against cyber crime. Of course, in parallel it is also necessary to deal with IoT and technology in general to improve productivity and reduce costs.</a:t>
            </a:r>
          </a:p>
          <a:p>
            <a:pPr marL="0" indent="0">
              <a:buNone/>
            </a:pPr>
            <a:endParaRPr lang="en-GB" baseline="0" dirty="0"/>
          </a:p>
          <a:p>
            <a:pPr marL="0" indent="0">
              <a:buNone/>
            </a:pPr>
            <a:r>
              <a:rPr lang="en-GB" baseline="0" dirty="0"/>
              <a:t>We will cover later during this presentation the value that ALE can bring to accompany hoteliers through their digital transformations.</a:t>
            </a:r>
          </a:p>
          <a:p>
            <a:endParaRPr lang="fr-FR" altLang="en-US" dirty="0">
              <a:ea typeface="Trebuchet MS" panose="020B0604020202020204" pitchFamily="34" charset="-128"/>
            </a:endParaRPr>
          </a:p>
        </p:txBody>
      </p:sp>
    </p:spTree>
    <p:extLst>
      <p:ext uri="{BB962C8B-B14F-4D97-AF65-F5344CB8AC3E}">
        <p14:creationId xmlns:p14="http://schemas.microsoft.com/office/powerpoint/2010/main" val="31584017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dirty="0" err="1"/>
              <a:t>IoT</a:t>
            </a:r>
            <a:r>
              <a:rPr lang="en-US" dirty="0"/>
              <a:t> can be a nurse call system, a temperature</a:t>
            </a:r>
            <a:r>
              <a:rPr lang="en-US" baseline="0" dirty="0"/>
              <a:t> sensors , ….</a:t>
            </a:r>
          </a:p>
          <a:p>
            <a:endParaRPr lang="en-US" baseline="0" dirty="0"/>
          </a:p>
          <a:p>
            <a:r>
              <a:rPr lang="en-US" sz="1200" kern="1200" dirty="0">
                <a:solidFill>
                  <a:schemeClr val="tx1"/>
                </a:solidFill>
                <a:effectLst/>
                <a:latin typeface="+mn-lt"/>
                <a:ea typeface="+mn-ea"/>
                <a:cs typeface="+mn-cs"/>
              </a:rPr>
              <a:t>To ride the wave and the exponential expansion of connected objects, we also need to manage numerous protocols and be scalable. As well, there is a strong need to integrate within business processes and applications. </a:t>
            </a:r>
            <a:endParaRPr lang="fr-FR"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is is the role of the </a:t>
            </a:r>
            <a:r>
              <a:rPr lang="en-US" sz="1200" kern="1200" dirty="0" err="1">
                <a:solidFill>
                  <a:schemeClr val="tx1"/>
                </a:solidFill>
                <a:effectLst/>
                <a:latin typeface="+mn-lt"/>
                <a:ea typeface="+mn-ea"/>
                <a:cs typeface="+mn-cs"/>
              </a:rPr>
              <a:t>IoT</a:t>
            </a:r>
            <a:r>
              <a:rPr lang="en-US" sz="1200" kern="1200" dirty="0">
                <a:solidFill>
                  <a:schemeClr val="tx1"/>
                </a:solidFill>
                <a:effectLst/>
                <a:latin typeface="+mn-lt"/>
                <a:ea typeface="+mn-ea"/>
                <a:cs typeface="+mn-cs"/>
              </a:rPr>
              <a:t> HUB framework, a secure, resilient and open platform, ready to host new type of protocols, easy to configure and maintain, as well as being able to build notification-based scenarios and connect to other applications such as Rainbow </a:t>
            </a:r>
            <a:r>
              <a:rPr lang="en-US" sz="1200" kern="1200" dirty="0" err="1">
                <a:solidFill>
                  <a:schemeClr val="tx1"/>
                </a:solidFill>
                <a:effectLst/>
                <a:latin typeface="+mn-lt"/>
                <a:ea typeface="+mn-ea"/>
                <a:cs typeface="+mn-cs"/>
              </a:rPr>
              <a:t>CPaaS</a:t>
            </a:r>
            <a:r>
              <a:rPr lang="en-US" sz="1200" kern="1200" dirty="0">
                <a:solidFill>
                  <a:schemeClr val="tx1"/>
                </a:solidFill>
                <a:effectLst/>
                <a:latin typeface="+mn-lt"/>
                <a:ea typeface="+mn-ea"/>
                <a:cs typeface="+mn-cs"/>
              </a:rPr>
              <a:t> Platform.</a:t>
            </a:r>
            <a:endParaRPr lang="fr-FR" sz="1200" kern="1200" dirty="0">
              <a:solidFill>
                <a:schemeClr val="tx1"/>
              </a:solidFill>
              <a:effectLst/>
              <a:latin typeface="+mn-lt"/>
              <a:ea typeface="+mn-ea"/>
              <a:cs typeface="+mn-cs"/>
            </a:endParaRPr>
          </a:p>
          <a:p>
            <a:endParaRPr lang="en-US"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7E6B40-3035-4E4D-A3B7-B0EC41535E8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07434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7.png"/></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ALE_Main Title Dark Blue 1">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8226" y="0"/>
            <a:ext cx="9115656" cy="5143500"/>
          </a:xfrm>
          <a:prstGeom prst="rect">
            <a:avLst/>
          </a:prstGeom>
        </p:spPr>
      </p:pic>
      <p:sp>
        <p:nvSpPr>
          <p:cNvPr id="15" name="Rectangle 14"/>
          <p:cNvSpPr/>
          <p:nvPr userDrawn="1">
            <p:custDataLst>
              <p:tags r:id="rId1"/>
            </p:custDataLst>
          </p:nvPr>
        </p:nvSpPr>
        <p:spPr>
          <a:xfrm>
            <a:off x="14113" y="-3176"/>
            <a:ext cx="9143882" cy="5146675"/>
          </a:xfrm>
          <a:prstGeom prst="rect">
            <a:avLst/>
          </a:prstGeom>
          <a:gradFill>
            <a:gsLst>
              <a:gs pos="81000">
                <a:schemeClr val="accent1">
                  <a:alpha val="70000"/>
                </a:schemeClr>
              </a:gs>
              <a:gs pos="0">
                <a:schemeClr val="accent1">
                  <a:lumMod val="75000"/>
                  <a:alpha val="6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sp>
        <p:nvSpPr>
          <p:cNvPr id="17" name="Rectangle 2"/>
          <p:cNvSpPr>
            <a:spLocks noGrp="1" noChangeArrowheads="1"/>
          </p:cNvSpPr>
          <p:nvPr>
            <p:ph type="ctrTitle"/>
          </p:nvPr>
        </p:nvSpPr>
        <p:spPr>
          <a:xfrm>
            <a:off x="4566791" y="1020697"/>
            <a:ext cx="4335909" cy="804859"/>
          </a:xfrm>
        </p:spPr>
        <p:txBody>
          <a:bodyPr anchor="b"/>
          <a:lstStyle>
            <a:lvl1pPr>
              <a:defRPr sz="2800" b="1" cap="none">
                <a:solidFill>
                  <a:schemeClr val="bg1"/>
                </a:solidFill>
                <a:latin typeface="Trebuchet MS" panose="020B0603020202020204" pitchFamily="34" charset="0"/>
                <a:ea typeface="Trebuchet MS" panose="020B0603020202020204" pitchFamily="34" charset="0"/>
                <a:cs typeface="Segoe UI" panose="020B0502040204020203" pitchFamily="34" charset="0"/>
              </a:defRPr>
            </a:lvl1pPr>
          </a:lstStyle>
          <a:p>
            <a:r>
              <a:rPr lang="en-US" noProof="0" dirty="0"/>
              <a:t>Click to edit Master title style</a:t>
            </a:r>
          </a:p>
        </p:txBody>
      </p:sp>
      <p:sp>
        <p:nvSpPr>
          <p:cNvPr id="21" name="Rectangle 3"/>
          <p:cNvSpPr>
            <a:spLocks noGrp="1" noChangeArrowheads="1"/>
          </p:cNvSpPr>
          <p:nvPr>
            <p:ph type="subTitle" idx="1"/>
          </p:nvPr>
        </p:nvSpPr>
        <p:spPr>
          <a:xfrm>
            <a:off x="4571999" y="1841896"/>
            <a:ext cx="4330700" cy="463154"/>
          </a:xfrm>
        </p:spPr>
        <p:txBody>
          <a:bodyPr lIns="69677" tIns="34839" rIns="69677" bIns="34839"/>
          <a:lstStyle>
            <a:lvl1pPr marL="0" indent="0">
              <a:buFont typeface="Arial" pitchFamily="34" charset="0"/>
              <a:buNone/>
              <a:defRPr>
                <a:solidFill>
                  <a:schemeClr val="bg1"/>
                </a:solidFill>
                <a:latin typeface="Trebuchet MS" panose="020B0603020202020204" pitchFamily="34" charset="0"/>
                <a:ea typeface="Trebuchet MS" panose="020B0603020202020204" pitchFamily="34" charset="0"/>
                <a:cs typeface="Segoe UI" panose="020B0502040204020203" pitchFamily="34" charset="0"/>
              </a:defRPr>
            </a:lvl1pPr>
          </a:lstStyle>
          <a:p>
            <a:r>
              <a:rPr lang="en-US" noProof="0" dirty="0"/>
              <a:t>Click to edit Master subtitle style</a:t>
            </a:r>
          </a:p>
        </p:txBody>
      </p:sp>
      <p:sp>
        <p:nvSpPr>
          <p:cNvPr id="23"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Nº›</a:t>
            </a:fld>
            <a:endParaRPr lang="en-US" sz="1000" noProof="0" dirty="0">
              <a:solidFill>
                <a:schemeClr val="bg1"/>
              </a:solidFill>
              <a:latin typeface="Trebuchet MS" panose="020B0603020202020204" pitchFamily="34" charset="0"/>
              <a:cs typeface="Arial" pitchFamily="34" charset="0"/>
            </a:endParaRPr>
          </a:p>
        </p:txBody>
      </p:sp>
      <p:cxnSp>
        <p:nvCxnSpPr>
          <p:cNvPr id="24"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6" name="Rectangle 25"/>
          <p:cNvSpPr/>
          <p:nvPr userDrawn="1"/>
        </p:nvSpPr>
        <p:spPr>
          <a:xfrm>
            <a:off x="4325491" y="1015306"/>
            <a:ext cx="79200" cy="81564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pic>
        <p:nvPicPr>
          <p:cNvPr id="27"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pic>
        <p:nvPicPr>
          <p:cNvPr id="28" name="Picture 27"/>
          <p:cNvPicPr>
            <a:picLocks noChangeAspect="1"/>
          </p:cNvPicPr>
          <p:nvPr userDrawn="1"/>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3175"/>
            <a:ext cx="4319588" cy="4101863"/>
          </a:xfrm>
          <a:prstGeom prst="rect">
            <a:avLst/>
          </a:prstGeom>
        </p:spPr>
      </p:pic>
      <p:grpSp>
        <p:nvGrpSpPr>
          <p:cNvPr id="29" name="Group 28"/>
          <p:cNvGrpSpPr>
            <a:grpSpLocks noChangeAspect="1"/>
          </p:cNvGrpSpPr>
          <p:nvPr userDrawn="1"/>
        </p:nvGrpSpPr>
        <p:grpSpPr bwMode="auto">
          <a:xfrm>
            <a:off x="3351238" y="1225337"/>
            <a:ext cx="765085" cy="395577"/>
            <a:chOff x="2029" y="1180"/>
            <a:chExt cx="1702" cy="880"/>
          </a:xfrm>
        </p:grpSpPr>
        <p:sp>
          <p:nvSpPr>
            <p:cNvPr id="30" name="AutoShape 3"/>
            <p:cNvSpPr>
              <a:spLocks noChangeAspect="1" noChangeArrowheads="1" noTextEdit="1"/>
            </p:cNvSpPr>
            <p:nvPr/>
          </p:nvSpPr>
          <p:spPr bwMode="auto">
            <a:xfrm>
              <a:off x="2029" y="1180"/>
              <a:ext cx="1702" cy="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1" name="Oval 5"/>
            <p:cNvSpPr>
              <a:spLocks noChangeArrowheads="1"/>
            </p:cNvSpPr>
            <p:nvPr/>
          </p:nvSpPr>
          <p:spPr bwMode="auto">
            <a:xfrm>
              <a:off x="2403" y="1265"/>
              <a:ext cx="131" cy="131"/>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2" name="Freeform 6"/>
            <p:cNvSpPr>
              <a:spLocks/>
            </p:cNvSpPr>
            <p:nvPr/>
          </p:nvSpPr>
          <p:spPr bwMode="auto">
            <a:xfrm>
              <a:off x="2029" y="1180"/>
              <a:ext cx="1705" cy="624"/>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7"/>
            <p:cNvSpPr>
              <a:spLocks/>
            </p:cNvSpPr>
            <p:nvPr/>
          </p:nvSpPr>
          <p:spPr bwMode="auto">
            <a:xfrm>
              <a:off x="2347" y="1663"/>
              <a:ext cx="1077" cy="397"/>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8"/>
            <p:cNvSpPr>
              <a:spLocks/>
            </p:cNvSpPr>
            <p:nvPr/>
          </p:nvSpPr>
          <p:spPr bwMode="auto">
            <a:xfrm>
              <a:off x="3512" y="1609"/>
              <a:ext cx="123" cy="291"/>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3196890147"/>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LE_Title Clear Template">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144000" cy="5143500"/>
          </a:xfrm>
        </p:spPr>
        <p:txBody>
          <a:bodyPr/>
          <a:lstStyle/>
          <a:p>
            <a:endParaRPr lang="en-US" noProof="0" dirty="0"/>
          </a:p>
        </p:txBody>
      </p:sp>
      <p:sp>
        <p:nvSpPr>
          <p:cNvPr id="12" name="Rectangle 11"/>
          <p:cNvSpPr/>
          <p:nvPr userDrawn="1"/>
        </p:nvSpPr>
        <p:spPr>
          <a:xfrm>
            <a:off x="4327737" y="3177"/>
            <a:ext cx="4816263" cy="5143499"/>
          </a:xfrm>
          <a:prstGeom prst="rect">
            <a:avLst/>
          </a:prstGeom>
          <a:solidFill>
            <a:schemeClr val="bg1">
              <a:alpha val="80000"/>
            </a:schemeClr>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spcBef>
                <a:spcPts val="0"/>
              </a:spcBef>
            </a:pPr>
            <a:endParaRPr lang="en-US" noProof="0" dirty="0">
              <a:solidFill>
                <a:schemeClr val="bg1"/>
              </a:solidFill>
              <a:latin typeface="Trebuchet MS" panose="020B0603020202020204" pitchFamily="34" charset="0"/>
              <a:cs typeface="Trebuchet MS" panose="020B0502040204020203" pitchFamily="34" charset="0"/>
            </a:endParaRPr>
          </a:p>
        </p:txBody>
      </p:sp>
      <p:cxnSp>
        <p:nvCxnSpPr>
          <p:cNvPr id="13" name="Straight Connector 112"/>
          <p:cNvCxnSpPr/>
          <p:nvPr userDrawn="1"/>
        </p:nvCxnSpPr>
        <p:spPr>
          <a:xfrm flipV="1">
            <a:off x="4406565" y="0"/>
            <a:ext cx="0" cy="514350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0" y="0"/>
            <a:ext cx="78828" cy="51435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15" name="Rectangle 14"/>
          <p:cNvSpPr/>
          <p:nvPr userDrawn="1"/>
        </p:nvSpPr>
        <p:spPr>
          <a:xfrm>
            <a:off x="4327737" y="1020697"/>
            <a:ext cx="78828" cy="801174"/>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4098" name="Rectangle 2"/>
          <p:cNvSpPr>
            <a:spLocks noGrp="1" noChangeArrowheads="1"/>
          </p:cNvSpPr>
          <p:nvPr>
            <p:ph type="ctrTitle"/>
          </p:nvPr>
        </p:nvSpPr>
        <p:spPr>
          <a:xfrm>
            <a:off x="4572000" y="1020697"/>
            <a:ext cx="4330700" cy="804859"/>
          </a:xfrm>
        </p:spPr>
        <p:txBody>
          <a:bodyPr anchor="b"/>
          <a:lstStyle>
            <a:lvl1pPr>
              <a:defRPr sz="2800" b="1" cap="none">
                <a:solidFill>
                  <a:schemeClr val="accent1"/>
                </a:solidFill>
                <a:latin typeface="Trebuchet MS" panose="020B0603020202020204" pitchFamily="34" charset="0"/>
              </a:defRPr>
            </a:lvl1pPr>
          </a:lstStyle>
          <a:p>
            <a:r>
              <a:rPr lang="en-US" noProof="0" dirty="0"/>
              <a:t>Click to edit Master title style</a:t>
            </a:r>
          </a:p>
        </p:txBody>
      </p:sp>
      <p:sp>
        <p:nvSpPr>
          <p:cNvPr id="4099" name="Rectangle 3"/>
          <p:cNvSpPr>
            <a:spLocks noGrp="1" noChangeArrowheads="1"/>
          </p:cNvSpPr>
          <p:nvPr>
            <p:ph type="subTitle" idx="1"/>
          </p:nvPr>
        </p:nvSpPr>
        <p:spPr>
          <a:xfrm>
            <a:off x="4568704" y="1841896"/>
            <a:ext cx="4314945" cy="463154"/>
          </a:xfrm>
        </p:spPr>
        <p:txBody>
          <a:bodyPr lIns="69677" tIns="34839" rIns="69677" bIns="34839"/>
          <a:lstStyle>
            <a:lvl1pPr marL="0" indent="0">
              <a:spcBef>
                <a:spcPts val="600"/>
              </a:spcBef>
              <a:spcAft>
                <a:spcPts val="0"/>
              </a:spcAft>
              <a:buFont typeface="Trebuchet MS" pitchFamily="34" charset="0"/>
              <a:buNone/>
              <a:defRPr>
                <a:solidFill>
                  <a:schemeClr val="tx1"/>
                </a:solidFill>
                <a:latin typeface="Trebuchet MS" panose="020B0603020202020204" pitchFamily="34" charset="0"/>
              </a:defRPr>
            </a:lvl1pPr>
          </a:lstStyle>
          <a:p>
            <a:r>
              <a:rPr lang="en-US" noProof="0" dirty="0"/>
              <a:t>Click to edit Master subtitle style</a:t>
            </a:r>
          </a:p>
        </p:txBody>
      </p:sp>
      <p:sp>
        <p:nvSpPr>
          <p:cNvPr id="19"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bg1"/>
              </a:solidFill>
              <a:latin typeface="Trebuchet MS" panose="020B0603020202020204" pitchFamily="34" charset="0"/>
              <a:cs typeface="Trebuchet MS" panose="020B0604020202020204" pitchFamily="34" charset="-128"/>
            </a:endParaRPr>
          </a:p>
        </p:txBody>
      </p:sp>
      <p:cxnSp>
        <p:nvCxnSpPr>
          <p:cNvPr id="20"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90863" y="4704175"/>
            <a:ext cx="1075822" cy="2937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6603151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LE_Title Dark Blue 2">
    <p:spTree>
      <p:nvGrpSpPr>
        <p:cNvPr id="1" name=""/>
        <p:cNvGrpSpPr/>
        <p:nvPr/>
      </p:nvGrpSpPr>
      <p:grpSpPr>
        <a:xfrm>
          <a:off x="0" y="0"/>
          <a:ext cx="0" cy="0"/>
          <a:chOff x="0" y="0"/>
          <a:chExt cx="0" cy="0"/>
        </a:xfrm>
      </p:grpSpPr>
      <p:pic>
        <p:nvPicPr>
          <p:cNvPr id="12" name="Picture 2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4922" y="13690"/>
            <a:ext cx="9119077" cy="5129480"/>
          </a:xfrm>
          <a:prstGeom prst="rect">
            <a:avLst/>
          </a:prstGeom>
        </p:spPr>
      </p:pic>
      <p:sp>
        <p:nvSpPr>
          <p:cNvPr id="13" name="Rectangle 12"/>
          <p:cNvSpPr/>
          <p:nvPr userDrawn="1">
            <p:custDataLst>
              <p:tags r:id="rId1"/>
            </p:custDataLst>
          </p:nvPr>
        </p:nvSpPr>
        <p:spPr>
          <a:xfrm>
            <a:off x="4327737" y="3177"/>
            <a:ext cx="4816263" cy="5143499"/>
          </a:xfrm>
          <a:prstGeom prst="rect">
            <a:avLst/>
          </a:prstGeom>
          <a:solidFill>
            <a:srgbClr val="000000">
              <a:alpha val="40000"/>
            </a:srgbClr>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cxnSp>
        <p:nvCxnSpPr>
          <p:cNvPr id="14" name="Straight Connector 112"/>
          <p:cNvCxnSpPr/>
          <p:nvPr userDrawn="1"/>
        </p:nvCxnSpPr>
        <p:spPr>
          <a:xfrm flipV="1">
            <a:off x="4406565" y="0"/>
            <a:ext cx="0" cy="514350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a:xfrm>
            <a:off x="0" y="0"/>
            <a:ext cx="78828" cy="51435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sp>
        <p:nvSpPr>
          <p:cNvPr id="16" name="Rectangle 15"/>
          <p:cNvSpPr/>
          <p:nvPr userDrawn="1"/>
        </p:nvSpPr>
        <p:spPr>
          <a:xfrm>
            <a:off x="4327737" y="1101871"/>
            <a:ext cx="78828" cy="720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sp>
        <p:nvSpPr>
          <p:cNvPr id="18" name="Rectangle 2"/>
          <p:cNvSpPr>
            <a:spLocks noGrp="1" noChangeArrowheads="1"/>
          </p:cNvSpPr>
          <p:nvPr>
            <p:ph type="ctrTitle"/>
          </p:nvPr>
        </p:nvSpPr>
        <p:spPr>
          <a:xfrm>
            <a:off x="4572000" y="1020697"/>
            <a:ext cx="4330700" cy="804859"/>
          </a:xfrm>
        </p:spPr>
        <p:txBody>
          <a:bodyPr anchor="b"/>
          <a:lstStyle>
            <a:lvl1pPr>
              <a:defRPr sz="2800" b="1" cap="none">
                <a:solidFill>
                  <a:schemeClr val="bg1"/>
                </a:solidFill>
                <a:latin typeface="Trebuchet MS" panose="020B0603020202020204" pitchFamily="34" charset="0"/>
              </a:defRPr>
            </a:lvl1pPr>
          </a:lstStyle>
          <a:p>
            <a:r>
              <a:rPr lang="en-US" noProof="0" dirty="0"/>
              <a:t>Click to edit Master title style</a:t>
            </a:r>
          </a:p>
        </p:txBody>
      </p:sp>
      <p:sp>
        <p:nvSpPr>
          <p:cNvPr id="19" name="Rectangle 3"/>
          <p:cNvSpPr>
            <a:spLocks noGrp="1" noChangeArrowheads="1"/>
          </p:cNvSpPr>
          <p:nvPr>
            <p:ph type="subTitle" idx="1"/>
          </p:nvPr>
        </p:nvSpPr>
        <p:spPr>
          <a:xfrm>
            <a:off x="4572000" y="1841896"/>
            <a:ext cx="4311650" cy="463154"/>
          </a:xfrm>
        </p:spPr>
        <p:txBody>
          <a:bodyPr lIns="69677" tIns="34839" rIns="69677" bIns="34839"/>
          <a:lstStyle>
            <a:lvl1pPr marL="0" indent="0">
              <a:buFont typeface="Arial" pitchFamily="34" charset="0"/>
              <a:buNone/>
              <a:defRPr>
                <a:solidFill>
                  <a:schemeClr val="bg1"/>
                </a:solidFill>
                <a:latin typeface="Trebuchet MS" panose="020B0603020202020204" pitchFamily="34" charset="0"/>
              </a:defRPr>
            </a:lvl1pPr>
          </a:lstStyle>
          <a:p>
            <a:r>
              <a:rPr lang="en-US" noProof="0" dirty="0"/>
              <a:t>Click to edit Master subtitle style</a:t>
            </a:r>
          </a:p>
        </p:txBody>
      </p:sp>
      <p:sp>
        <p:nvSpPr>
          <p:cNvPr id="29"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Nº›</a:t>
            </a:fld>
            <a:endParaRPr lang="en-US" sz="1000" noProof="0" dirty="0">
              <a:solidFill>
                <a:schemeClr val="bg1"/>
              </a:solidFill>
              <a:latin typeface="Trebuchet MS" panose="020B0603020202020204" pitchFamily="34" charset="0"/>
              <a:cs typeface="Arial" pitchFamily="34" charset="0"/>
            </a:endParaRPr>
          </a:p>
        </p:txBody>
      </p:sp>
      <p:cxnSp>
        <p:nvCxnSpPr>
          <p:cNvPr id="30"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31"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2" name="Group 31"/>
          <p:cNvGrpSpPr/>
          <p:nvPr userDrawn="1"/>
        </p:nvGrpSpPr>
        <p:grpSpPr>
          <a:xfrm>
            <a:off x="3377564" y="1264082"/>
            <a:ext cx="766434" cy="395577"/>
            <a:chOff x="4814686" y="196561"/>
            <a:chExt cx="766434" cy="395577"/>
          </a:xfrm>
          <a:solidFill>
            <a:schemeClr val="accent1"/>
          </a:solidFill>
        </p:grpSpPr>
        <p:sp>
          <p:nvSpPr>
            <p:cNvPr id="33" name="Oval 5"/>
            <p:cNvSpPr>
              <a:spLocks noChangeArrowheads="1"/>
            </p:cNvSpPr>
            <p:nvPr/>
          </p:nvSpPr>
          <p:spPr bwMode="auto">
            <a:xfrm>
              <a:off x="4982807" y="234770"/>
              <a:ext cx="58887" cy="588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6"/>
            <p:cNvSpPr>
              <a:spLocks/>
            </p:cNvSpPr>
            <p:nvPr/>
          </p:nvSpPr>
          <p:spPr bwMode="auto">
            <a:xfrm>
              <a:off x="4814686" y="196561"/>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7"/>
            <p:cNvSpPr>
              <a:spLocks/>
            </p:cNvSpPr>
            <p:nvPr/>
          </p:nvSpPr>
          <p:spPr bwMode="auto">
            <a:xfrm>
              <a:off x="4957634" y="413679"/>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8"/>
            <p:cNvSpPr>
              <a:spLocks/>
            </p:cNvSpPr>
            <p:nvPr/>
          </p:nvSpPr>
          <p:spPr bwMode="auto">
            <a:xfrm>
              <a:off x="5481326" y="389405"/>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7034853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LE_Title Clear Blue 2">
    <p:spTree>
      <p:nvGrpSpPr>
        <p:cNvPr id="1" name=""/>
        <p:cNvGrpSpPr/>
        <p:nvPr/>
      </p:nvGrpSpPr>
      <p:grpSpPr>
        <a:xfrm>
          <a:off x="0" y="0"/>
          <a:ext cx="0" cy="0"/>
          <a:chOff x="0" y="0"/>
          <a:chExt cx="0" cy="0"/>
        </a:xfrm>
      </p:grpSpPr>
      <p:pic>
        <p:nvPicPr>
          <p:cNvPr id="12"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5400" y="7145"/>
            <a:ext cx="9118599" cy="5129211"/>
          </a:xfrm>
          <a:prstGeom prst="rect">
            <a:avLst/>
          </a:prstGeom>
        </p:spPr>
      </p:pic>
      <p:sp>
        <p:nvSpPr>
          <p:cNvPr id="18" name="Rectangle 17"/>
          <p:cNvSpPr/>
          <p:nvPr userDrawn="1"/>
        </p:nvSpPr>
        <p:spPr>
          <a:xfrm>
            <a:off x="4327737" y="3177"/>
            <a:ext cx="4816263" cy="5153024"/>
          </a:xfrm>
          <a:prstGeom prst="rect">
            <a:avLst/>
          </a:prstGeom>
          <a:solidFill>
            <a:schemeClr val="bg1">
              <a:alpha val="82000"/>
            </a:schemeClr>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Trebuchet MS" panose="020B0502040204020203" pitchFamily="34" charset="0"/>
            </a:endParaRPr>
          </a:p>
        </p:txBody>
      </p:sp>
      <p:cxnSp>
        <p:nvCxnSpPr>
          <p:cNvPr id="19" name="Straight Connector 112"/>
          <p:cNvCxnSpPr/>
          <p:nvPr userDrawn="1"/>
        </p:nvCxnSpPr>
        <p:spPr>
          <a:xfrm flipV="1">
            <a:off x="4406565" y="0"/>
            <a:ext cx="0" cy="514350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0" y="0"/>
            <a:ext cx="78828" cy="51435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23" name="Rectangle 22"/>
          <p:cNvSpPr/>
          <p:nvPr userDrawn="1"/>
        </p:nvSpPr>
        <p:spPr>
          <a:xfrm>
            <a:off x="4327737" y="1101871"/>
            <a:ext cx="78828" cy="720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24" name="Rectangle 2"/>
          <p:cNvSpPr>
            <a:spLocks noGrp="1" noChangeArrowheads="1"/>
          </p:cNvSpPr>
          <p:nvPr>
            <p:ph type="ctrTitle"/>
          </p:nvPr>
        </p:nvSpPr>
        <p:spPr>
          <a:xfrm>
            <a:off x="4572000" y="1020697"/>
            <a:ext cx="4330700" cy="804859"/>
          </a:xfrm>
        </p:spPr>
        <p:txBody>
          <a:bodyPr anchor="b"/>
          <a:lstStyle>
            <a:lvl1pPr>
              <a:defRPr sz="2800" b="1" cap="none">
                <a:solidFill>
                  <a:schemeClr val="accent1"/>
                </a:solidFill>
                <a:latin typeface="Trebuchet MS" panose="020B0603020202020204" pitchFamily="34" charset="0"/>
              </a:defRPr>
            </a:lvl1pPr>
          </a:lstStyle>
          <a:p>
            <a:r>
              <a:rPr lang="en-US" noProof="0" dirty="0"/>
              <a:t>Click to edit Master title style</a:t>
            </a:r>
          </a:p>
        </p:txBody>
      </p:sp>
      <p:sp>
        <p:nvSpPr>
          <p:cNvPr id="25" name="Rectangle 3"/>
          <p:cNvSpPr>
            <a:spLocks noGrp="1" noChangeArrowheads="1"/>
          </p:cNvSpPr>
          <p:nvPr>
            <p:ph type="subTitle" idx="1"/>
          </p:nvPr>
        </p:nvSpPr>
        <p:spPr>
          <a:xfrm>
            <a:off x="4572000" y="1841896"/>
            <a:ext cx="4311650" cy="463154"/>
          </a:xfrm>
        </p:spPr>
        <p:txBody>
          <a:bodyPr lIns="69677" tIns="34839" rIns="69677" bIns="34839"/>
          <a:lstStyle>
            <a:lvl1pPr marL="0" indent="0">
              <a:spcBef>
                <a:spcPts val="600"/>
              </a:spcBef>
              <a:spcAft>
                <a:spcPts val="0"/>
              </a:spcAft>
              <a:buFont typeface="Trebuchet MS" pitchFamily="34" charset="0"/>
              <a:buNone/>
              <a:defRPr>
                <a:solidFill>
                  <a:schemeClr val="tx1"/>
                </a:solidFill>
                <a:latin typeface="Trebuchet MS" panose="020B0603020202020204" pitchFamily="34" charset="0"/>
              </a:defRPr>
            </a:lvl1pPr>
          </a:lstStyle>
          <a:p>
            <a:r>
              <a:rPr lang="en-US" noProof="0" dirty="0"/>
              <a:t>Click to edit Master subtitle style</a:t>
            </a:r>
          </a:p>
        </p:txBody>
      </p:sp>
      <p:pic>
        <p:nvPicPr>
          <p:cNvPr id="26"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
        <p:nvSpPr>
          <p:cNvPr id="27"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Trebuchet MS" pitchFamily="34" charset="0"/>
              </a:rPr>
              <a:pPr algn="ctr">
                <a:spcBef>
                  <a:spcPct val="0"/>
                </a:spcBef>
                <a:defRPr/>
              </a:pPr>
              <a:t>‹Nº›</a:t>
            </a:fld>
            <a:endParaRPr lang="en-US" sz="1000" noProof="0" dirty="0">
              <a:solidFill>
                <a:schemeClr val="bg1"/>
              </a:solidFill>
              <a:latin typeface="Trebuchet MS" panose="020B0603020202020204" pitchFamily="34" charset="0"/>
              <a:cs typeface="Trebuchet MS" pitchFamily="34" charset="0"/>
            </a:endParaRPr>
          </a:p>
        </p:txBody>
      </p:sp>
      <p:cxnSp>
        <p:nvCxnSpPr>
          <p:cNvPr id="28"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3377564" y="1264082"/>
            <a:ext cx="766434" cy="395577"/>
            <a:chOff x="4814686" y="196561"/>
            <a:chExt cx="766434" cy="395577"/>
          </a:xfrm>
          <a:solidFill>
            <a:schemeClr val="bg1"/>
          </a:solidFill>
        </p:grpSpPr>
        <p:sp>
          <p:nvSpPr>
            <p:cNvPr id="14" name="Oval 5"/>
            <p:cNvSpPr>
              <a:spLocks noChangeArrowheads="1"/>
            </p:cNvSpPr>
            <p:nvPr/>
          </p:nvSpPr>
          <p:spPr bwMode="auto">
            <a:xfrm>
              <a:off x="4982807" y="234770"/>
              <a:ext cx="58887" cy="588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 name="Freeform 6"/>
            <p:cNvSpPr>
              <a:spLocks/>
            </p:cNvSpPr>
            <p:nvPr/>
          </p:nvSpPr>
          <p:spPr bwMode="auto">
            <a:xfrm>
              <a:off x="4814686" y="196561"/>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6" name="Freeform 7"/>
            <p:cNvSpPr>
              <a:spLocks/>
            </p:cNvSpPr>
            <p:nvPr/>
          </p:nvSpPr>
          <p:spPr bwMode="auto">
            <a:xfrm>
              <a:off x="4957634" y="413679"/>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 name="Freeform 8"/>
            <p:cNvSpPr>
              <a:spLocks/>
            </p:cNvSpPr>
            <p:nvPr/>
          </p:nvSpPr>
          <p:spPr bwMode="auto">
            <a:xfrm>
              <a:off x="5481326" y="389405"/>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383254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LE_Title Dark Blue Custom">
    <p:spTree>
      <p:nvGrpSpPr>
        <p:cNvPr id="1" name=""/>
        <p:cNvGrpSpPr/>
        <p:nvPr/>
      </p:nvGrpSpPr>
      <p:grpSpPr>
        <a:xfrm>
          <a:off x="0" y="0"/>
          <a:ext cx="0" cy="0"/>
          <a:chOff x="0" y="0"/>
          <a:chExt cx="0" cy="0"/>
        </a:xfrm>
      </p:grpSpPr>
      <p:sp>
        <p:nvSpPr>
          <p:cNvPr id="3" name="Espace réservé pour une image  2"/>
          <p:cNvSpPr>
            <a:spLocks noGrp="1"/>
          </p:cNvSpPr>
          <p:nvPr>
            <p:ph type="pic" sz="quarter" idx="10"/>
          </p:nvPr>
        </p:nvSpPr>
        <p:spPr>
          <a:xfrm>
            <a:off x="0" y="0"/>
            <a:ext cx="9144000" cy="5143500"/>
          </a:xfrm>
        </p:spPr>
        <p:txBody>
          <a:bodyPr/>
          <a:lstStyle>
            <a:lvl1pPr>
              <a:defRPr/>
            </a:lvl1pPr>
          </a:lstStyle>
          <a:p>
            <a:endParaRPr lang="en-US" noProof="0" dirty="0"/>
          </a:p>
        </p:txBody>
      </p:sp>
      <p:sp>
        <p:nvSpPr>
          <p:cNvPr id="10" name="Rectangle 9"/>
          <p:cNvSpPr/>
          <p:nvPr userDrawn="1"/>
        </p:nvSpPr>
        <p:spPr>
          <a:xfrm>
            <a:off x="4327737" y="3177"/>
            <a:ext cx="4816263" cy="5143499"/>
          </a:xfrm>
          <a:prstGeom prst="rect">
            <a:avLst/>
          </a:prstGeom>
          <a:solidFill>
            <a:srgbClr val="000000">
              <a:alpha val="20000"/>
            </a:srgbClr>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spcBef>
                <a:spcPts val="0"/>
              </a:spcBef>
            </a:pPr>
            <a:endParaRPr lang="en-US" noProof="0" dirty="0">
              <a:solidFill>
                <a:schemeClr val="bg1"/>
              </a:solidFill>
              <a:latin typeface="Trebuchet MS" panose="020B0603020202020204" pitchFamily="34" charset="0"/>
              <a:cs typeface="Trebuchet MS" panose="020B0502040204020203" pitchFamily="34" charset="0"/>
            </a:endParaRPr>
          </a:p>
        </p:txBody>
      </p:sp>
      <p:cxnSp>
        <p:nvCxnSpPr>
          <p:cNvPr id="13" name="Straight Connector 112"/>
          <p:cNvCxnSpPr/>
          <p:nvPr userDrawn="1"/>
        </p:nvCxnSpPr>
        <p:spPr>
          <a:xfrm flipV="1">
            <a:off x="4406565" y="0"/>
            <a:ext cx="0" cy="514350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0" y="0"/>
            <a:ext cx="78828" cy="51435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15" name="Rectangle 14"/>
          <p:cNvSpPr/>
          <p:nvPr userDrawn="1"/>
        </p:nvSpPr>
        <p:spPr>
          <a:xfrm>
            <a:off x="4327737" y="1020697"/>
            <a:ext cx="78828" cy="801174"/>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4098" name="Rectangle 2"/>
          <p:cNvSpPr>
            <a:spLocks noGrp="1" noChangeArrowheads="1"/>
          </p:cNvSpPr>
          <p:nvPr>
            <p:ph type="ctrTitle"/>
          </p:nvPr>
        </p:nvSpPr>
        <p:spPr>
          <a:xfrm>
            <a:off x="4528545" y="1020697"/>
            <a:ext cx="4374155" cy="804859"/>
          </a:xfrm>
        </p:spPr>
        <p:txBody>
          <a:bodyPr anchor="b"/>
          <a:lstStyle>
            <a:lvl1pPr>
              <a:defRPr sz="2800" b="1" cap="none">
                <a:solidFill>
                  <a:schemeClr val="bg1"/>
                </a:solidFill>
                <a:latin typeface="Trebuchet MS" panose="020B0603020202020204" pitchFamily="34" charset="0"/>
              </a:defRPr>
            </a:lvl1pPr>
          </a:lstStyle>
          <a:p>
            <a:r>
              <a:rPr lang="en-US" noProof="0" dirty="0"/>
              <a:t>Click to edit Master title style</a:t>
            </a:r>
          </a:p>
        </p:txBody>
      </p:sp>
      <p:sp>
        <p:nvSpPr>
          <p:cNvPr id="4099" name="Rectangle 3"/>
          <p:cNvSpPr>
            <a:spLocks noGrp="1" noChangeArrowheads="1"/>
          </p:cNvSpPr>
          <p:nvPr>
            <p:ph type="subTitle" idx="1"/>
          </p:nvPr>
        </p:nvSpPr>
        <p:spPr>
          <a:xfrm>
            <a:off x="4525408" y="1841896"/>
            <a:ext cx="4358242" cy="463154"/>
          </a:xfrm>
        </p:spPr>
        <p:txBody>
          <a:bodyPr lIns="69677" tIns="34839" rIns="69677" bIns="34839"/>
          <a:lstStyle>
            <a:lvl1pPr marL="0" indent="0">
              <a:spcBef>
                <a:spcPts val="600"/>
              </a:spcBef>
              <a:spcAft>
                <a:spcPts val="0"/>
              </a:spcAft>
              <a:buFont typeface="Trebuchet MS" pitchFamily="34" charset="0"/>
              <a:buNone/>
              <a:defRPr>
                <a:solidFill>
                  <a:schemeClr val="bg1"/>
                </a:solidFill>
                <a:latin typeface="Trebuchet MS" panose="020B0603020202020204" pitchFamily="34" charset="0"/>
              </a:defRPr>
            </a:lvl1pPr>
          </a:lstStyle>
          <a:p>
            <a:r>
              <a:rPr lang="en-US" noProof="0" dirty="0"/>
              <a:t>Click to edit Master subtitle style</a:t>
            </a:r>
          </a:p>
        </p:txBody>
      </p:sp>
      <p:sp>
        <p:nvSpPr>
          <p:cNvPr id="20"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21"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1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140830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LE_Title and content 1">
    <p:spTree>
      <p:nvGrpSpPr>
        <p:cNvPr id="1" name=""/>
        <p:cNvGrpSpPr/>
        <p:nvPr/>
      </p:nvGrpSpPr>
      <p:grpSpPr>
        <a:xfrm>
          <a:off x="0" y="0"/>
          <a:ext cx="0" cy="0"/>
          <a:chOff x="0" y="0"/>
          <a:chExt cx="0" cy="0"/>
        </a:xfrm>
      </p:grpSpPr>
      <p:sp>
        <p:nvSpPr>
          <p:cNvPr id="3" name="Content Placeholder 2"/>
          <p:cNvSpPr>
            <a:spLocks noGrp="1"/>
          </p:cNvSpPr>
          <p:nvPr>
            <p:ph idx="1"/>
          </p:nvPr>
        </p:nvSpPr>
        <p:spPr>
          <a:xfrm>
            <a:off x="224184" y="1105318"/>
            <a:ext cx="8686068" cy="3310711"/>
          </a:xfrm>
        </p:spPr>
        <p:txBody>
          <a:bodyPr/>
          <a:lstStyle>
            <a:lvl1pPr algn="l">
              <a:buClr>
                <a:schemeClr val="accent4"/>
              </a:buClr>
              <a:defRPr>
                <a:solidFill>
                  <a:schemeClr val="tx1"/>
                </a:solidFill>
                <a:latin typeface="Trebuchet MS" panose="020B0603020202020204" pitchFamily="34" charset="0"/>
              </a:defRPr>
            </a:lvl1pPr>
            <a:lvl2pPr algn="l">
              <a:spcAft>
                <a:spcPts val="0"/>
              </a:spcAft>
              <a:defRPr>
                <a:solidFill>
                  <a:schemeClr val="tx1"/>
                </a:solidFill>
                <a:latin typeface="Trebuchet MS" panose="020B0603020202020204" pitchFamily="34" charset="0"/>
              </a:defRPr>
            </a:lvl2pPr>
            <a:lvl3pPr algn="l">
              <a:spcAft>
                <a:spcPts val="0"/>
              </a:spcAft>
              <a:defRPr>
                <a:solidFill>
                  <a:schemeClr val="tx1"/>
                </a:solidFill>
                <a:latin typeface="Trebuchet MS" panose="020B0603020202020204" pitchFamily="34" charset="0"/>
              </a:defRPr>
            </a:lvl3pPr>
            <a:lvl4pPr algn="l">
              <a:spcAft>
                <a:spcPts val="0"/>
              </a:spcAft>
              <a:defRPr>
                <a:solidFill>
                  <a:schemeClr val="tx1"/>
                </a:solidFill>
                <a:latin typeface="Trebuchet MS" panose="020B0603020202020204" pitchFamily="34" charset="0"/>
              </a:defRPr>
            </a:lvl4pPr>
            <a:lvl5pPr algn="l">
              <a:spcAft>
                <a:spcPts val="0"/>
              </a:spcAft>
              <a:defRPr>
                <a:solidFill>
                  <a:schemeClr val="tx1"/>
                </a:solidFill>
                <a:latin typeface="Trebuchet MS" panose="020B0603020202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re 3"/>
          <p:cNvSpPr>
            <a:spLocks noGrp="1"/>
          </p:cNvSpPr>
          <p:nvPr>
            <p:ph type="title"/>
          </p:nvPr>
        </p:nvSpPr>
        <p:spPr/>
        <p:txBody>
          <a:bodyPr/>
          <a:lstStyle>
            <a:lvl1pPr>
              <a:defRPr>
                <a:solidFill>
                  <a:schemeClr val="accent1"/>
                </a:solidFill>
              </a:defRPr>
            </a:lvl1pPr>
          </a:lstStyle>
          <a:p>
            <a:r>
              <a:rPr lang="en-US" noProof="0" dirty="0" err="1"/>
              <a:t>Modifiez</a:t>
            </a:r>
            <a:r>
              <a:rPr lang="en-US" noProof="0" dirty="0"/>
              <a:t> le style du </a:t>
            </a:r>
            <a:r>
              <a:rPr lang="en-US" noProof="0" dirty="0" err="1"/>
              <a:t>titre</a:t>
            </a:r>
            <a:endParaRPr lang="en-US" noProof="0" dirty="0"/>
          </a:p>
        </p:txBody>
      </p:sp>
      <p:sp>
        <p:nvSpPr>
          <p:cNvPr id="15"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16"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Tree>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LE_Title and content 2">
    <p:spTree>
      <p:nvGrpSpPr>
        <p:cNvPr id="1" name=""/>
        <p:cNvGrpSpPr/>
        <p:nvPr/>
      </p:nvGrpSpPr>
      <p:grpSpPr>
        <a:xfrm>
          <a:off x="0" y="0"/>
          <a:ext cx="0" cy="0"/>
          <a:chOff x="0" y="0"/>
          <a:chExt cx="0" cy="0"/>
        </a:xfrm>
      </p:grpSpPr>
      <p:sp>
        <p:nvSpPr>
          <p:cNvPr id="4" name="Titre 3"/>
          <p:cNvSpPr>
            <a:spLocks noGrp="1"/>
          </p:cNvSpPr>
          <p:nvPr>
            <p:ph type="title"/>
          </p:nvPr>
        </p:nvSpPr>
        <p:spPr>
          <a:xfrm>
            <a:off x="224953" y="170260"/>
            <a:ext cx="8673362" cy="422523"/>
          </a:xfrm>
        </p:spPr>
        <p:txBody>
          <a:bodyPr/>
          <a:lstStyle>
            <a:lvl1pPr>
              <a:defRPr>
                <a:solidFill>
                  <a:schemeClr val="tx1"/>
                </a:solidFill>
              </a:defRPr>
            </a:lvl1pPr>
          </a:lstStyle>
          <a:p>
            <a:r>
              <a:rPr lang="en-US" noProof="0" dirty="0" err="1"/>
              <a:t>Modifiez</a:t>
            </a:r>
            <a:r>
              <a:rPr lang="en-US" noProof="0" dirty="0"/>
              <a:t> le style du </a:t>
            </a:r>
            <a:r>
              <a:rPr lang="en-US" noProof="0" dirty="0" err="1"/>
              <a:t>titre</a:t>
            </a:r>
            <a:endParaRPr lang="en-US" noProof="0" dirty="0"/>
          </a:p>
        </p:txBody>
      </p:sp>
      <p:sp>
        <p:nvSpPr>
          <p:cNvPr id="10" name="Rectangle 9"/>
          <p:cNvSpPr/>
          <p:nvPr userDrawn="1"/>
        </p:nvSpPr>
        <p:spPr>
          <a:xfrm>
            <a:off x="-3" y="-1308"/>
            <a:ext cx="79200" cy="1008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7"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8"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Tree>
    <p:extLst>
      <p:ext uri="{BB962C8B-B14F-4D97-AF65-F5344CB8AC3E}">
        <p14:creationId xmlns:p14="http://schemas.microsoft.com/office/powerpoint/2010/main" val="2671404053"/>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ALE_Title and two columns Cle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73020" y="170260"/>
            <a:ext cx="7736086" cy="792956"/>
          </a:xfrm>
        </p:spPr>
        <p:txBody>
          <a:bodyPr/>
          <a:lstStyle>
            <a:lvl1pPr>
              <a:defRPr>
                <a:solidFill>
                  <a:schemeClr val="tx1"/>
                </a:solidFill>
                <a:latin typeface="Trebuchet MS" panose="020B0603020202020204" pitchFamily="34" charset="0"/>
              </a:defRPr>
            </a:lvl1pPr>
          </a:lstStyle>
          <a:p>
            <a:r>
              <a:rPr lang="en-US" noProof="0" dirty="0"/>
              <a:t>Click to edit master title style</a:t>
            </a:r>
          </a:p>
        </p:txBody>
      </p:sp>
      <p:sp>
        <p:nvSpPr>
          <p:cNvPr id="3" name="Content Placeholder 2"/>
          <p:cNvSpPr>
            <a:spLocks noGrp="1"/>
          </p:cNvSpPr>
          <p:nvPr>
            <p:ph sz="half" idx="1"/>
          </p:nvPr>
        </p:nvSpPr>
        <p:spPr>
          <a:xfrm>
            <a:off x="224184" y="1130300"/>
            <a:ext cx="4283808" cy="3285730"/>
          </a:xfrm>
        </p:spPr>
        <p:txBody>
          <a:bodyPr/>
          <a:lstStyle>
            <a:lvl1pPr>
              <a:buClrTx/>
              <a:defRPr sz="1500">
                <a:solidFill>
                  <a:schemeClr val="tx1"/>
                </a:solidFill>
                <a:latin typeface="Trebuchet MS" panose="020B0603020202020204" pitchFamily="34" charset="0"/>
              </a:defRPr>
            </a:lvl1pPr>
            <a:lvl2pPr>
              <a:spcAft>
                <a:spcPts val="0"/>
              </a:spcAft>
              <a:buClrTx/>
              <a:defRPr sz="1400">
                <a:solidFill>
                  <a:schemeClr val="tx1"/>
                </a:solidFill>
                <a:latin typeface="Trebuchet MS" panose="020B0603020202020204" pitchFamily="34" charset="0"/>
              </a:defRPr>
            </a:lvl2pPr>
            <a:lvl3pPr>
              <a:spcAft>
                <a:spcPts val="0"/>
              </a:spcAft>
              <a:buClrTx/>
              <a:defRPr sz="1200">
                <a:solidFill>
                  <a:schemeClr val="tx1"/>
                </a:solidFill>
                <a:latin typeface="Trebuchet MS" panose="020B0603020202020204" pitchFamily="34" charset="0"/>
              </a:defRPr>
            </a:lvl3pPr>
            <a:lvl4pPr>
              <a:spcAft>
                <a:spcPts val="0"/>
              </a:spcAft>
              <a:buClrTx/>
              <a:defRPr sz="1100">
                <a:solidFill>
                  <a:schemeClr val="tx1"/>
                </a:solidFill>
                <a:latin typeface="Trebuchet MS" panose="020B0603020202020204" pitchFamily="34" charset="0"/>
              </a:defRPr>
            </a:lvl4pPr>
            <a:lvl5pPr>
              <a:spcAft>
                <a:spcPts val="0"/>
              </a:spcAft>
              <a:buClrTx/>
              <a:defRPr sz="1100">
                <a:solidFill>
                  <a:schemeClr val="tx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ontent Placeholder 3"/>
          <p:cNvSpPr>
            <a:spLocks noGrp="1"/>
          </p:cNvSpPr>
          <p:nvPr>
            <p:ph sz="half" idx="2"/>
          </p:nvPr>
        </p:nvSpPr>
        <p:spPr>
          <a:xfrm>
            <a:off x="4593982" y="1130300"/>
            <a:ext cx="4285029" cy="3285730"/>
          </a:xfrm>
        </p:spPr>
        <p:txBody>
          <a:bodyPr/>
          <a:lstStyle>
            <a:lvl1pPr>
              <a:buClrTx/>
              <a:defRPr sz="1500">
                <a:solidFill>
                  <a:schemeClr val="tx1"/>
                </a:solidFill>
                <a:latin typeface="Trebuchet MS" panose="020B0603020202020204" pitchFamily="34" charset="0"/>
              </a:defRPr>
            </a:lvl1pPr>
            <a:lvl2pPr>
              <a:spcAft>
                <a:spcPts val="0"/>
              </a:spcAft>
              <a:buClrTx/>
              <a:defRPr sz="1400">
                <a:solidFill>
                  <a:schemeClr val="tx1"/>
                </a:solidFill>
                <a:latin typeface="Trebuchet MS" panose="020B0603020202020204" pitchFamily="34" charset="0"/>
              </a:defRPr>
            </a:lvl2pPr>
            <a:lvl3pPr>
              <a:spcAft>
                <a:spcPts val="0"/>
              </a:spcAft>
              <a:buClrTx/>
              <a:defRPr sz="1200">
                <a:solidFill>
                  <a:schemeClr val="tx1"/>
                </a:solidFill>
                <a:latin typeface="Trebuchet MS" panose="020B0603020202020204" pitchFamily="34" charset="0"/>
              </a:defRPr>
            </a:lvl3pPr>
            <a:lvl4pPr>
              <a:spcAft>
                <a:spcPts val="0"/>
              </a:spcAft>
              <a:buClrTx/>
              <a:defRPr sz="1100">
                <a:solidFill>
                  <a:schemeClr val="tx1"/>
                </a:solidFill>
                <a:latin typeface="Trebuchet MS" panose="020B0603020202020204" pitchFamily="34" charset="0"/>
              </a:defRPr>
            </a:lvl4pPr>
            <a:lvl5pPr>
              <a:spcAft>
                <a:spcPts val="0"/>
              </a:spcAft>
              <a:buClrTx/>
              <a:defRPr sz="1100">
                <a:solidFill>
                  <a:schemeClr val="tx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16"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
        <p:nvSpPr>
          <p:cNvPr id="11" name="Rectangle 10"/>
          <p:cNvSpPr/>
          <p:nvPr userDrawn="1"/>
        </p:nvSpPr>
        <p:spPr>
          <a:xfrm>
            <a:off x="979692" y="0"/>
            <a:ext cx="79200" cy="1008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grpSp>
        <p:nvGrpSpPr>
          <p:cNvPr id="12" name="Group 11"/>
          <p:cNvGrpSpPr/>
          <p:nvPr userDrawn="1"/>
        </p:nvGrpSpPr>
        <p:grpSpPr>
          <a:xfrm>
            <a:off x="326592" y="646270"/>
            <a:ext cx="538972" cy="278178"/>
            <a:chOff x="4814686" y="196561"/>
            <a:chExt cx="766434" cy="395577"/>
          </a:xfrm>
          <a:solidFill>
            <a:schemeClr val="accent1"/>
          </a:solidFill>
        </p:grpSpPr>
        <p:sp>
          <p:nvSpPr>
            <p:cNvPr id="13" name="Oval 5"/>
            <p:cNvSpPr>
              <a:spLocks noChangeArrowheads="1"/>
            </p:cNvSpPr>
            <p:nvPr/>
          </p:nvSpPr>
          <p:spPr bwMode="auto">
            <a:xfrm>
              <a:off x="4982807" y="234770"/>
              <a:ext cx="58887" cy="588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4" name="Freeform 6"/>
            <p:cNvSpPr>
              <a:spLocks/>
            </p:cNvSpPr>
            <p:nvPr/>
          </p:nvSpPr>
          <p:spPr bwMode="auto">
            <a:xfrm>
              <a:off x="4814686" y="196561"/>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 name="Freeform 7"/>
            <p:cNvSpPr>
              <a:spLocks/>
            </p:cNvSpPr>
            <p:nvPr/>
          </p:nvSpPr>
          <p:spPr bwMode="auto">
            <a:xfrm>
              <a:off x="4957634" y="413679"/>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 name="Freeform 8"/>
            <p:cNvSpPr>
              <a:spLocks/>
            </p:cNvSpPr>
            <p:nvPr/>
          </p:nvSpPr>
          <p:spPr bwMode="auto">
            <a:xfrm>
              <a:off x="5481326" y="389405"/>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3198693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LE_Title and two columns Clea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0938" y="170260"/>
            <a:ext cx="7758168" cy="792956"/>
          </a:xfrm>
        </p:spPr>
        <p:txBody>
          <a:bodyPr/>
          <a:lstStyle>
            <a:lvl1pPr>
              <a:defRPr>
                <a:solidFill>
                  <a:schemeClr val="tx1"/>
                </a:solidFill>
                <a:latin typeface="Trebuchet MS" panose="020B0603020202020204" pitchFamily="34" charset="0"/>
              </a:defRPr>
            </a:lvl1pPr>
          </a:lstStyle>
          <a:p>
            <a:r>
              <a:rPr lang="en-US" noProof="0" dirty="0"/>
              <a:t>Click to edit master title style</a:t>
            </a:r>
          </a:p>
        </p:txBody>
      </p:sp>
      <p:sp>
        <p:nvSpPr>
          <p:cNvPr id="3" name="Content Placeholder 2"/>
          <p:cNvSpPr>
            <a:spLocks noGrp="1"/>
          </p:cNvSpPr>
          <p:nvPr>
            <p:ph sz="half" idx="1"/>
          </p:nvPr>
        </p:nvSpPr>
        <p:spPr>
          <a:xfrm>
            <a:off x="214136" y="1939332"/>
            <a:ext cx="2736000" cy="2476698"/>
          </a:xfrm>
        </p:spPr>
        <p:txBody>
          <a:bodyPr/>
          <a:lstStyle>
            <a:lvl1pPr marL="0" indent="0">
              <a:buNone/>
              <a:defRPr sz="1500">
                <a:solidFill>
                  <a:schemeClr val="tx1"/>
                </a:solidFill>
                <a:latin typeface="Trebuchet MS" panose="020B0603020202020204" pitchFamily="34" charset="0"/>
              </a:defRPr>
            </a:lvl1pPr>
            <a:lvl2pPr marL="180975" indent="0">
              <a:spcAft>
                <a:spcPts val="0"/>
              </a:spcAft>
              <a:buNone/>
              <a:defRPr sz="1400">
                <a:solidFill>
                  <a:schemeClr val="tx1"/>
                </a:solidFill>
                <a:latin typeface="Trebuchet MS" panose="020B0603020202020204" pitchFamily="34" charset="0"/>
              </a:defRPr>
            </a:lvl2pPr>
            <a:lvl3pPr marL="406400" indent="0">
              <a:spcAft>
                <a:spcPts val="0"/>
              </a:spcAft>
              <a:buNone/>
              <a:defRPr sz="1200">
                <a:solidFill>
                  <a:schemeClr val="tx1"/>
                </a:solidFill>
                <a:latin typeface="Trebuchet MS" panose="020B0603020202020204" pitchFamily="34" charset="0"/>
              </a:defRPr>
            </a:lvl3pPr>
            <a:lvl4pPr marL="546100" indent="0">
              <a:spcAft>
                <a:spcPts val="0"/>
              </a:spcAft>
              <a:buNone/>
              <a:defRPr sz="1100">
                <a:solidFill>
                  <a:schemeClr val="tx1"/>
                </a:solidFill>
                <a:latin typeface="Trebuchet MS" panose="020B0603020202020204" pitchFamily="34" charset="0"/>
              </a:defRPr>
            </a:lvl4pPr>
            <a:lvl5pPr marL="631825" indent="0">
              <a:spcAft>
                <a:spcPts val="0"/>
              </a:spcAft>
              <a:buNone/>
              <a:defRPr sz="1100">
                <a:solidFill>
                  <a:schemeClr val="tx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ontent Placeholder 3"/>
          <p:cNvSpPr>
            <a:spLocks noGrp="1"/>
          </p:cNvSpPr>
          <p:nvPr>
            <p:ph sz="half" idx="2"/>
          </p:nvPr>
        </p:nvSpPr>
        <p:spPr>
          <a:xfrm>
            <a:off x="3205418" y="1939332"/>
            <a:ext cx="2736000" cy="2476698"/>
          </a:xfrm>
        </p:spPr>
        <p:txBody>
          <a:bodyPr/>
          <a:lstStyle>
            <a:lvl1pPr marL="0" indent="0">
              <a:buNone/>
              <a:defRPr sz="1500">
                <a:solidFill>
                  <a:schemeClr val="tx1"/>
                </a:solidFill>
                <a:latin typeface="Trebuchet MS" panose="020B0603020202020204" pitchFamily="34" charset="0"/>
              </a:defRPr>
            </a:lvl1pPr>
            <a:lvl2pPr marL="180975" indent="0">
              <a:spcAft>
                <a:spcPts val="0"/>
              </a:spcAft>
              <a:buNone/>
              <a:defRPr sz="1400">
                <a:solidFill>
                  <a:schemeClr val="tx1"/>
                </a:solidFill>
                <a:latin typeface="Trebuchet MS" panose="020B0603020202020204" pitchFamily="34" charset="0"/>
              </a:defRPr>
            </a:lvl2pPr>
            <a:lvl3pPr marL="406400" indent="0">
              <a:spcAft>
                <a:spcPts val="0"/>
              </a:spcAft>
              <a:buNone/>
              <a:defRPr sz="1200">
                <a:solidFill>
                  <a:schemeClr val="tx1"/>
                </a:solidFill>
                <a:latin typeface="Trebuchet MS" panose="020B0603020202020204" pitchFamily="34" charset="0"/>
              </a:defRPr>
            </a:lvl3pPr>
            <a:lvl4pPr marL="546100" indent="0">
              <a:spcAft>
                <a:spcPts val="0"/>
              </a:spcAft>
              <a:buNone/>
              <a:defRPr sz="1100">
                <a:solidFill>
                  <a:schemeClr val="tx1"/>
                </a:solidFill>
                <a:latin typeface="Trebuchet MS" panose="020B0603020202020204" pitchFamily="34" charset="0"/>
              </a:defRPr>
            </a:lvl4pPr>
            <a:lvl5pPr marL="631825" indent="0">
              <a:spcAft>
                <a:spcPts val="0"/>
              </a:spcAft>
              <a:buNone/>
              <a:defRPr sz="1100">
                <a:solidFill>
                  <a:schemeClr val="tx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Content Placeholder 2"/>
          <p:cNvSpPr>
            <a:spLocks noGrp="1"/>
          </p:cNvSpPr>
          <p:nvPr>
            <p:ph sz="half" idx="10"/>
          </p:nvPr>
        </p:nvSpPr>
        <p:spPr>
          <a:xfrm>
            <a:off x="6158316" y="1939332"/>
            <a:ext cx="2736000" cy="2476698"/>
          </a:xfrm>
        </p:spPr>
        <p:txBody>
          <a:bodyPr/>
          <a:lstStyle>
            <a:lvl1pPr marL="0" indent="0">
              <a:buNone/>
              <a:defRPr sz="1500">
                <a:solidFill>
                  <a:schemeClr val="tx1"/>
                </a:solidFill>
                <a:latin typeface="Trebuchet MS" panose="020B0603020202020204" pitchFamily="34" charset="0"/>
              </a:defRPr>
            </a:lvl1pPr>
            <a:lvl2pPr marL="180975" indent="0">
              <a:spcAft>
                <a:spcPts val="0"/>
              </a:spcAft>
              <a:buNone/>
              <a:defRPr sz="1400">
                <a:solidFill>
                  <a:schemeClr val="tx1"/>
                </a:solidFill>
                <a:latin typeface="Trebuchet MS" panose="020B0603020202020204" pitchFamily="34" charset="0"/>
              </a:defRPr>
            </a:lvl2pPr>
            <a:lvl3pPr marL="406400" indent="0">
              <a:spcAft>
                <a:spcPts val="0"/>
              </a:spcAft>
              <a:buNone/>
              <a:defRPr sz="1200">
                <a:solidFill>
                  <a:schemeClr val="tx1"/>
                </a:solidFill>
                <a:latin typeface="Trebuchet MS" panose="020B0603020202020204" pitchFamily="34" charset="0"/>
              </a:defRPr>
            </a:lvl3pPr>
            <a:lvl4pPr marL="546100" indent="0">
              <a:spcAft>
                <a:spcPts val="0"/>
              </a:spcAft>
              <a:buNone/>
              <a:defRPr sz="1100">
                <a:solidFill>
                  <a:schemeClr val="tx1"/>
                </a:solidFill>
                <a:latin typeface="Trebuchet MS" panose="020B0603020202020204" pitchFamily="34" charset="0"/>
              </a:defRPr>
            </a:lvl4pPr>
            <a:lvl5pPr marL="631825" indent="0">
              <a:spcAft>
                <a:spcPts val="0"/>
              </a:spcAft>
              <a:buNone/>
              <a:defRPr sz="1100">
                <a:solidFill>
                  <a:schemeClr val="tx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Content Placeholder 2"/>
          <p:cNvSpPr>
            <a:spLocks noGrp="1"/>
          </p:cNvSpPr>
          <p:nvPr>
            <p:ph sz="half" idx="11"/>
          </p:nvPr>
        </p:nvSpPr>
        <p:spPr>
          <a:xfrm>
            <a:off x="212472" y="1130301"/>
            <a:ext cx="2736000" cy="688452"/>
          </a:xfrm>
        </p:spPr>
        <p:txBody>
          <a:bodyPr anchor="b" anchorCtr="0"/>
          <a:lstStyle>
            <a:lvl1pPr marL="0" indent="0">
              <a:spcBef>
                <a:spcPts val="0"/>
              </a:spcBef>
              <a:spcAft>
                <a:spcPts val="0"/>
              </a:spcAft>
              <a:buNone/>
              <a:defRPr sz="1500">
                <a:solidFill>
                  <a:schemeClr val="accent1"/>
                </a:solidFill>
                <a:latin typeface="Trebuchet MS" panose="020B0603020202020204" pitchFamily="34" charset="0"/>
              </a:defRPr>
            </a:lvl1pPr>
            <a:lvl2pPr marL="180975" indent="0">
              <a:spcBef>
                <a:spcPts val="0"/>
              </a:spcBef>
              <a:spcAft>
                <a:spcPts val="0"/>
              </a:spcAft>
              <a:buNone/>
              <a:defRPr sz="1400">
                <a:solidFill>
                  <a:schemeClr val="accent1"/>
                </a:solidFill>
                <a:latin typeface="Trebuchet MS" panose="020B0603020202020204" pitchFamily="34" charset="0"/>
              </a:defRPr>
            </a:lvl2pPr>
            <a:lvl3pPr marL="406400" indent="0">
              <a:spcBef>
                <a:spcPts val="0"/>
              </a:spcBef>
              <a:spcAft>
                <a:spcPts val="0"/>
              </a:spcAft>
              <a:buNone/>
              <a:defRPr sz="1200">
                <a:solidFill>
                  <a:schemeClr val="accent1"/>
                </a:solidFill>
                <a:latin typeface="Trebuchet MS" panose="020B0603020202020204" pitchFamily="34" charset="0"/>
              </a:defRPr>
            </a:lvl3pPr>
            <a:lvl4pPr marL="546100" indent="0">
              <a:spcBef>
                <a:spcPts val="0"/>
              </a:spcBef>
              <a:spcAft>
                <a:spcPts val="0"/>
              </a:spcAft>
              <a:buNone/>
              <a:defRPr sz="1100">
                <a:solidFill>
                  <a:schemeClr val="accent1"/>
                </a:solidFill>
                <a:latin typeface="Trebuchet MS" panose="020B0603020202020204" pitchFamily="34" charset="0"/>
              </a:defRPr>
            </a:lvl4pPr>
            <a:lvl5pPr marL="631825" indent="0">
              <a:spcBef>
                <a:spcPts val="0"/>
              </a:spcBef>
              <a:spcAft>
                <a:spcPts val="0"/>
              </a:spcAft>
              <a:buNone/>
              <a:defRPr sz="1100">
                <a:solidFill>
                  <a:schemeClr val="accent1"/>
                </a:solidFill>
                <a:latin typeface="Trebuchet MS" panose="020B0603020202020204" pitchFamily="34" charset="0"/>
              </a:defRPr>
            </a:lvl5pPr>
            <a:lvl6pPr>
              <a:defRPr sz="1400"/>
            </a:lvl6pPr>
            <a:lvl7pPr>
              <a:defRPr sz="1400"/>
            </a:lvl7pPr>
            <a:lvl8pPr>
              <a:defRPr sz="1400"/>
            </a:lvl8pPr>
            <a:lvl9pPr>
              <a:defRPr sz="1400"/>
            </a:lvl9pPr>
          </a:lstStyle>
          <a:p>
            <a:pPr lvl="0"/>
            <a:endParaRPr lang="en-US" noProof="0" dirty="0"/>
          </a:p>
        </p:txBody>
      </p:sp>
      <p:sp>
        <p:nvSpPr>
          <p:cNvPr id="14" name="Content Placeholder 3"/>
          <p:cNvSpPr>
            <a:spLocks noGrp="1"/>
          </p:cNvSpPr>
          <p:nvPr>
            <p:ph sz="half" idx="12"/>
          </p:nvPr>
        </p:nvSpPr>
        <p:spPr>
          <a:xfrm>
            <a:off x="3203754" y="1130301"/>
            <a:ext cx="2736000" cy="688452"/>
          </a:xfrm>
        </p:spPr>
        <p:txBody>
          <a:bodyPr anchor="b" anchorCtr="0"/>
          <a:lstStyle>
            <a:lvl1pPr marL="0" indent="0">
              <a:spcBef>
                <a:spcPts val="0"/>
              </a:spcBef>
              <a:spcAft>
                <a:spcPts val="0"/>
              </a:spcAft>
              <a:buNone/>
              <a:defRPr sz="1500">
                <a:solidFill>
                  <a:schemeClr val="accent1"/>
                </a:solidFill>
                <a:latin typeface="Trebuchet MS" panose="020B0603020202020204" pitchFamily="34" charset="0"/>
              </a:defRPr>
            </a:lvl1pPr>
            <a:lvl2pPr marL="180975" indent="0">
              <a:spcBef>
                <a:spcPts val="0"/>
              </a:spcBef>
              <a:spcAft>
                <a:spcPts val="0"/>
              </a:spcAft>
              <a:buNone/>
              <a:defRPr sz="1400">
                <a:solidFill>
                  <a:schemeClr val="accent1"/>
                </a:solidFill>
                <a:latin typeface="Trebuchet MS" panose="020B0603020202020204" pitchFamily="34" charset="0"/>
              </a:defRPr>
            </a:lvl2pPr>
            <a:lvl3pPr marL="406400" indent="0">
              <a:spcBef>
                <a:spcPts val="0"/>
              </a:spcBef>
              <a:spcAft>
                <a:spcPts val="0"/>
              </a:spcAft>
              <a:buNone/>
              <a:defRPr sz="1200">
                <a:solidFill>
                  <a:schemeClr val="accent1"/>
                </a:solidFill>
                <a:latin typeface="Trebuchet MS" panose="020B0603020202020204" pitchFamily="34" charset="0"/>
              </a:defRPr>
            </a:lvl3pPr>
            <a:lvl4pPr marL="546100" indent="0">
              <a:spcBef>
                <a:spcPts val="0"/>
              </a:spcBef>
              <a:spcAft>
                <a:spcPts val="0"/>
              </a:spcAft>
              <a:buNone/>
              <a:defRPr sz="1100">
                <a:solidFill>
                  <a:schemeClr val="accent1"/>
                </a:solidFill>
                <a:latin typeface="Trebuchet MS" panose="020B0603020202020204" pitchFamily="34" charset="0"/>
              </a:defRPr>
            </a:lvl4pPr>
            <a:lvl5pPr marL="631825" indent="0">
              <a:spcBef>
                <a:spcPts val="0"/>
              </a:spcBef>
              <a:spcAft>
                <a:spcPts val="0"/>
              </a:spcAft>
              <a:buNone/>
              <a:defRPr sz="1100">
                <a:solidFill>
                  <a:schemeClr val="accent1"/>
                </a:solidFill>
                <a:latin typeface="Trebuchet MS" panose="020B0603020202020204" pitchFamily="34" charset="0"/>
              </a:defRPr>
            </a:lvl5pPr>
            <a:lvl6pPr>
              <a:defRPr sz="1400"/>
            </a:lvl6pPr>
            <a:lvl7pPr>
              <a:defRPr sz="1400"/>
            </a:lvl7pPr>
            <a:lvl8pPr>
              <a:defRPr sz="1400"/>
            </a:lvl8pPr>
            <a:lvl9pPr>
              <a:defRPr sz="1400"/>
            </a:lvl9pPr>
          </a:lstStyle>
          <a:p>
            <a:pPr lvl="0"/>
            <a:endParaRPr lang="en-US" noProof="0" dirty="0"/>
          </a:p>
        </p:txBody>
      </p:sp>
      <p:sp>
        <p:nvSpPr>
          <p:cNvPr id="15" name="Content Placeholder 2"/>
          <p:cNvSpPr>
            <a:spLocks noGrp="1"/>
          </p:cNvSpPr>
          <p:nvPr>
            <p:ph sz="half" idx="13"/>
          </p:nvPr>
        </p:nvSpPr>
        <p:spPr>
          <a:xfrm>
            <a:off x="6156652" y="1130301"/>
            <a:ext cx="2736000" cy="688452"/>
          </a:xfrm>
        </p:spPr>
        <p:txBody>
          <a:bodyPr anchor="b" anchorCtr="0"/>
          <a:lstStyle>
            <a:lvl1pPr marL="0" indent="0">
              <a:spcBef>
                <a:spcPts val="0"/>
              </a:spcBef>
              <a:spcAft>
                <a:spcPts val="0"/>
              </a:spcAft>
              <a:buNone/>
              <a:defRPr sz="1500">
                <a:solidFill>
                  <a:schemeClr val="accent1"/>
                </a:solidFill>
                <a:latin typeface="Trebuchet MS" panose="020B0603020202020204" pitchFamily="34" charset="0"/>
              </a:defRPr>
            </a:lvl1pPr>
            <a:lvl2pPr marL="180975" indent="0">
              <a:spcBef>
                <a:spcPts val="0"/>
              </a:spcBef>
              <a:spcAft>
                <a:spcPts val="0"/>
              </a:spcAft>
              <a:buNone/>
              <a:defRPr sz="1400">
                <a:solidFill>
                  <a:schemeClr val="accent1"/>
                </a:solidFill>
                <a:latin typeface="Trebuchet MS" panose="020B0603020202020204" pitchFamily="34" charset="0"/>
              </a:defRPr>
            </a:lvl2pPr>
            <a:lvl3pPr marL="406400" indent="0">
              <a:spcBef>
                <a:spcPts val="0"/>
              </a:spcBef>
              <a:spcAft>
                <a:spcPts val="0"/>
              </a:spcAft>
              <a:buNone/>
              <a:defRPr sz="1200">
                <a:solidFill>
                  <a:schemeClr val="accent1"/>
                </a:solidFill>
                <a:latin typeface="Trebuchet MS" panose="020B0603020202020204" pitchFamily="34" charset="0"/>
              </a:defRPr>
            </a:lvl3pPr>
            <a:lvl4pPr marL="546100" indent="0">
              <a:spcBef>
                <a:spcPts val="0"/>
              </a:spcBef>
              <a:spcAft>
                <a:spcPts val="0"/>
              </a:spcAft>
              <a:buNone/>
              <a:defRPr sz="1100">
                <a:solidFill>
                  <a:schemeClr val="accent1"/>
                </a:solidFill>
                <a:latin typeface="Trebuchet MS" panose="020B0603020202020204" pitchFamily="34" charset="0"/>
              </a:defRPr>
            </a:lvl4pPr>
            <a:lvl5pPr marL="631825" indent="0">
              <a:spcBef>
                <a:spcPts val="0"/>
              </a:spcBef>
              <a:spcAft>
                <a:spcPts val="0"/>
              </a:spcAft>
              <a:buNone/>
              <a:defRPr sz="1100">
                <a:solidFill>
                  <a:schemeClr val="accent1"/>
                </a:solidFill>
                <a:latin typeface="Trebuchet MS" panose="020B0603020202020204" pitchFamily="34" charset="0"/>
              </a:defRPr>
            </a:lvl5pPr>
            <a:lvl6pPr>
              <a:defRPr sz="1400"/>
            </a:lvl6pPr>
            <a:lvl7pPr>
              <a:defRPr sz="1400"/>
            </a:lvl7pPr>
            <a:lvl8pPr>
              <a:defRPr sz="1400"/>
            </a:lvl8pPr>
            <a:lvl9pPr>
              <a:defRPr sz="1400"/>
            </a:lvl9pPr>
          </a:lstStyle>
          <a:p>
            <a:pPr lvl="0"/>
            <a:endParaRPr lang="en-US" noProof="0" dirty="0"/>
          </a:p>
        </p:txBody>
      </p:sp>
      <p:sp>
        <p:nvSpPr>
          <p:cNvPr id="16"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17"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19"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
        <p:nvSpPr>
          <p:cNvPr id="13" name="Rectangle 12"/>
          <p:cNvSpPr/>
          <p:nvPr userDrawn="1"/>
        </p:nvSpPr>
        <p:spPr>
          <a:xfrm>
            <a:off x="979692" y="0"/>
            <a:ext cx="79200" cy="1008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grpSp>
        <p:nvGrpSpPr>
          <p:cNvPr id="20" name="Group 19"/>
          <p:cNvGrpSpPr/>
          <p:nvPr userDrawn="1"/>
        </p:nvGrpSpPr>
        <p:grpSpPr>
          <a:xfrm>
            <a:off x="326592" y="646270"/>
            <a:ext cx="538972" cy="278178"/>
            <a:chOff x="4814686" y="196561"/>
            <a:chExt cx="766434" cy="395577"/>
          </a:xfrm>
          <a:solidFill>
            <a:schemeClr val="accent1"/>
          </a:solidFill>
        </p:grpSpPr>
        <p:sp>
          <p:nvSpPr>
            <p:cNvPr id="21" name="Oval 5"/>
            <p:cNvSpPr>
              <a:spLocks noChangeArrowheads="1"/>
            </p:cNvSpPr>
            <p:nvPr/>
          </p:nvSpPr>
          <p:spPr bwMode="auto">
            <a:xfrm>
              <a:off x="4982807" y="234770"/>
              <a:ext cx="58887" cy="588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2" name="Freeform 6"/>
            <p:cNvSpPr>
              <a:spLocks/>
            </p:cNvSpPr>
            <p:nvPr/>
          </p:nvSpPr>
          <p:spPr bwMode="auto">
            <a:xfrm>
              <a:off x="4814686" y="196561"/>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3" name="Freeform 7"/>
            <p:cNvSpPr>
              <a:spLocks/>
            </p:cNvSpPr>
            <p:nvPr/>
          </p:nvSpPr>
          <p:spPr bwMode="auto">
            <a:xfrm>
              <a:off x="4957634" y="413679"/>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4" name="Freeform 8"/>
            <p:cNvSpPr>
              <a:spLocks/>
            </p:cNvSpPr>
            <p:nvPr/>
          </p:nvSpPr>
          <p:spPr bwMode="auto">
            <a:xfrm>
              <a:off x="5481326" y="389405"/>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35208117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ALE_Title and two columns Dark">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794"/>
            <a:ext cx="9144000" cy="5143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Title 1"/>
          <p:cNvSpPr>
            <a:spLocks noGrp="1"/>
          </p:cNvSpPr>
          <p:nvPr>
            <p:ph type="title" hasCustomPrompt="1"/>
          </p:nvPr>
        </p:nvSpPr>
        <p:spPr>
          <a:xfrm>
            <a:off x="206371" y="170260"/>
            <a:ext cx="8702735" cy="792956"/>
          </a:xfrm>
        </p:spPr>
        <p:txBody>
          <a:bodyPr/>
          <a:lstStyle>
            <a:lvl1pPr>
              <a:defRPr>
                <a:solidFill>
                  <a:schemeClr val="bg1"/>
                </a:solidFill>
                <a:latin typeface="Trebuchet MS" panose="020B0603020202020204" pitchFamily="34" charset="0"/>
              </a:defRPr>
            </a:lvl1pPr>
          </a:lstStyle>
          <a:p>
            <a:r>
              <a:rPr lang="en-US" noProof="0" dirty="0"/>
              <a:t>Click to edit master title style</a:t>
            </a:r>
          </a:p>
        </p:txBody>
      </p:sp>
      <p:sp>
        <p:nvSpPr>
          <p:cNvPr id="3" name="Content Placeholder 2"/>
          <p:cNvSpPr>
            <a:spLocks noGrp="1"/>
          </p:cNvSpPr>
          <p:nvPr>
            <p:ph sz="half" idx="1"/>
          </p:nvPr>
        </p:nvSpPr>
        <p:spPr>
          <a:xfrm>
            <a:off x="224184" y="1130300"/>
            <a:ext cx="4283808" cy="3285730"/>
          </a:xfrm>
        </p:spPr>
        <p:txBody>
          <a:bodyPr/>
          <a:lstStyle>
            <a:lvl1pPr>
              <a:defRPr sz="1500">
                <a:solidFill>
                  <a:schemeClr val="bg1"/>
                </a:solidFill>
                <a:latin typeface="Trebuchet MS" panose="020B0603020202020204" pitchFamily="34" charset="0"/>
              </a:defRPr>
            </a:lvl1pPr>
            <a:lvl2pPr>
              <a:spcAft>
                <a:spcPts val="0"/>
              </a:spcAft>
              <a:defRPr sz="1400">
                <a:solidFill>
                  <a:schemeClr val="bg1"/>
                </a:solidFill>
                <a:latin typeface="Trebuchet MS" panose="020B0603020202020204" pitchFamily="34" charset="0"/>
              </a:defRPr>
            </a:lvl2pPr>
            <a:lvl3pPr>
              <a:spcAft>
                <a:spcPts val="0"/>
              </a:spcAft>
              <a:defRPr sz="1200">
                <a:solidFill>
                  <a:schemeClr val="bg1"/>
                </a:solidFill>
                <a:latin typeface="Trebuchet MS" panose="020B0603020202020204" pitchFamily="34" charset="0"/>
              </a:defRPr>
            </a:lvl3pPr>
            <a:lvl4pPr>
              <a:spcAft>
                <a:spcPts val="0"/>
              </a:spcAft>
              <a:defRPr sz="1100">
                <a:solidFill>
                  <a:schemeClr val="bg1"/>
                </a:solidFill>
                <a:latin typeface="Trebuchet MS" panose="020B0603020202020204" pitchFamily="34" charset="0"/>
              </a:defRPr>
            </a:lvl4pPr>
            <a:lvl5pPr>
              <a:spcAft>
                <a:spcPts val="0"/>
              </a:spcAft>
              <a:defRPr sz="1100">
                <a:solidFill>
                  <a:schemeClr val="bg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Content Placeholder 3"/>
          <p:cNvSpPr>
            <a:spLocks noGrp="1"/>
          </p:cNvSpPr>
          <p:nvPr>
            <p:ph sz="half" idx="2"/>
          </p:nvPr>
        </p:nvSpPr>
        <p:spPr>
          <a:xfrm>
            <a:off x="4593982" y="1130300"/>
            <a:ext cx="4285029" cy="3285730"/>
          </a:xfrm>
        </p:spPr>
        <p:txBody>
          <a:bodyPr/>
          <a:lstStyle>
            <a:lvl1pPr>
              <a:defRPr sz="1500">
                <a:solidFill>
                  <a:schemeClr val="bg1"/>
                </a:solidFill>
                <a:latin typeface="Trebuchet MS" panose="020B0603020202020204" pitchFamily="34" charset="0"/>
              </a:defRPr>
            </a:lvl1pPr>
            <a:lvl2pPr>
              <a:spcAft>
                <a:spcPts val="0"/>
              </a:spcAft>
              <a:defRPr sz="1400">
                <a:solidFill>
                  <a:schemeClr val="bg1"/>
                </a:solidFill>
                <a:latin typeface="Trebuchet MS" panose="020B0603020202020204" pitchFamily="34" charset="0"/>
              </a:defRPr>
            </a:lvl2pPr>
            <a:lvl3pPr>
              <a:spcAft>
                <a:spcPts val="0"/>
              </a:spcAft>
              <a:defRPr sz="1200">
                <a:solidFill>
                  <a:schemeClr val="bg1"/>
                </a:solidFill>
                <a:latin typeface="Trebuchet MS" panose="020B0603020202020204" pitchFamily="34" charset="0"/>
              </a:defRPr>
            </a:lvl3pPr>
            <a:lvl4pPr>
              <a:spcAft>
                <a:spcPts val="0"/>
              </a:spcAft>
              <a:defRPr sz="1100">
                <a:solidFill>
                  <a:schemeClr val="bg1"/>
                </a:solidFill>
                <a:latin typeface="Trebuchet MS" panose="020B0603020202020204" pitchFamily="34" charset="0"/>
              </a:defRPr>
            </a:lvl4pPr>
            <a:lvl5pPr>
              <a:spcAft>
                <a:spcPts val="0"/>
              </a:spcAft>
              <a:defRPr sz="1100">
                <a:solidFill>
                  <a:schemeClr val="bg1"/>
                </a:solidFill>
                <a:latin typeface="Trebuchet MS" panose="020B0603020202020204" pitchFamily="34" charset="0"/>
              </a:defRPr>
            </a:lvl5pPr>
            <a:lvl6pPr>
              <a:defRPr sz="1400"/>
            </a:lvl6pPr>
            <a:lvl7pPr>
              <a:defRPr sz="1400"/>
            </a:lvl7pPr>
            <a:lvl8pPr>
              <a:defRPr sz="1400"/>
            </a:lvl8pPr>
            <a:lvl9pPr>
              <a:defRPr sz="14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8"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bg1"/>
              </a:solidFill>
              <a:latin typeface="Trebuchet MS" panose="020B0603020202020204" pitchFamily="34" charset="0"/>
              <a:cs typeface="Trebuchet MS" panose="020B0604020202020204" pitchFamily="34" charset="-128"/>
            </a:endParaRPr>
          </a:p>
        </p:txBody>
      </p:sp>
      <p:cxnSp>
        <p:nvCxnSpPr>
          <p:cNvPr id="19"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ALE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50938" y="170260"/>
            <a:ext cx="7758168" cy="792956"/>
          </a:xfrm>
        </p:spPr>
        <p:txBody>
          <a:bodyPr/>
          <a:lstStyle>
            <a:lvl1pPr>
              <a:defRPr>
                <a:latin typeface="Trebuchet MS" panose="020B0603020202020204" pitchFamily="34" charset="0"/>
              </a:defRPr>
            </a:lvl1pPr>
          </a:lstStyle>
          <a:p>
            <a:r>
              <a:rPr lang="en-US" noProof="0" dirty="0"/>
              <a:t>Click to edit master title style</a:t>
            </a:r>
          </a:p>
        </p:txBody>
      </p:sp>
      <p:sp>
        <p:nvSpPr>
          <p:cNvPr id="15"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16"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8"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
        <p:nvSpPr>
          <p:cNvPr id="9" name="Rectangle 8"/>
          <p:cNvSpPr/>
          <p:nvPr userDrawn="1"/>
        </p:nvSpPr>
        <p:spPr>
          <a:xfrm>
            <a:off x="979692" y="0"/>
            <a:ext cx="79200" cy="1008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grpSp>
        <p:nvGrpSpPr>
          <p:cNvPr id="10" name="Group 9"/>
          <p:cNvGrpSpPr/>
          <p:nvPr userDrawn="1"/>
        </p:nvGrpSpPr>
        <p:grpSpPr>
          <a:xfrm>
            <a:off x="326592" y="646270"/>
            <a:ext cx="538972" cy="278178"/>
            <a:chOff x="4814686" y="196561"/>
            <a:chExt cx="766434" cy="395577"/>
          </a:xfrm>
          <a:solidFill>
            <a:schemeClr val="accent1"/>
          </a:solidFill>
        </p:grpSpPr>
        <p:sp>
          <p:nvSpPr>
            <p:cNvPr id="11" name="Oval 5"/>
            <p:cNvSpPr>
              <a:spLocks noChangeArrowheads="1"/>
            </p:cNvSpPr>
            <p:nvPr/>
          </p:nvSpPr>
          <p:spPr bwMode="auto">
            <a:xfrm>
              <a:off x="4982807" y="234770"/>
              <a:ext cx="58887" cy="588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2" name="Freeform 6"/>
            <p:cNvSpPr>
              <a:spLocks/>
            </p:cNvSpPr>
            <p:nvPr/>
          </p:nvSpPr>
          <p:spPr bwMode="auto">
            <a:xfrm>
              <a:off x="4814686" y="196561"/>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 name="Freeform 7"/>
            <p:cNvSpPr>
              <a:spLocks/>
            </p:cNvSpPr>
            <p:nvPr/>
          </p:nvSpPr>
          <p:spPr bwMode="auto">
            <a:xfrm>
              <a:off x="4957634" y="413679"/>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4" name="Freeform 8"/>
            <p:cNvSpPr>
              <a:spLocks/>
            </p:cNvSpPr>
            <p:nvPr/>
          </p:nvSpPr>
          <p:spPr bwMode="auto">
            <a:xfrm>
              <a:off x="5481326" y="389405"/>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LE_Main Title Dark Blue 2">
    <p:spTree>
      <p:nvGrpSpPr>
        <p:cNvPr id="1" name=""/>
        <p:cNvGrpSpPr/>
        <p:nvPr/>
      </p:nvGrpSpPr>
      <p:grpSpPr>
        <a:xfrm>
          <a:off x="0" y="0"/>
          <a:ext cx="0" cy="0"/>
          <a:chOff x="0" y="0"/>
          <a:chExt cx="0" cy="0"/>
        </a:xfrm>
      </p:grpSpPr>
      <p:pic>
        <p:nvPicPr>
          <p:cNvPr id="16" name="Picture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8" name="Rectangle 17"/>
          <p:cNvSpPr/>
          <p:nvPr userDrawn="1">
            <p:custDataLst>
              <p:tags r:id="rId1"/>
            </p:custDataLst>
          </p:nvPr>
        </p:nvSpPr>
        <p:spPr>
          <a:xfrm>
            <a:off x="0" y="3175"/>
            <a:ext cx="9144000" cy="5143500"/>
          </a:xfrm>
          <a:prstGeom prst="rect">
            <a:avLst/>
          </a:prstGeom>
          <a:gradFill>
            <a:gsLst>
              <a:gs pos="81000">
                <a:schemeClr val="accent1">
                  <a:alpha val="70000"/>
                </a:schemeClr>
              </a:gs>
              <a:gs pos="0">
                <a:schemeClr val="accent1">
                  <a:lumMod val="75000"/>
                  <a:alpha val="6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pic>
        <p:nvPicPr>
          <p:cNvPr id="19" name="Picture 18"/>
          <p:cNvPicPr>
            <a:picLocks noChangeAspect="1"/>
          </p:cNvPicPr>
          <p:nvPr userDrawn="1"/>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l="35497"/>
          <a:stretch/>
        </p:blipFill>
        <p:spPr>
          <a:xfrm>
            <a:off x="0" y="3175"/>
            <a:ext cx="2786246" cy="4101863"/>
          </a:xfrm>
          <a:prstGeom prst="rect">
            <a:avLst/>
          </a:prstGeom>
        </p:spPr>
      </p:pic>
      <p:sp>
        <p:nvSpPr>
          <p:cNvPr id="12" name="Rectangle 2"/>
          <p:cNvSpPr>
            <a:spLocks noGrp="1" noChangeArrowheads="1"/>
          </p:cNvSpPr>
          <p:nvPr>
            <p:ph type="ctrTitle"/>
          </p:nvPr>
        </p:nvSpPr>
        <p:spPr>
          <a:xfrm>
            <a:off x="215900" y="1548816"/>
            <a:ext cx="8677275" cy="804859"/>
          </a:xfrm>
        </p:spPr>
        <p:txBody>
          <a:bodyPr anchor="b"/>
          <a:lstStyle>
            <a:lvl1pPr algn="ctr">
              <a:defRPr sz="2800" b="1" cap="none">
                <a:solidFill>
                  <a:schemeClr val="bg1"/>
                </a:solidFill>
                <a:latin typeface="Trebuchet MS" panose="020B0603020202020204" pitchFamily="34" charset="0"/>
                <a:ea typeface="Trebuchet MS" panose="020B0603020202020204" pitchFamily="34" charset="0"/>
                <a:cs typeface="Trebuchet MS" panose="020B0502040204020203" pitchFamily="34" charset="0"/>
              </a:defRPr>
            </a:lvl1pPr>
          </a:lstStyle>
          <a:p>
            <a:r>
              <a:rPr lang="en-US" noProof="0" dirty="0"/>
              <a:t>Click to edit Master title style</a:t>
            </a:r>
          </a:p>
        </p:txBody>
      </p:sp>
      <p:sp>
        <p:nvSpPr>
          <p:cNvPr id="15" name="Rectangle 3"/>
          <p:cNvSpPr>
            <a:spLocks noGrp="1" noChangeArrowheads="1"/>
          </p:cNvSpPr>
          <p:nvPr>
            <p:ph type="subTitle" idx="1"/>
          </p:nvPr>
        </p:nvSpPr>
        <p:spPr>
          <a:xfrm>
            <a:off x="218307" y="2621679"/>
            <a:ext cx="8674868" cy="463154"/>
          </a:xfrm>
          <a:noFill/>
          <a:ln w="9525" algn="ctr">
            <a:noFill/>
            <a:miter lim="800000"/>
            <a:headEnd/>
            <a:tailEnd/>
          </a:ln>
          <a:effectLst/>
        </p:spPr>
        <p:txBody>
          <a:bodyPr vert="horz" wrap="square" lIns="69677" tIns="34839" rIns="69677" bIns="34839" numCol="1" anchor="t" anchorCtr="0" compatLnSpc="1">
            <a:prstTxWarp prst="textNoShape">
              <a:avLst/>
            </a:prstTxWarp>
          </a:bodyPr>
          <a:lstStyle>
            <a:lvl1pPr algn="ctr">
              <a:defRPr lang="en-US" dirty="0">
                <a:solidFill>
                  <a:schemeClr val="bg1"/>
                </a:solidFill>
                <a:ea typeface="Trebuchet MS" panose="020B0603020202020204" pitchFamily="34" charset="0"/>
              </a:defRPr>
            </a:lvl1pPr>
          </a:lstStyle>
          <a:p>
            <a:pPr marL="0" lvl="0" indent="0">
              <a:spcBef>
                <a:spcPts val="600"/>
              </a:spcBef>
              <a:spcAft>
                <a:spcPts val="0"/>
              </a:spcAft>
              <a:buFont typeface="Trebuchet MS" pitchFamily="34" charset="0"/>
              <a:buNone/>
            </a:pPr>
            <a:r>
              <a:rPr lang="en-US" noProof="0" dirty="0"/>
              <a:t>Click to edit Master subtitle style</a:t>
            </a:r>
          </a:p>
        </p:txBody>
      </p:sp>
      <p:pic>
        <p:nvPicPr>
          <p:cNvPr id="11"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cxnSp>
        <p:nvCxnSpPr>
          <p:cNvPr id="14" name="Straight Connector 112"/>
          <p:cNvCxnSpPr/>
          <p:nvPr userDrawn="1"/>
        </p:nvCxnSpPr>
        <p:spPr>
          <a:xfrm>
            <a:off x="302877" y="2467975"/>
            <a:ext cx="8590298" cy="1"/>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bg1"/>
              </a:solidFill>
              <a:latin typeface="Trebuchet MS" panose="020B0603020202020204" pitchFamily="34" charset="0"/>
              <a:cs typeface="Trebuchet MS" panose="020B0604020202020204" pitchFamily="34" charset="-128"/>
            </a:endParaRPr>
          </a:p>
        </p:txBody>
      </p:sp>
      <p:cxnSp>
        <p:nvCxnSpPr>
          <p:cNvPr id="22"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2990481"/>
      </p:ext>
    </p:extLst>
  </p:cSld>
  <p:clrMapOvr>
    <a:masterClrMapping/>
  </p:clrMapOvr>
  <p:hf hdr="0" dt="0"/>
  <p:extLst mod="1">
    <p:ext uri="{DCECCB84-F9BA-43D5-87BE-67443E8EF086}">
      <p15:sldGuideLst xmlns:p15="http://schemas.microsoft.com/office/powerpoint/2012/main">
        <p15:guide id="1" pos="2880" userDrawn="1">
          <p15:clr>
            <a:srgbClr val="FBAE40"/>
          </p15:clr>
        </p15:guide>
        <p15:guide id="2" pos="4241"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ALE_Footer-Only">
    <p:spTree>
      <p:nvGrpSpPr>
        <p:cNvPr id="1" name=""/>
        <p:cNvGrpSpPr/>
        <p:nvPr/>
      </p:nvGrpSpPr>
      <p:grpSpPr>
        <a:xfrm>
          <a:off x="0" y="0"/>
          <a:ext cx="0" cy="0"/>
          <a:chOff x="0" y="0"/>
          <a:chExt cx="0" cy="0"/>
        </a:xfrm>
      </p:grpSpPr>
      <p:sp>
        <p:nvSpPr>
          <p:cNvPr id="6"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7"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
        <p:nvSpPr>
          <p:cNvPr id="10" name="Rectangle 9"/>
          <p:cNvSpPr/>
          <p:nvPr userDrawn="1"/>
        </p:nvSpPr>
        <p:spPr>
          <a:xfrm>
            <a:off x="979692" y="0"/>
            <a:ext cx="79200" cy="1008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grpSp>
        <p:nvGrpSpPr>
          <p:cNvPr id="11" name="Group 10"/>
          <p:cNvGrpSpPr/>
          <p:nvPr userDrawn="1"/>
        </p:nvGrpSpPr>
        <p:grpSpPr>
          <a:xfrm>
            <a:off x="326592" y="646270"/>
            <a:ext cx="538972" cy="278178"/>
            <a:chOff x="4814686" y="196561"/>
            <a:chExt cx="766434" cy="395577"/>
          </a:xfrm>
          <a:solidFill>
            <a:schemeClr val="accent1"/>
          </a:solidFill>
        </p:grpSpPr>
        <p:sp>
          <p:nvSpPr>
            <p:cNvPr id="12" name="Oval 5"/>
            <p:cNvSpPr>
              <a:spLocks noChangeArrowheads="1"/>
            </p:cNvSpPr>
            <p:nvPr/>
          </p:nvSpPr>
          <p:spPr bwMode="auto">
            <a:xfrm>
              <a:off x="4982807" y="234770"/>
              <a:ext cx="58887" cy="588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3" name="Freeform 6"/>
            <p:cNvSpPr>
              <a:spLocks/>
            </p:cNvSpPr>
            <p:nvPr/>
          </p:nvSpPr>
          <p:spPr bwMode="auto">
            <a:xfrm>
              <a:off x="4814686" y="196561"/>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4" name="Freeform 7"/>
            <p:cNvSpPr>
              <a:spLocks/>
            </p:cNvSpPr>
            <p:nvPr/>
          </p:nvSpPr>
          <p:spPr bwMode="auto">
            <a:xfrm>
              <a:off x="4957634" y="413679"/>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5" name="Freeform 8"/>
            <p:cNvSpPr>
              <a:spLocks/>
            </p:cNvSpPr>
            <p:nvPr/>
          </p:nvSpPr>
          <p:spPr bwMode="auto">
            <a:xfrm>
              <a:off x="5481326" y="389405"/>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ALE_Picture Full Screen">
    <p:spTree>
      <p:nvGrpSpPr>
        <p:cNvPr id="1" name=""/>
        <p:cNvGrpSpPr/>
        <p:nvPr/>
      </p:nvGrpSpPr>
      <p:grpSpPr>
        <a:xfrm>
          <a:off x="0" y="0"/>
          <a:ext cx="0" cy="0"/>
          <a:chOff x="0" y="0"/>
          <a:chExt cx="0" cy="0"/>
        </a:xfrm>
      </p:grpSpPr>
      <p:sp>
        <p:nvSpPr>
          <p:cNvPr id="3" name="Picture 2"/>
          <p:cNvSpPr>
            <a:spLocks noGrp="1"/>
          </p:cNvSpPr>
          <p:nvPr>
            <p:ph type="pic" sz="quarter" idx="10" hasCustomPrompt="1"/>
          </p:nvPr>
        </p:nvSpPr>
        <p:spPr>
          <a:xfrm>
            <a:off x="0" y="0"/>
            <a:ext cx="9144000" cy="5143500"/>
          </a:xfrm>
        </p:spPr>
        <p:txBody>
          <a:bodyPr/>
          <a:lstStyle>
            <a:lvl1pPr marL="0" indent="0">
              <a:buNone/>
              <a:defRPr>
                <a:ea typeface="Trebuchet MS" panose="020B0604020202020204" pitchFamily="34" charset="-128"/>
              </a:defRPr>
            </a:lvl1pPr>
          </a:lstStyle>
          <a:p>
            <a:r>
              <a:rPr lang="en-US" altLang="fr-FR" noProof="0" dirty="0"/>
              <a:t>Picture</a:t>
            </a:r>
          </a:p>
          <a:p>
            <a:endParaRPr lang="en-US" altLang="en-US" noProof="0" dirty="0"/>
          </a:p>
        </p:txBody>
      </p:sp>
      <p:sp>
        <p:nvSpPr>
          <p:cNvPr id="11"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12"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1150938" y="170260"/>
            <a:ext cx="7758168" cy="792956"/>
          </a:xfrm>
        </p:spPr>
        <p:txBody>
          <a:bodyPr/>
          <a:lstStyle>
            <a:lvl1pPr>
              <a:defRPr>
                <a:latin typeface="Trebuchet MS" panose="020B0603020202020204" pitchFamily="34" charset="0"/>
              </a:defRPr>
            </a:lvl1pPr>
          </a:lstStyle>
          <a:p>
            <a:r>
              <a:rPr lang="en-US" noProof="0" dirty="0"/>
              <a:t>Click to edit master title style</a:t>
            </a:r>
          </a:p>
        </p:txBody>
      </p:sp>
      <p:pic>
        <p:nvPicPr>
          <p:cNvPr id="14"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
        <p:nvSpPr>
          <p:cNvPr id="8" name="Rectangle 7"/>
          <p:cNvSpPr/>
          <p:nvPr userDrawn="1"/>
        </p:nvSpPr>
        <p:spPr>
          <a:xfrm>
            <a:off x="979692" y="0"/>
            <a:ext cx="79200" cy="1008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grpSp>
        <p:nvGrpSpPr>
          <p:cNvPr id="9" name="Group 8"/>
          <p:cNvGrpSpPr/>
          <p:nvPr userDrawn="1"/>
        </p:nvGrpSpPr>
        <p:grpSpPr>
          <a:xfrm>
            <a:off x="326592" y="646270"/>
            <a:ext cx="538972" cy="278178"/>
            <a:chOff x="4814686" y="196561"/>
            <a:chExt cx="766434" cy="395577"/>
          </a:xfrm>
          <a:solidFill>
            <a:schemeClr val="accent1"/>
          </a:solidFill>
        </p:grpSpPr>
        <p:sp>
          <p:nvSpPr>
            <p:cNvPr id="10" name="Oval 5"/>
            <p:cNvSpPr>
              <a:spLocks noChangeArrowheads="1"/>
            </p:cNvSpPr>
            <p:nvPr/>
          </p:nvSpPr>
          <p:spPr bwMode="auto">
            <a:xfrm>
              <a:off x="4982807" y="234770"/>
              <a:ext cx="58887" cy="588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6" name="Freeform 6"/>
            <p:cNvSpPr>
              <a:spLocks/>
            </p:cNvSpPr>
            <p:nvPr/>
          </p:nvSpPr>
          <p:spPr bwMode="auto">
            <a:xfrm>
              <a:off x="4814686" y="196561"/>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 name="Freeform 7"/>
            <p:cNvSpPr>
              <a:spLocks/>
            </p:cNvSpPr>
            <p:nvPr/>
          </p:nvSpPr>
          <p:spPr bwMode="auto">
            <a:xfrm>
              <a:off x="4957634" y="413679"/>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 name="Freeform 8"/>
            <p:cNvSpPr>
              <a:spLocks/>
            </p:cNvSpPr>
            <p:nvPr/>
          </p:nvSpPr>
          <p:spPr bwMode="auto">
            <a:xfrm>
              <a:off x="5481326" y="389405"/>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895408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ALE_Picture Screen">
    <p:spTree>
      <p:nvGrpSpPr>
        <p:cNvPr id="1" name=""/>
        <p:cNvGrpSpPr/>
        <p:nvPr/>
      </p:nvGrpSpPr>
      <p:grpSpPr>
        <a:xfrm>
          <a:off x="0" y="0"/>
          <a:ext cx="0" cy="0"/>
          <a:chOff x="0" y="0"/>
          <a:chExt cx="0" cy="0"/>
        </a:xfrm>
      </p:grpSpPr>
      <p:sp>
        <p:nvSpPr>
          <p:cNvPr id="11"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12"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1150938" y="170260"/>
            <a:ext cx="7758168" cy="792956"/>
          </a:xfrm>
        </p:spPr>
        <p:txBody>
          <a:bodyPr/>
          <a:lstStyle>
            <a:lvl1pPr>
              <a:defRPr>
                <a:latin typeface="Trebuchet MS" panose="020B0603020202020204" pitchFamily="34" charset="0"/>
              </a:defRPr>
            </a:lvl1pPr>
          </a:lstStyle>
          <a:p>
            <a:r>
              <a:rPr lang="en-US" noProof="0" dirty="0"/>
              <a:t>Click to edit master title style</a:t>
            </a:r>
          </a:p>
        </p:txBody>
      </p:sp>
      <p:sp>
        <p:nvSpPr>
          <p:cNvPr id="15" name="Picture 6"/>
          <p:cNvSpPr>
            <a:spLocks noGrp="1"/>
          </p:cNvSpPr>
          <p:nvPr>
            <p:ph type="pic" sz="quarter" idx="10" hasCustomPrompt="1"/>
          </p:nvPr>
        </p:nvSpPr>
        <p:spPr>
          <a:xfrm>
            <a:off x="1763688" y="987574"/>
            <a:ext cx="5292080" cy="2976795"/>
          </a:xfrm>
        </p:spPr>
        <p:txBody>
          <a:bodyPr/>
          <a:lstStyle>
            <a:lvl1pPr marL="0" indent="0">
              <a:buNone/>
              <a:defRPr>
                <a:ea typeface="Trebuchet MS" panose="020B0604020202020204" pitchFamily="34" charset="-128"/>
              </a:defRPr>
            </a:lvl1pPr>
          </a:lstStyle>
          <a:p>
            <a:r>
              <a:rPr lang="en-US" altLang="fr-FR" noProof="0" dirty="0"/>
              <a:t>Picture</a:t>
            </a:r>
          </a:p>
          <a:p>
            <a:endParaRPr lang="en-US" altLang="en-US" noProof="0" dirty="0"/>
          </a:p>
        </p:txBody>
      </p:sp>
      <p:pic>
        <p:nvPicPr>
          <p:cNvPr id="14"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
        <p:nvSpPr>
          <p:cNvPr id="8" name="Rectangle 7"/>
          <p:cNvSpPr/>
          <p:nvPr userDrawn="1"/>
        </p:nvSpPr>
        <p:spPr>
          <a:xfrm>
            <a:off x="979692" y="0"/>
            <a:ext cx="79200" cy="1008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grpSp>
        <p:nvGrpSpPr>
          <p:cNvPr id="9" name="Group 8"/>
          <p:cNvGrpSpPr/>
          <p:nvPr userDrawn="1"/>
        </p:nvGrpSpPr>
        <p:grpSpPr>
          <a:xfrm>
            <a:off x="326592" y="646270"/>
            <a:ext cx="538972" cy="278178"/>
            <a:chOff x="4814686" y="196561"/>
            <a:chExt cx="766434" cy="395577"/>
          </a:xfrm>
          <a:solidFill>
            <a:schemeClr val="accent1"/>
          </a:solidFill>
        </p:grpSpPr>
        <p:sp>
          <p:nvSpPr>
            <p:cNvPr id="10" name="Oval 5"/>
            <p:cNvSpPr>
              <a:spLocks noChangeArrowheads="1"/>
            </p:cNvSpPr>
            <p:nvPr/>
          </p:nvSpPr>
          <p:spPr bwMode="auto">
            <a:xfrm>
              <a:off x="4982807" y="234770"/>
              <a:ext cx="58887" cy="58887"/>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7" name="Freeform 6"/>
            <p:cNvSpPr>
              <a:spLocks/>
            </p:cNvSpPr>
            <p:nvPr/>
          </p:nvSpPr>
          <p:spPr bwMode="auto">
            <a:xfrm>
              <a:off x="4814686" y="196561"/>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8" name="Freeform 7"/>
            <p:cNvSpPr>
              <a:spLocks/>
            </p:cNvSpPr>
            <p:nvPr/>
          </p:nvSpPr>
          <p:spPr bwMode="auto">
            <a:xfrm>
              <a:off x="4957634" y="413679"/>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19" name="Freeform 8"/>
            <p:cNvSpPr>
              <a:spLocks/>
            </p:cNvSpPr>
            <p:nvPr/>
          </p:nvSpPr>
          <p:spPr bwMode="auto">
            <a:xfrm>
              <a:off x="5481326" y="389405"/>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5933153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LE_Agenda Simple">
    <p:spTree>
      <p:nvGrpSpPr>
        <p:cNvPr id="1" name=""/>
        <p:cNvGrpSpPr/>
        <p:nvPr/>
      </p:nvGrpSpPr>
      <p:grpSpPr>
        <a:xfrm>
          <a:off x="0" y="0"/>
          <a:ext cx="0" cy="0"/>
          <a:chOff x="0" y="0"/>
          <a:chExt cx="0" cy="0"/>
        </a:xfrm>
      </p:grpSpPr>
      <p:pic>
        <p:nvPicPr>
          <p:cNvPr id="16"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460"/>
            <a:ext cx="9143998" cy="5143498"/>
          </a:xfrm>
          <a:prstGeom prst="rect">
            <a:avLst/>
          </a:prstGeom>
        </p:spPr>
      </p:pic>
      <p:sp>
        <p:nvSpPr>
          <p:cNvPr id="17" name="Rectangle 16"/>
          <p:cNvSpPr/>
          <p:nvPr userDrawn="1"/>
        </p:nvSpPr>
        <p:spPr>
          <a:xfrm>
            <a:off x="0" y="-8927"/>
            <a:ext cx="4430486" cy="5152427"/>
          </a:xfrm>
          <a:prstGeom prst="rect">
            <a:avLst/>
          </a:prstGeom>
          <a:gradFill>
            <a:gsLst>
              <a:gs pos="81000">
                <a:schemeClr val="accent1">
                  <a:alpha val="70000"/>
                </a:schemeClr>
              </a:gs>
              <a:gs pos="0">
                <a:schemeClr val="accent1">
                  <a:lumMod val="75000"/>
                  <a:alpha val="6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cs typeface="Segoe UI" panose="020B0502040204020203" pitchFamily="34" charset="0"/>
            </a:endParaRPr>
          </a:p>
        </p:txBody>
      </p:sp>
      <p:sp>
        <p:nvSpPr>
          <p:cNvPr id="18" name="Rectangle 17"/>
          <p:cNvSpPr/>
          <p:nvPr userDrawn="1"/>
        </p:nvSpPr>
        <p:spPr>
          <a:xfrm>
            <a:off x="4358486" y="1749691"/>
            <a:ext cx="72000" cy="72000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a:p>
            <a:pPr algn="ctr">
              <a:spcBef>
                <a:spcPts val="0"/>
              </a:spcBef>
            </a:pPr>
            <a:endParaRPr lang="en-US" noProof="0" dirty="0">
              <a:latin typeface="Trebuchet MS" panose="020B0603020202020204" pitchFamily="34" charset="0"/>
              <a:cs typeface="Trebuchet MS" panose="020B0502040204020203" pitchFamily="34" charset="0"/>
            </a:endParaRPr>
          </a:p>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19" name="Rectangle 18"/>
          <p:cNvSpPr/>
          <p:nvPr userDrawn="1"/>
        </p:nvSpPr>
        <p:spPr>
          <a:xfrm>
            <a:off x="4358486" y="2639212"/>
            <a:ext cx="72000" cy="72000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a:p>
            <a:pPr algn="ctr">
              <a:spcBef>
                <a:spcPts val="0"/>
              </a:spcBef>
            </a:pPr>
            <a:endParaRPr lang="en-US" noProof="0" dirty="0">
              <a:latin typeface="Trebuchet MS" panose="020B0603020202020204" pitchFamily="34" charset="0"/>
              <a:cs typeface="Trebuchet MS" panose="020B0502040204020203" pitchFamily="34" charset="0"/>
            </a:endParaRPr>
          </a:p>
          <a:p>
            <a:pPr algn="ctr">
              <a:spcBef>
                <a:spcPts val="0"/>
              </a:spcBef>
            </a:pPr>
            <a:endParaRPr lang="en-US" noProof="0" dirty="0">
              <a:latin typeface="Trebuchet MS" panose="020B0603020202020204" pitchFamily="34" charset="0"/>
              <a:cs typeface="Trebuchet MS" panose="020B0502040204020203" pitchFamily="34" charset="0"/>
            </a:endParaRPr>
          </a:p>
          <a:p>
            <a:pPr algn="ctr">
              <a:spcBef>
                <a:spcPts val="0"/>
              </a:spcBef>
            </a:pPr>
            <a:endParaRPr lang="en-US" noProof="0" dirty="0">
              <a:latin typeface="Trebuchet MS" panose="020B0603020202020204" pitchFamily="34" charset="0"/>
              <a:cs typeface="Trebuchet MS" panose="020B0502040204020203" pitchFamily="34" charset="0"/>
            </a:endParaRPr>
          </a:p>
          <a:p>
            <a:pPr algn="ctr">
              <a:spcBef>
                <a:spcPts val="0"/>
              </a:spcBef>
            </a:pPr>
            <a:endParaRPr lang="en-US" noProof="0" dirty="0">
              <a:latin typeface="Trebuchet MS" panose="020B0603020202020204" pitchFamily="34" charset="0"/>
              <a:cs typeface="Trebuchet MS" panose="020B0502040204020203" pitchFamily="34" charset="0"/>
            </a:endParaRPr>
          </a:p>
          <a:p>
            <a:pPr algn="ctr">
              <a:spcBef>
                <a:spcPts val="0"/>
              </a:spcBef>
            </a:pPr>
            <a:endParaRPr lang="en-US" noProof="0" dirty="0">
              <a:latin typeface="Trebuchet MS" panose="020B0603020202020204" pitchFamily="34" charset="0"/>
              <a:cs typeface="Trebuchet MS" panose="020B0502040204020203" pitchFamily="34" charset="0"/>
            </a:endParaRPr>
          </a:p>
          <a:p>
            <a:pPr algn="ctr">
              <a:spcBef>
                <a:spcPts val="0"/>
              </a:spcBef>
            </a:pPr>
            <a:r>
              <a:rPr lang="en-US" noProof="0" dirty="0">
                <a:latin typeface="Trebuchet MS" panose="020B0603020202020204" pitchFamily="34" charset="0"/>
                <a:cs typeface="Trebuchet MS" panose="020B0502040204020203" pitchFamily="34" charset="0"/>
              </a:rPr>
              <a:t>\</a:t>
            </a:r>
          </a:p>
        </p:txBody>
      </p:sp>
      <p:sp>
        <p:nvSpPr>
          <p:cNvPr id="20" name="Rectangle 19"/>
          <p:cNvSpPr/>
          <p:nvPr userDrawn="1"/>
        </p:nvSpPr>
        <p:spPr>
          <a:xfrm>
            <a:off x="4358486" y="3528733"/>
            <a:ext cx="72000" cy="72000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21" name="Rectangle 20"/>
          <p:cNvSpPr/>
          <p:nvPr userDrawn="1"/>
        </p:nvSpPr>
        <p:spPr>
          <a:xfrm>
            <a:off x="4358486" y="4418253"/>
            <a:ext cx="72000" cy="72000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22" name="Rectangle 21"/>
          <p:cNvSpPr/>
          <p:nvPr userDrawn="1"/>
        </p:nvSpPr>
        <p:spPr>
          <a:xfrm>
            <a:off x="0" y="0"/>
            <a:ext cx="78828" cy="51435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23" name="Titre 3"/>
          <p:cNvSpPr>
            <a:spLocks noGrp="1"/>
          </p:cNvSpPr>
          <p:nvPr>
            <p:ph type="title"/>
          </p:nvPr>
        </p:nvSpPr>
        <p:spPr>
          <a:xfrm>
            <a:off x="200025" y="170260"/>
            <a:ext cx="4219576" cy="829865"/>
          </a:xfrm>
        </p:spPr>
        <p:txBody>
          <a:bodyPr/>
          <a:lstStyle>
            <a:lvl1pPr>
              <a:defRPr sz="2800">
                <a:solidFill>
                  <a:schemeClr val="bg1"/>
                </a:solidFill>
              </a:defRPr>
            </a:lvl1pPr>
          </a:lstStyle>
          <a:p>
            <a:endParaRPr lang="en-US" noProof="0" dirty="0"/>
          </a:p>
        </p:txBody>
      </p:sp>
      <p:sp>
        <p:nvSpPr>
          <p:cNvPr id="24" name="Espace réservé du texte 2"/>
          <p:cNvSpPr>
            <a:spLocks noGrp="1"/>
          </p:cNvSpPr>
          <p:nvPr>
            <p:ph type="body" sz="quarter" idx="10"/>
          </p:nvPr>
        </p:nvSpPr>
        <p:spPr>
          <a:xfrm>
            <a:off x="219075" y="1885950"/>
            <a:ext cx="3952875" cy="3257550"/>
          </a:xfrm>
        </p:spPr>
        <p:txBody>
          <a:bodyPr/>
          <a:lstStyle>
            <a:lvl1pPr marL="0" indent="0" algn="r">
              <a:buNone/>
              <a:defRPr sz="1800">
                <a:solidFill>
                  <a:schemeClr val="bg1"/>
                </a:solidFill>
              </a:defRPr>
            </a:lvl1pPr>
            <a:lvl2pPr algn="r">
              <a:defRPr sz="1800">
                <a:solidFill>
                  <a:schemeClr val="bg1"/>
                </a:solidFill>
              </a:defRPr>
            </a:lvl2pPr>
            <a:lvl3pPr algn="r">
              <a:defRPr sz="1600">
                <a:solidFill>
                  <a:schemeClr val="bg1"/>
                </a:solidFill>
              </a:defRPr>
            </a:lvl3pPr>
            <a:lvl4pPr algn="r">
              <a:defRPr sz="1400">
                <a:solidFill>
                  <a:schemeClr val="bg1"/>
                </a:solidFill>
              </a:defRPr>
            </a:lvl4pPr>
            <a:lvl5pPr algn="r">
              <a:defRPr sz="1400">
                <a:solidFill>
                  <a:schemeClr val="bg1"/>
                </a:solidFill>
              </a:defRPr>
            </a:lvl5pPr>
          </a:lstStyle>
          <a:p>
            <a:pPr lvl="0"/>
            <a:endParaRPr lang="en-US" noProof="0" dirty="0"/>
          </a:p>
        </p:txBody>
      </p:sp>
      <p:sp>
        <p:nvSpPr>
          <p:cNvPr id="26"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Trebuchet MS" pitchFamily="34" charset="0"/>
              </a:rPr>
              <a:pPr algn="ctr">
                <a:spcBef>
                  <a:spcPct val="0"/>
                </a:spcBef>
                <a:defRPr/>
              </a:pPr>
              <a:t>‹Nº›</a:t>
            </a:fld>
            <a:endParaRPr lang="en-US" sz="1000" noProof="0" dirty="0">
              <a:solidFill>
                <a:schemeClr val="bg1"/>
              </a:solidFill>
              <a:latin typeface="Trebuchet MS" panose="020B0603020202020204" pitchFamily="34" charset="0"/>
              <a:cs typeface="Trebuchet MS" pitchFamily="34" charset="0"/>
            </a:endParaRPr>
          </a:p>
        </p:txBody>
      </p:sp>
      <p:cxnSp>
        <p:nvCxnSpPr>
          <p:cNvPr id="32"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36"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435013359"/>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LE_Agenda with Time 1">
    <p:spTree>
      <p:nvGrpSpPr>
        <p:cNvPr id="1" name=""/>
        <p:cNvGrpSpPr/>
        <p:nvPr/>
      </p:nvGrpSpPr>
      <p:grpSpPr>
        <a:xfrm>
          <a:off x="0" y="0"/>
          <a:ext cx="0" cy="0"/>
          <a:chOff x="0" y="0"/>
          <a:chExt cx="0" cy="0"/>
        </a:xfrm>
      </p:grpSpPr>
      <p:pic>
        <p:nvPicPr>
          <p:cNvPr id="26"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Rectangle 6"/>
          <p:cNvSpPr/>
          <p:nvPr userDrawn="1"/>
        </p:nvSpPr>
        <p:spPr>
          <a:xfrm>
            <a:off x="-48578" y="0"/>
            <a:ext cx="9192578" cy="3731272"/>
          </a:xfrm>
          <a:prstGeom prst="rect">
            <a:avLst/>
          </a:prstGeom>
          <a:solidFill>
            <a:schemeClr val="bg1">
              <a:alpha val="50000"/>
            </a:schemeClr>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8" name="Rectangle 7"/>
          <p:cNvSpPr/>
          <p:nvPr userDrawn="1"/>
        </p:nvSpPr>
        <p:spPr>
          <a:xfrm>
            <a:off x="2222" y="0"/>
            <a:ext cx="9141778" cy="89035"/>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4" name="Titre 3"/>
          <p:cNvSpPr>
            <a:spLocks noGrp="1"/>
          </p:cNvSpPr>
          <p:nvPr>
            <p:ph type="title"/>
          </p:nvPr>
        </p:nvSpPr>
        <p:spPr/>
        <p:txBody>
          <a:bodyPr/>
          <a:lstStyle>
            <a:lvl1pPr>
              <a:defRPr sz="2800">
                <a:solidFill>
                  <a:schemeClr val="tx1"/>
                </a:solidFill>
              </a:defRPr>
            </a:lvl1pPr>
          </a:lstStyle>
          <a:p>
            <a:endParaRPr lang="en-US" noProof="0" dirty="0"/>
          </a:p>
        </p:txBody>
      </p:sp>
      <p:sp>
        <p:nvSpPr>
          <p:cNvPr id="5" name="Espace réservé du texte 4"/>
          <p:cNvSpPr>
            <a:spLocks noGrp="1"/>
          </p:cNvSpPr>
          <p:nvPr>
            <p:ph type="body" sz="quarter" idx="10"/>
          </p:nvPr>
        </p:nvSpPr>
        <p:spPr>
          <a:xfrm>
            <a:off x="2952750" y="1704975"/>
            <a:ext cx="1838325" cy="2019300"/>
          </a:xfrm>
        </p:spPr>
        <p:txBody>
          <a:bodyPr/>
          <a:lstStyle>
            <a:lvl1pPr marL="0" indent="0">
              <a:buNone/>
              <a:defRPr sz="1200" b="1">
                <a:solidFill>
                  <a:schemeClr val="tx1"/>
                </a:solidFill>
              </a:defRPr>
            </a:lvl1pPr>
            <a:lvl2pPr>
              <a:defRPr sz="1100">
                <a:solidFill>
                  <a:schemeClr val="tx1"/>
                </a:solidFill>
              </a:defRPr>
            </a:lvl2pPr>
            <a:lvl3pPr>
              <a:defRPr sz="1050">
                <a:solidFill>
                  <a:schemeClr val="tx1"/>
                </a:solidFill>
              </a:defRPr>
            </a:lvl3pPr>
            <a:lvl4pPr>
              <a:defRPr sz="1000">
                <a:solidFill>
                  <a:schemeClr val="tx1"/>
                </a:solidFill>
              </a:defRPr>
            </a:lvl4pPr>
            <a:lvl5pPr>
              <a:defRPr sz="1000">
                <a:solidFill>
                  <a:schemeClr val="tx1"/>
                </a:solidFill>
              </a:defRPr>
            </a:lvl5pPr>
          </a:lstStyle>
          <a:p>
            <a:pPr lvl="0"/>
            <a:endParaRPr lang="en-US" noProof="0" dirty="0"/>
          </a:p>
        </p:txBody>
      </p:sp>
      <p:sp>
        <p:nvSpPr>
          <p:cNvPr id="13" name="Espace réservé du texte 4"/>
          <p:cNvSpPr>
            <a:spLocks noGrp="1"/>
          </p:cNvSpPr>
          <p:nvPr>
            <p:ph type="body" sz="quarter" idx="11"/>
          </p:nvPr>
        </p:nvSpPr>
        <p:spPr>
          <a:xfrm>
            <a:off x="5010150" y="1714500"/>
            <a:ext cx="1838325" cy="2019300"/>
          </a:xfrm>
        </p:spPr>
        <p:txBody>
          <a:bodyPr/>
          <a:lstStyle>
            <a:lvl1pPr marL="0" indent="0">
              <a:buNone/>
              <a:defRPr sz="1200" b="1">
                <a:solidFill>
                  <a:schemeClr val="tx1"/>
                </a:solidFill>
              </a:defRPr>
            </a:lvl1pPr>
            <a:lvl2pPr>
              <a:defRPr sz="1100">
                <a:solidFill>
                  <a:schemeClr val="tx1"/>
                </a:solidFill>
              </a:defRPr>
            </a:lvl2pPr>
            <a:lvl3pPr>
              <a:defRPr sz="1050">
                <a:solidFill>
                  <a:schemeClr val="tx1"/>
                </a:solidFill>
              </a:defRPr>
            </a:lvl3pPr>
            <a:lvl4pPr>
              <a:defRPr sz="1000">
                <a:solidFill>
                  <a:schemeClr val="tx1"/>
                </a:solidFill>
              </a:defRPr>
            </a:lvl4pPr>
            <a:lvl5pPr>
              <a:defRPr sz="1000">
                <a:solidFill>
                  <a:schemeClr val="tx1"/>
                </a:solidFill>
              </a:defRPr>
            </a:lvl5pPr>
          </a:lstStyle>
          <a:p>
            <a:pPr lvl="0"/>
            <a:endParaRPr lang="en-US" noProof="0" dirty="0"/>
          </a:p>
        </p:txBody>
      </p:sp>
      <p:sp>
        <p:nvSpPr>
          <p:cNvPr id="14" name="Espace réservé du texte 4"/>
          <p:cNvSpPr>
            <a:spLocks noGrp="1"/>
          </p:cNvSpPr>
          <p:nvPr>
            <p:ph type="body" sz="quarter" idx="12"/>
          </p:nvPr>
        </p:nvSpPr>
        <p:spPr>
          <a:xfrm>
            <a:off x="7054850" y="1704975"/>
            <a:ext cx="1838325" cy="2019300"/>
          </a:xfrm>
        </p:spPr>
        <p:txBody>
          <a:bodyPr/>
          <a:lstStyle>
            <a:lvl1pPr marL="0" indent="0">
              <a:buNone/>
              <a:defRPr sz="1200" b="1">
                <a:solidFill>
                  <a:schemeClr val="tx1"/>
                </a:solidFill>
              </a:defRPr>
            </a:lvl1pPr>
            <a:lvl2pPr>
              <a:defRPr sz="1100">
                <a:solidFill>
                  <a:schemeClr val="tx1"/>
                </a:solidFill>
              </a:defRPr>
            </a:lvl2pPr>
            <a:lvl3pPr>
              <a:defRPr sz="1050">
                <a:solidFill>
                  <a:schemeClr val="tx1"/>
                </a:solidFill>
              </a:defRPr>
            </a:lvl3pPr>
            <a:lvl4pPr>
              <a:defRPr sz="1000">
                <a:solidFill>
                  <a:schemeClr val="tx1"/>
                </a:solidFill>
              </a:defRPr>
            </a:lvl4pPr>
            <a:lvl5pPr>
              <a:defRPr sz="1000">
                <a:solidFill>
                  <a:schemeClr val="tx1"/>
                </a:solidFill>
              </a:defRPr>
            </a:lvl5pPr>
          </a:lstStyle>
          <a:p>
            <a:pPr lvl="0"/>
            <a:endParaRPr lang="en-US" noProof="0" dirty="0"/>
          </a:p>
        </p:txBody>
      </p:sp>
      <p:cxnSp>
        <p:nvCxnSpPr>
          <p:cNvPr id="16" name="Straight Connector 112"/>
          <p:cNvCxnSpPr/>
          <p:nvPr/>
        </p:nvCxnSpPr>
        <p:spPr>
          <a:xfrm flipV="1">
            <a:off x="2856612" y="1156189"/>
            <a:ext cx="0" cy="2575084"/>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2851350" y="1156189"/>
            <a:ext cx="72000" cy="720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cxnSp>
        <p:nvCxnSpPr>
          <p:cNvPr id="19" name="Straight Connector 112"/>
          <p:cNvCxnSpPr/>
          <p:nvPr/>
        </p:nvCxnSpPr>
        <p:spPr>
          <a:xfrm flipV="1">
            <a:off x="4904963" y="1156189"/>
            <a:ext cx="0" cy="2575084"/>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4899701" y="1156189"/>
            <a:ext cx="72000" cy="720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cxnSp>
        <p:nvCxnSpPr>
          <p:cNvPr id="22" name="Straight Connector 112"/>
          <p:cNvCxnSpPr/>
          <p:nvPr/>
        </p:nvCxnSpPr>
        <p:spPr>
          <a:xfrm flipV="1">
            <a:off x="6953315" y="1157268"/>
            <a:ext cx="0" cy="2575084"/>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6948053" y="1157268"/>
            <a:ext cx="72000" cy="720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pic>
        <p:nvPicPr>
          <p:cNvPr id="25"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526507808"/>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LE_Agenda with Time 2">
    <p:spTree>
      <p:nvGrpSpPr>
        <p:cNvPr id="1" name=""/>
        <p:cNvGrpSpPr/>
        <p:nvPr/>
      </p:nvGrpSpPr>
      <p:grpSpPr>
        <a:xfrm>
          <a:off x="0" y="0"/>
          <a:ext cx="0" cy="0"/>
          <a:chOff x="0" y="0"/>
          <a:chExt cx="0" cy="0"/>
        </a:xfrm>
      </p:grpSpPr>
      <p:pic>
        <p:nvPicPr>
          <p:cNvPr id="2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Rectangle 6"/>
          <p:cNvSpPr/>
          <p:nvPr userDrawn="1"/>
        </p:nvSpPr>
        <p:spPr>
          <a:xfrm>
            <a:off x="-4" y="89036"/>
            <a:ext cx="9144004" cy="3642236"/>
          </a:xfrm>
          <a:prstGeom prst="rect">
            <a:avLst/>
          </a:prstGeom>
          <a:solidFill>
            <a:schemeClr val="tx1">
              <a:alpha val="40000"/>
            </a:schemeClr>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8" name="Rectangle 7"/>
          <p:cNvSpPr/>
          <p:nvPr userDrawn="1"/>
        </p:nvSpPr>
        <p:spPr>
          <a:xfrm>
            <a:off x="-48578" y="0"/>
            <a:ext cx="9192578" cy="89035"/>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4" name="Titre 3"/>
          <p:cNvSpPr>
            <a:spLocks noGrp="1"/>
          </p:cNvSpPr>
          <p:nvPr>
            <p:ph type="title"/>
          </p:nvPr>
        </p:nvSpPr>
        <p:spPr/>
        <p:txBody>
          <a:bodyPr/>
          <a:lstStyle>
            <a:lvl1pPr>
              <a:defRPr sz="2800">
                <a:solidFill>
                  <a:schemeClr val="bg1"/>
                </a:solidFill>
              </a:defRPr>
            </a:lvl1pPr>
          </a:lstStyle>
          <a:p>
            <a:endParaRPr lang="en-US" noProof="0" dirty="0"/>
          </a:p>
        </p:txBody>
      </p:sp>
      <p:sp>
        <p:nvSpPr>
          <p:cNvPr id="5" name="Espace réservé du texte 4"/>
          <p:cNvSpPr>
            <a:spLocks noGrp="1"/>
          </p:cNvSpPr>
          <p:nvPr>
            <p:ph type="body" sz="quarter" idx="10"/>
          </p:nvPr>
        </p:nvSpPr>
        <p:spPr>
          <a:xfrm>
            <a:off x="2952750" y="1704975"/>
            <a:ext cx="1838325" cy="2019300"/>
          </a:xfrm>
        </p:spPr>
        <p:txBody>
          <a:bodyPr/>
          <a:lstStyle>
            <a:lvl1pPr marL="0" indent="0">
              <a:buNone/>
              <a:defRPr sz="1200" b="1">
                <a:solidFill>
                  <a:schemeClr val="bg1"/>
                </a:solidFill>
              </a:defRPr>
            </a:lvl1pPr>
            <a:lvl2pPr>
              <a:defRPr sz="1100">
                <a:solidFill>
                  <a:schemeClr val="bg1"/>
                </a:solidFill>
              </a:defRPr>
            </a:lvl2pPr>
            <a:lvl3pPr>
              <a:defRPr sz="1050">
                <a:solidFill>
                  <a:schemeClr val="bg1"/>
                </a:solidFill>
              </a:defRPr>
            </a:lvl3pPr>
            <a:lvl4pPr>
              <a:defRPr sz="1000">
                <a:solidFill>
                  <a:schemeClr val="bg1"/>
                </a:solidFill>
              </a:defRPr>
            </a:lvl4pPr>
            <a:lvl5pPr>
              <a:defRPr sz="1000">
                <a:solidFill>
                  <a:schemeClr val="bg1"/>
                </a:solidFill>
              </a:defRPr>
            </a:lvl5pPr>
          </a:lstStyle>
          <a:p>
            <a:pPr lvl="0"/>
            <a:endParaRPr lang="en-US" noProof="0" dirty="0"/>
          </a:p>
        </p:txBody>
      </p:sp>
      <p:sp>
        <p:nvSpPr>
          <p:cNvPr id="13" name="Espace réservé du texte 4"/>
          <p:cNvSpPr>
            <a:spLocks noGrp="1"/>
          </p:cNvSpPr>
          <p:nvPr>
            <p:ph type="body" sz="quarter" idx="11"/>
          </p:nvPr>
        </p:nvSpPr>
        <p:spPr>
          <a:xfrm>
            <a:off x="5010150" y="1714500"/>
            <a:ext cx="1838325" cy="2019300"/>
          </a:xfrm>
        </p:spPr>
        <p:txBody>
          <a:bodyPr/>
          <a:lstStyle>
            <a:lvl1pPr marL="0" indent="0">
              <a:buNone/>
              <a:defRPr sz="1200" b="1">
                <a:solidFill>
                  <a:schemeClr val="bg1"/>
                </a:solidFill>
              </a:defRPr>
            </a:lvl1pPr>
            <a:lvl2pPr>
              <a:defRPr sz="1100">
                <a:solidFill>
                  <a:schemeClr val="bg1"/>
                </a:solidFill>
              </a:defRPr>
            </a:lvl2pPr>
            <a:lvl3pPr>
              <a:defRPr sz="1050">
                <a:solidFill>
                  <a:schemeClr val="bg1"/>
                </a:solidFill>
              </a:defRPr>
            </a:lvl3pPr>
            <a:lvl4pPr>
              <a:defRPr sz="1000">
                <a:solidFill>
                  <a:schemeClr val="bg1"/>
                </a:solidFill>
              </a:defRPr>
            </a:lvl4pPr>
            <a:lvl5pPr>
              <a:defRPr sz="1000">
                <a:solidFill>
                  <a:schemeClr val="bg1"/>
                </a:solidFill>
              </a:defRPr>
            </a:lvl5pPr>
          </a:lstStyle>
          <a:p>
            <a:pPr lvl="0"/>
            <a:endParaRPr lang="en-US" noProof="0" dirty="0"/>
          </a:p>
        </p:txBody>
      </p:sp>
      <p:sp>
        <p:nvSpPr>
          <p:cNvPr id="14" name="Espace réservé du texte 4"/>
          <p:cNvSpPr>
            <a:spLocks noGrp="1"/>
          </p:cNvSpPr>
          <p:nvPr>
            <p:ph type="body" sz="quarter" idx="12" hasCustomPrompt="1"/>
          </p:nvPr>
        </p:nvSpPr>
        <p:spPr>
          <a:xfrm>
            <a:off x="7054850" y="1704975"/>
            <a:ext cx="1838325" cy="2019300"/>
          </a:xfrm>
        </p:spPr>
        <p:txBody>
          <a:bodyPr/>
          <a:lstStyle>
            <a:lvl1pPr marL="0" indent="0">
              <a:buNone/>
              <a:defRPr sz="1200" b="1">
                <a:solidFill>
                  <a:schemeClr val="bg1"/>
                </a:solidFill>
              </a:defRPr>
            </a:lvl1pPr>
            <a:lvl2pPr>
              <a:defRPr sz="1100">
                <a:solidFill>
                  <a:schemeClr val="bg1"/>
                </a:solidFill>
              </a:defRPr>
            </a:lvl2pPr>
            <a:lvl3pPr>
              <a:defRPr sz="1050">
                <a:solidFill>
                  <a:schemeClr val="bg1"/>
                </a:solidFill>
              </a:defRPr>
            </a:lvl3pPr>
            <a:lvl4pPr>
              <a:defRPr sz="1000">
                <a:solidFill>
                  <a:schemeClr val="bg1"/>
                </a:solidFill>
              </a:defRPr>
            </a:lvl4pPr>
            <a:lvl5pPr>
              <a:defRPr sz="1000">
                <a:solidFill>
                  <a:schemeClr val="bg1"/>
                </a:solidFill>
              </a:defRPr>
            </a:lvl5pPr>
          </a:lstStyle>
          <a:p>
            <a:pPr lvl="0"/>
            <a:r>
              <a:rPr lang="en-US" noProof="0" dirty="0" err="1"/>
              <a:t>Modifiez</a:t>
            </a:r>
            <a:r>
              <a:rPr lang="en-US" noProof="0" dirty="0"/>
              <a:t> les styles du u</a:t>
            </a:r>
          </a:p>
        </p:txBody>
      </p:sp>
      <p:grpSp>
        <p:nvGrpSpPr>
          <p:cNvPr id="15" name="Group 12"/>
          <p:cNvGrpSpPr/>
          <p:nvPr userDrawn="1"/>
        </p:nvGrpSpPr>
        <p:grpSpPr>
          <a:xfrm>
            <a:off x="2851350" y="1156189"/>
            <a:ext cx="72000" cy="2575084"/>
            <a:chOff x="3060900" y="1156189"/>
            <a:chExt cx="72000" cy="2575084"/>
          </a:xfrm>
        </p:grpSpPr>
        <p:cxnSp>
          <p:nvCxnSpPr>
            <p:cNvPr id="16" name="Straight Connector 112"/>
            <p:cNvCxnSpPr/>
            <p:nvPr/>
          </p:nvCxnSpPr>
          <p:spPr>
            <a:xfrm flipV="1">
              <a:off x="3066162" y="1156189"/>
              <a:ext cx="0" cy="2575084"/>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060900" y="1156189"/>
              <a:ext cx="72000" cy="72000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grpSp>
      <p:grpSp>
        <p:nvGrpSpPr>
          <p:cNvPr id="18" name="Group 25"/>
          <p:cNvGrpSpPr/>
          <p:nvPr userDrawn="1"/>
        </p:nvGrpSpPr>
        <p:grpSpPr>
          <a:xfrm>
            <a:off x="4899701" y="1156189"/>
            <a:ext cx="72000" cy="2575084"/>
            <a:chOff x="3060900" y="1156189"/>
            <a:chExt cx="72000" cy="2575084"/>
          </a:xfrm>
        </p:grpSpPr>
        <p:cxnSp>
          <p:nvCxnSpPr>
            <p:cNvPr id="19" name="Straight Connector 112"/>
            <p:cNvCxnSpPr/>
            <p:nvPr/>
          </p:nvCxnSpPr>
          <p:spPr>
            <a:xfrm flipV="1">
              <a:off x="3066162" y="1156189"/>
              <a:ext cx="0" cy="2575084"/>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3060900" y="1156189"/>
              <a:ext cx="72000" cy="72000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grpSp>
      <p:grpSp>
        <p:nvGrpSpPr>
          <p:cNvPr id="21" name="Group 28"/>
          <p:cNvGrpSpPr/>
          <p:nvPr userDrawn="1"/>
        </p:nvGrpSpPr>
        <p:grpSpPr>
          <a:xfrm>
            <a:off x="6948053" y="1157268"/>
            <a:ext cx="72000" cy="2575084"/>
            <a:chOff x="3060900" y="1156189"/>
            <a:chExt cx="72000" cy="2575084"/>
          </a:xfrm>
        </p:grpSpPr>
        <p:cxnSp>
          <p:nvCxnSpPr>
            <p:cNvPr id="22" name="Straight Connector 112"/>
            <p:cNvCxnSpPr/>
            <p:nvPr/>
          </p:nvCxnSpPr>
          <p:spPr>
            <a:xfrm flipV="1">
              <a:off x="3066162" y="1156189"/>
              <a:ext cx="0" cy="2575084"/>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3060900" y="1156189"/>
              <a:ext cx="72000" cy="72000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grpSp>
      <p:pic>
        <p:nvPicPr>
          <p:cNvPr id="25"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481208457"/>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LE_Full Image 4">
    <p:spTree>
      <p:nvGrpSpPr>
        <p:cNvPr id="1" name=""/>
        <p:cNvGrpSpPr/>
        <p:nvPr/>
      </p:nvGrpSpPr>
      <p:grpSpPr>
        <a:xfrm>
          <a:off x="0" y="0"/>
          <a:ext cx="0" cy="0"/>
          <a:chOff x="0" y="0"/>
          <a:chExt cx="0" cy="0"/>
        </a:xfrm>
      </p:grpSpPr>
      <p:pic>
        <p:nvPicPr>
          <p:cNvPr id="11"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9143996" cy="5143498"/>
          </a:xfrm>
          <a:prstGeom prst="rect">
            <a:avLst/>
          </a:prstGeom>
        </p:spPr>
      </p:pic>
      <p:sp>
        <p:nvSpPr>
          <p:cNvPr id="12" name="Rectangle 11"/>
          <p:cNvSpPr/>
          <p:nvPr userDrawn="1"/>
        </p:nvSpPr>
        <p:spPr>
          <a:xfrm>
            <a:off x="56701" y="0"/>
            <a:ext cx="9087295" cy="5143500"/>
          </a:xfrm>
          <a:prstGeom prst="rect">
            <a:avLst/>
          </a:prstGeom>
          <a:gradFill>
            <a:gsLst>
              <a:gs pos="81000">
                <a:schemeClr val="accent1">
                  <a:alpha val="70000"/>
                </a:schemeClr>
              </a:gs>
              <a:gs pos="0">
                <a:schemeClr val="accent1">
                  <a:lumMod val="75000"/>
                  <a:alpha val="5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sp>
        <p:nvSpPr>
          <p:cNvPr id="13" name="Rectangle 12"/>
          <p:cNvSpPr/>
          <p:nvPr userDrawn="1"/>
        </p:nvSpPr>
        <p:spPr bwMode="auto">
          <a:xfrm>
            <a:off x="6390" y="2"/>
            <a:ext cx="79200" cy="5143498"/>
          </a:xfrm>
          <a:prstGeom prst="rect">
            <a:avLst/>
          </a:prstGeom>
          <a:solidFill>
            <a:schemeClr val="accent1"/>
          </a:solidFill>
          <a:ln w="9525" cap="flat" cmpd="sng" algn="ctr">
            <a:noFill/>
            <a:prstDash val="solid"/>
            <a:round/>
            <a:headEnd type="none" w="med" len="med"/>
            <a:tailEnd type="none" w="med" len="med"/>
          </a:ln>
          <a:effectLst/>
        </p:spPr>
        <p:txBody>
          <a:bodyPr vert="horz" wrap="square" lIns="69686" tIns="34843" rIns="69686" bIns="34843" numCol="1" rtlCol="0" anchor="ctr" anchorCtr="0" compatLnSpc="1">
            <a:prstTxWarp prst="textNoShape">
              <a:avLst/>
            </a:prstTxWarp>
            <a:normAutofit/>
          </a:bodyPr>
          <a:lstStyle/>
          <a:p>
            <a:pPr defTabSz="914286"/>
            <a:endParaRPr lang="en-US" noProof="0" dirty="0">
              <a:solidFill>
                <a:schemeClr val="bg1"/>
              </a:solidFill>
              <a:latin typeface="Trebuchet MS" panose="020B0603020202020204" pitchFamily="34" charset="0"/>
            </a:endParaRPr>
          </a:p>
        </p:txBody>
      </p:sp>
      <p:sp>
        <p:nvSpPr>
          <p:cNvPr id="14" name="Titre 3"/>
          <p:cNvSpPr>
            <a:spLocks noGrp="1"/>
          </p:cNvSpPr>
          <p:nvPr>
            <p:ph type="title"/>
          </p:nvPr>
        </p:nvSpPr>
        <p:spPr>
          <a:xfrm>
            <a:off x="200025" y="170260"/>
            <a:ext cx="7429500" cy="829865"/>
          </a:xfrm>
        </p:spPr>
        <p:txBody>
          <a:bodyPr/>
          <a:lstStyle>
            <a:lvl1pPr>
              <a:defRPr sz="2800">
                <a:solidFill>
                  <a:schemeClr val="bg1"/>
                </a:solidFill>
              </a:defRPr>
            </a:lvl1pPr>
          </a:lstStyle>
          <a:p>
            <a:endParaRPr lang="en-US" noProof="0" dirty="0"/>
          </a:p>
        </p:txBody>
      </p:sp>
      <p:sp>
        <p:nvSpPr>
          <p:cNvPr id="15"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Nº›</a:t>
            </a:fld>
            <a:endParaRPr lang="en-US" sz="1000" noProof="0" dirty="0">
              <a:solidFill>
                <a:schemeClr val="bg1"/>
              </a:solidFill>
              <a:latin typeface="Trebuchet MS" panose="020B0603020202020204" pitchFamily="34" charset="0"/>
              <a:cs typeface="Arial" pitchFamily="34" charset="0"/>
            </a:endParaRPr>
          </a:p>
        </p:txBody>
      </p:sp>
      <p:cxnSp>
        <p:nvCxnSpPr>
          <p:cNvPr id="16"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5188208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LE_Emphasis_1">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39413" y="3114"/>
            <a:ext cx="9104586" cy="5121330"/>
          </a:xfrm>
          <a:prstGeom prst="rect">
            <a:avLst/>
          </a:prstGeom>
          <a:solidFill>
            <a:srgbClr val="34B233">
              <a:alpha val="72157"/>
            </a:srgbClr>
          </a:solidFill>
          <a:ln>
            <a:noFill/>
          </a:ln>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0" name="Rectangle 19"/>
          <p:cNvSpPr/>
          <p:nvPr userDrawn="1"/>
        </p:nvSpPr>
        <p:spPr>
          <a:xfrm>
            <a:off x="4572001" y="3177"/>
            <a:ext cx="4572000" cy="5140323"/>
          </a:xfrm>
          <a:prstGeom prst="rect">
            <a:avLst/>
          </a:prstGeom>
          <a:gradFill>
            <a:gsLst>
              <a:gs pos="81000">
                <a:schemeClr val="accent1">
                  <a:alpha val="90000"/>
                </a:schemeClr>
              </a:gs>
              <a:gs pos="0">
                <a:schemeClr val="accent1">
                  <a:lumMod val="75000"/>
                  <a:alpha val="7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cxnSp>
        <p:nvCxnSpPr>
          <p:cNvPr id="21" name="Straight Connector 112"/>
          <p:cNvCxnSpPr/>
          <p:nvPr userDrawn="1"/>
        </p:nvCxnSpPr>
        <p:spPr>
          <a:xfrm flipV="1">
            <a:off x="4641975" y="-15943"/>
            <a:ext cx="14040" cy="5143500"/>
          </a:xfrm>
          <a:prstGeom prst="line">
            <a:avLst/>
          </a:prstGeom>
          <a:ln w="9525">
            <a:solidFill>
              <a:schemeClr val="bg1">
                <a:lumMod val="95000"/>
                <a:alpha val="25000"/>
              </a:schemeClr>
            </a:solidFill>
          </a:ln>
        </p:spPr>
        <p:style>
          <a:lnRef idx="1">
            <a:schemeClr val="accent1"/>
          </a:lnRef>
          <a:fillRef idx="0">
            <a:schemeClr val="accent1"/>
          </a:fillRef>
          <a:effectRef idx="0">
            <a:schemeClr val="accent1"/>
          </a:effectRef>
          <a:fontRef idx="minor">
            <a:schemeClr val="tx1"/>
          </a:fontRef>
        </p:style>
      </p:cxnSp>
      <p:sp>
        <p:nvSpPr>
          <p:cNvPr id="22" name="Rectangle 21"/>
          <p:cNvSpPr/>
          <p:nvPr userDrawn="1"/>
        </p:nvSpPr>
        <p:spPr>
          <a:xfrm>
            <a:off x="0" y="0"/>
            <a:ext cx="78828" cy="51435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pic>
        <p:nvPicPr>
          <p:cNvPr id="23"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12005" y="689865"/>
            <a:ext cx="515668" cy="396420"/>
          </a:xfrm>
          <a:prstGeom prst="rect">
            <a:avLst/>
          </a:prstGeom>
        </p:spPr>
      </p:pic>
      <p:sp>
        <p:nvSpPr>
          <p:cNvPr id="24" name="Footer Placeholder 2"/>
          <p:cNvSpPr txBox="1">
            <a:spLocks/>
          </p:cNvSpPr>
          <p:nvPr userDrawn="1"/>
        </p:nvSpPr>
        <p:spPr>
          <a:xfrm>
            <a:off x="4398011" y="4804437"/>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noProof="0" smtClean="0">
                <a:solidFill>
                  <a:schemeClr val="bg1"/>
                </a:solidFill>
                <a:latin typeface="Trebuchet MS" panose="020B0603020202020204" pitchFamily="34" charset="0"/>
                <a:cs typeface="Arial" pitchFamily="34" charset="0"/>
              </a:rPr>
              <a:pPr algn="ctr">
                <a:spcBef>
                  <a:spcPct val="0"/>
                </a:spcBef>
                <a:defRPr/>
              </a:pPr>
              <a:t>‹Nº›</a:t>
            </a:fld>
            <a:endParaRPr lang="en-US" sz="600" noProof="0" dirty="0">
              <a:solidFill>
                <a:schemeClr val="bg1"/>
              </a:solidFill>
              <a:latin typeface="Trebuchet MS" panose="020B0603020202020204" pitchFamily="34" charset="0"/>
              <a:cs typeface="Arial" pitchFamily="34" charset="0"/>
            </a:endParaRPr>
          </a:p>
        </p:txBody>
      </p:sp>
      <p:sp>
        <p:nvSpPr>
          <p:cNvPr id="25" name="Titre 1"/>
          <p:cNvSpPr>
            <a:spLocks noGrp="1"/>
          </p:cNvSpPr>
          <p:nvPr>
            <p:ph type="title"/>
          </p:nvPr>
        </p:nvSpPr>
        <p:spPr>
          <a:xfrm>
            <a:off x="5467349" y="1075134"/>
            <a:ext cx="3435351" cy="3458766"/>
          </a:xfrm>
        </p:spPr>
        <p:txBody>
          <a:bodyPr lIns="91428" tIns="45715" rIns="91428" bIns="45715" anchor="t" anchorCtr="0"/>
          <a:lstStyle>
            <a:lvl1pPr>
              <a:defRPr lang="fr-FR" sz="3200" b="0" kern="1200">
                <a:solidFill>
                  <a:schemeClr val="bg1"/>
                </a:solidFill>
                <a:latin typeface="Trebuchet MS" panose="020B0603020202020204" pitchFamily="34" charset="0"/>
              </a:defRPr>
            </a:lvl1pPr>
          </a:lstStyle>
          <a:p>
            <a:pPr lvl="0" defTabSz="914400" latinLnBrk="0">
              <a:lnSpc>
                <a:spcPct val="90000"/>
              </a:lnSpc>
              <a:spcBef>
                <a:spcPts val="0"/>
              </a:spcBef>
              <a:spcAft>
                <a:spcPts val="0"/>
              </a:spcAft>
              <a:buNone/>
            </a:pPr>
            <a:endParaRPr lang="en-US" noProof="0" dirty="0"/>
          </a:p>
        </p:txBody>
      </p:sp>
      <p:sp>
        <p:nvSpPr>
          <p:cNvPr id="26"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Nº›</a:t>
            </a:fld>
            <a:endParaRPr lang="en-US" sz="1000" noProof="0" dirty="0">
              <a:solidFill>
                <a:schemeClr val="bg1"/>
              </a:solidFill>
              <a:latin typeface="Trebuchet MS" panose="020B0603020202020204" pitchFamily="34" charset="0"/>
              <a:cs typeface="Arial" pitchFamily="34" charset="0"/>
            </a:endParaRPr>
          </a:p>
        </p:txBody>
      </p:sp>
      <p:cxnSp>
        <p:nvCxnSpPr>
          <p:cNvPr id="27"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28"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206439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LE_Divider Slide 1">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324" y="-9524"/>
            <a:ext cx="9160931" cy="5153023"/>
          </a:xfrm>
          <a:prstGeom prst="rect">
            <a:avLst/>
          </a:prstGeom>
          <a:solidFill>
            <a:srgbClr val="34B233">
              <a:alpha val="72157"/>
            </a:srgbClr>
          </a:solidFill>
          <a:ln>
            <a:noFill/>
          </a:ln>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Rectangle 2"/>
          <p:cNvSpPr/>
          <p:nvPr userDrawn="1"/>
        </p:nvSpPr>
        <p:spPr>
          <a:xfrm>
            <a:off x="-1" y="-8927"/>
            <a:ext cx="6044093" cy="5152427"/>
          </a:xfrm>
          <a:prstGeom prst="rect">
            <a:avLst/>
          </a:prstGeom>
          <a:solidFill>
            <a:schemeClr val="bg1">
              <a:alpha val="70000"/>
            </a:schemeClr>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5" name="Titre 3"/>
          <p:cNvSpPr>
            <a:spLocks noGrp="1"/>
          </p:cNvSpPr>
          <p:nvPr>
            <p:ph type="title"/>
          </p:nvPr>
        </p:nvSpPr>
        <p:spPr>
          <a:xfrm>
            <a:off x="215901" y="1808560"/>
            <a:ext cx="5499099" cy="829865"/>
          </a:xfrm>
        </p:spPr>
        <p:txBody>
          <a:bodyPr/>
          <a:lstStyle>
            <a:lvl1pPr algn="r">
              <a:defRPr sz="2800">
                <a:solidFill>
                  <a:schemeClr val="tx1"/>
                </a:solidFill>
              </a:defRPr>
            </a:lvl1pPr>
          </a:lstStyle>
          <a:p>
            <a:r>
              <a:rPr lang="en-US" noProof="0" dirty="0" err="1"/>
              <a:t>Modifiez</a:t>
            </a:r>
            <a:r>
              <a:rPr lang="en-US" noProof="0" dirty="0"/>
              <a:t> le style du </a:t>
            </a:r>
            <a:r>
              <a:rPr lang="en-US" noProof="0" dirty="0" err="1"/>
              <a:t>titre</a:t>
            </a:r>
            <a:endParaRPr lang="en-US" noProof="0" dirty="0"/>
          </a:p>
        </p:txBody>
      </p:sp>
      <p:cxnSp>
        <p:nvCxnSpPr>
          <p:cNvPr id="6" name="Straight Connector 112"/>
          <p:cNvCxnSpPr/>
          <p:nvPr userDrawn="1"/>
        </p:nvCxnSpPr>
        <p:spPr>
          <a:xfrm flipV="1">
            <a:off x="5949615" y="-9525"/>
            <a:ext cx="0" cy="514350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7"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Rectangle 9"/>
          <p:cNvSpPr/>
          <p:nvPr userDrawn="1"/>
        </p:nvSpPr>
        <p:spPr>
          <a:xfrm>
            <a:off x="0" y="0"/>
            <a:ext cx="78828" cy="51435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Tree>
    <p:extLst>
      <p:ext uri="{BB962C8B-B14F-4D97-AF65-F5344CB8AC3E}">
        <p14:creationId xmlns:p14="http://schemas.microsoft.com/office/powerpoint/2010/main" val="8356177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ALE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92511" y="170260"/>
            <a:ext cx="8716596" cy="792956"/>
          </a:xfrm>
        </p:spPr>
        <p:txBody>
          <a:bodyPr>
            <a:noAutofit/>
          </a:bodyPr>
          <a:lstStyle>
            <a:lvl1pPr>
              <a:defRPr>
                <a:latin typeface="Trebuchet MS" pitchFamily="34" charset="0"/>
              </a:defRPr>
            </a:lvl1pPr>
          </a:lstStyle>
          <a:p>
            <a:r>
              <a:rPr lang="en-US"/>
              <a:t>Click to edit master title style</a:t>
            </a:r>
          </a:p>
        </p:txBody>
      </p:sp>
      <p:sp>
        <p:nvSpPr>
          <p:cNvPr id="4" name="Content Placeholder 3"/>
          <p:cNvSpPr>
            <a:spLocks noGrp="1"/>
          </p:cNvSpPr>
          <p:nvPr>
            <p:ph sz="quarter" idx="10"/>
          </p:nvPr>
        </p:nvSpPr>
        <p:spPr>
          <a:xfrm>
            <a:off x="211387" y="977504"/>
            <a:ext cx="8690952" cy="2908697"/>
          </a:xfrm>
          <a:noFill/>
          <a:ln w="9525">
            <a:noFill/>
            <a:miter lim="800000"/>
            <a:headEnd/>
            <a:tailEnd/>
          </a:ln>
        </p:spPr>
        <p:txBody>
          <a:bodyPr vert="horz" wrap="square" lIns="34839" tIns="0" rIns="0" bIns="0" numCol="1" rtlCol="0" anchor="t" anchorCtr="0" compatLnSpc="1">
            <a:prstTxWarp prst="textNoShape">
              <a:avLst/>
            </a:prstTxWarp>
            <a:noAutofit/>
          </a:bodyPr>
          <a:lstStyle>
            <a:lvl1pPr marL="391937" indent="-391937" algn="l" defTabSz="696777" rtl="0" eaLnBrk="1" fontAlgn="base" latinLnBrk="0" hangingPunct="1">
              <a:spcAft>
                <a:spcPts val="457"/>
              </a:spcAft>
              <a:buClrTx/>
              <a:buFont typeface="+mj-lt"/>
              <a:buAutoNum type="arabicPeriod"/>
              <a:defRPr lang="en-US" sz="2100" kern="1200" smtClean="0">
                <a:solidFill>
                  <a:srgbClr val="000000"/>
                </a:solidFill>
                <a:latin typeface="Trebuchet MS" pitchFamily="34" charset="0"/>
                <a:ea typeface="+mn-ea"/>
                <a:cs typeface="+mn-cs"/>
              </a:defRPr>
            </a:lvl1pPr>
            <a:lvl2pPr marL="477825" indent="-129437" algn="l" defTabSz="696777" rtl="0" eaLnBrk="1" fontAlgn="base" latinLnBrk="0" hangingPunct="1">
              <a:spcAft>
                <a:spcPts val="457"/>
              </a:spcAft>
              <a:buFont typeface="+mj-lt"/>
              <a:buNone/>
              <a:defRPr lang="en-US" sz="1500" kern="1200" dirty="0" smtClean="0">
                <a:solidFill>
                  <a:schemeClr val="bg1">
                    <a:lumMod val="50000"/>
                  </a:schemeClr>
                </a:solidFill>
                <a:latin typeface="Trebuchet MS" pitchFamily="34" charset="0"/>
                <a:ea typeface="+mn-ea"/>
                <a:cs typeface="+mn-cs"/>
              </a:defRPr>
            </a:lvl2pPr>
            <a:lvl3pPr marL="348389" algn="l" defTabSz="696777" rtl="0" eaLnBrk="1" fontAlgn="base" latinLnBrk="0" hangingPunct="1">
              <a:spcAft>
                <a:spcPts val="457"/>
              </a:spcAft>
              <a:defRPr lang="en-US" sz="2100" kern="1200" smtClean="0">
                <a:solidFill>
                  <a:schemeClr val="bg1">
                    <a:lumMod val="50000"/>
                  </a:schemeClr>
                </a:solidFill>
                <a:latin typeface="+mn-lt"/>
                <a:ea typeface="+mn-ea"/>
                <a:cs typeface="+mn-cs"/>
              </a:defRPr>
            </a:lvl3pPr>
            <a:lvl4pPr marL="348389" algn="l" defTabSz="696777" rtl="0" eaLnBrk="1" fontAlgn="base" latinLnBrk="0" hangingPunct="1">
              <a:spcAft>
                <a:spcPts val="457"/>
              </a:spcAft>
              <a:defRPr lang="en-US" sz="2100" kern="1200" smtClean="0">
                <a:solidFill>
                  <a:schemeClr val="bg1">
                    <a:lumMod val="50000"/>
                  </a:schemeClr>
                </a:solidFill>
                <a:latin typeface="+mn-lt"/>
                <a:ea typeface="+mn-ea"/>
                <a:cs typeface="+mn-cs"/>
              </a:defRPr>
            </a:lvl4pPr>
            <a:lvl5pPr marL="348389" algn="l" defTabSz="696777" rtl="0" eaLnBrk="1" fontAlgn="base" latinLnBrk="0" hangingPunct="1">
              <a:spcAft>
                <a:spcPts val="457"/>
              </a:spcAft>
              <a:defRPr lang="en-US" sz="2100" kern="1200" dirty="0" smtClean="0">
                <a:solidFill>
                  <a:schemeClr val="bg1">
                    <a:lumMod val="50000"/>
                  </a:schemeClr>
                </a:solidFill>
                <a:latin typeface="+mn-lt"/>
                <a:ea typeface="+mn-ea"/>
                <a:cs typeface="+mn-cs"/>
              </a:defRPr>
            </a:lvl5pPr>
          </a:lstStyle>
          <a:p>
            <a:pPr marL="348389" lvl="0" indent="-348389" algn="l" defTabSz="696777" rtl="0" eaLnBrk="1" fontAlgn="base" latinLnBrk="0" hangingPunct="1">
              <a:spcBef>
                <a:spcPts val="915"/>
              </a:spcBef>
              <a:spcAft>
                <a:spcPts val="457"/>
              </a:spcAft>
              <a:buClr>
                <a:schemeClr val="tx1">
                  <a:lumMod val="75000"/>
                  <a:lumOff val="25000"/>
                </a:schemeClr>
              </a:buClr>
              <a:buFont typeface="+mj-lt"/>
              <a:buAutoNum type="arabicPeriod"/>
            </a:pPr>
            <a:r>
              <a:rPr lang="en-US"/>
              <a:t>Click to edit Master text styles</a:t>
            </a:r>
          </a:p>
        </p:txBody>
      </p:sp>
      <p:sp>
        <p:nvSpPr>
          <p:cNvPr id="9" name="Footer Placeholder 2"/>
          <p:cNvSpPr txBox="1">
            <a:spLocks/>
          </p:cNvSpPr>
          <p:nvPr userDrawn="1"/>
        </p:nvSpPr>
        <p:spPr>
          <a:xfrm>
            <a:off x="4398011" y="4804437"/>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solidFill>
                <a:latin typeface="Trebuchet MS" pitchFamily="34" charset="0"/>
                <a:cs typeface="Arial" pitchFamily="34" charset="0"/>
              </a:rPr>
              <a:pPr algn="ctr">
                <a:spcBef>
                  <a:spcPct val="0"/>
                </a:spcBef>
                <a:defRPr/>
              </a:pPr>
              <a:t>‹Nº›</a:t>
            </a:fld>
            <a:endParaRPr lang="en-US" sz="600" dirty="0">
              <a:solidFill>
                <a:schemeClr val="tx1"/>
              </a:solidFill>
              <a:latin typeface="Trebuchet MS" pitchFamily="34" charset="0"/>
              <a:cs typeface="Arial" pitchFamily="34" charset="0"/>
            </a:endParaRPr>
          </a:p>
        </p:txBody>
      </p:sp>
      <p:cxnSp>
        <p:nvCxnSpPr>
          <p:cNvPr id="11" name="Straight Connector 10"/>
          <p:cNvCxnSpPr/>
          <p:nvPr userDrawn="1"/>
        </p:nvCxnSpPr>
        <p:spPr>
          <a:xfrm>
            <a:off x="268187" y="4609226"/>
            <a:ext cx="8629317" cy="0"/>
          </a:xfrm>
          <a:prstGeom prst="line">
            <a:avLst/>
          </a:prstGeom>
          <a:ln w="12700" cmpd="sng">
            <a:solidFill>
              <a:srgbClr val="CCCCCC"/>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12" name="Picture 11" descr="al_enterprise_rgb_75mm.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769542" y="4726966"/>
            <a:ext cx="1112188" cy="306091"/>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ALE_Main Title Dark Blue 2">
    <p:spTree>
      <p:nvGrpSpPr>
        <p:cNvPr id="1" name=""/>
        <p:cNvGrpSpPr/>
        <p:nvPr/>
      </p:nvGrpSpPr>
      <p:grpSpPr>
        <a:xfrm>
          <a:off x="0" y="0"/>
          <a:ext cx="0" cy="0"/>
          <a:chOff x="0" y="0"/>
          <a:chExt cx="0" cy="0"/>
        </a:xfrm>
      </p:grpSpPr>
      <p:pic>
        <p:nvPicPr>
          <p:cNvPr id="20"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0" y="1"/>
            <a:ext cx="9144000" cy="5143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Rectangle 17"/>
          <p:cNvSpPr/>
          <p:nvPr userDrawn="1">
            <p:custDataLst>
              <p:tags r:id="rId1"/>
            </p:custDataLst>
          </p:nvPr>
        </p:nvSpPr>
        <p:spPr>
          <a:xfrm>
            <a:off x="0" y="0"/>
            <a:ext cx="9144000" cy="5143501"/>
          </a:xfrm>
          <a:prstGeom prst="rect">
            <a:avLst/>
          </a:prstGeom>
          <a:gradFill>
            <a:gsLst>
              <a:gs pos="81000">
                <a:schemeClr val="accent1"/>
              </a:gs>
              <a:gs pos="0">
                <a:schemeClr val="accent1">
                  <a:lumMod val="75000"/>
                  <a:alpha val="5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pic>
        <p:nvPicPr>
          <p:cNvPr id="19" name="Picture 18"/>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0" y="0"/>
            <a:ext cx="7411561" cy="5146674"/>
          </a:xfrm>
          <a:prstGeom prst="rect">
            <a:avLst/>
          </a:prstGeom>
        </p:spPr>
      </p:pic>
      <p:pic>
        <p:nvPicPr>
          <p:cNvPr id="11"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
        <p:nvSpPr>
          <p:cNvPr id="8" name="Rectangle 2"/>
          <p:cNvSpPr>
            <a:spLocks noGrp="1" noChangeArrowheads="1"/>
          </p:cNvSpPr>
          <p:nvPr>
            <p:ph type="ctrTitle"/>
          </p:nvPr>
        </p:nvSpPr>
        <p:spPr>
          <a:xfrm>
            <a:off x="4566823" y="1493663"/>
            <a:ext cx="4333996" cy="804859"/>
          </a:xfrm>
        </p:spPr>
        <p:txBody>
          <a:bodyPr anchor="b"/>
          <a:lstStyle>
            <a:lvl1pPr>
              <a:defRPr sz="2800" b="1" cap="none">
                <a:solidFill>
                  <a:schemeClr val="bg1"/>
                </a:solidFill>
                <a:latin typeface="Trebuchet MS" panose="020B0603020202020204" pitchFamily="34" charset="0"/>
              </a:defRPr>
            </a:lvl1pPr>
          </a:lstStyle>
          <a:p>
            <a:r>
              <a:rPr lang="en-US" noProof="0" dirty="0"/>
              <a:t>Click to edit Master title style</a:t>
            </a:r>
          </a:p>
        </p:txBody>
      </p:sp>
      <p:sp>
        <p:nvSpPr>
          <p:cNvPr id="9" name="Rectangle 3"/>
          <p:cNvSpPr>
            <a:spLocks noGrp="1" noChangeArrowheads="1"/>
          </p:cNvSpPr>
          <p:nvPr>
            <p:ph type="subTitle" idx="1"/>
          </p:nvPr>
        </p:nvSpPr>
        <p:spPr>
          <a:xfrm>
            <a:off x="4566823" y="2314862"/>
            <a:ext cx="4314945" cy="463154"/>
          </a:xfrm>
          <a:noFill/>
          <a:ln w="9525" algn="ctr">
            <a:noFill/>
            <a:miter lim="800000"/>
            <a:headEnd/>
            <a:tailEnd/>
          </a:ln>
          <a:effectLst/>
        </p:spPr>
        <p:txBody>
          <a:bodyPr vert="horz" wrap="square" lIns="69677" tIns="34839" rIns="69677" bIns="34839" numCol="1" anchor="t" anchorCtr="0" compatLnSpc="1">
            <a:prstTxWarp prst="textNoShape">
              <a:avLst/>
            </a:prstTxWarp>
          </a:bodyPr>
          <a:lstStyle>
            <a:lvl1pPr>
              <a:defRPr lang="en-US" dirty="0">
                <a:solidFill>
                  <a:schemeClr val="bg1"/>
                </a:solidFill>
                <a:ea typeface="Trebuchet MS" panose="020B0603020202020204" pitchFamily="34" charset="0"/>
              </a:defRPr>
            </a:lvl1pPr>
          </a:lstStyle>
          <a:p>
            <a:pPr marL="0" lvl="0" indent="0">
              <a:spcBef>
                <a:spcPts val="600"/>
              </a:spcBef>
              <a:spcAft>
                <a:spcPts val="0"/>
              </a:spcAft>
              <a:buFont typeface="Trebuchet MS" pitchFamily="34" charset="0"/>
              <a:buNone/>
            </a:pPr>
            <a:r>
              <a:rPr lang="en-US" noProof="0" dirty="0"/>
              <a:t>Click to edit Master subtitle style</a:t>
            </a:r>
          </a:p>
        </p:txBody>
      </p:sp>
      <p:sp>
        <p:nvSpPr>
          <p:cNvPr id="16"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bg1"/>
              </a:solidFill>
              <a:latin typeface="Trebuchet MS" panose="020B0603020202020204" pitchFamily="34" charset="0"/>
              <a:cs typeface="Trebuchet MS" panose="020B0604020202020204" pitchFamily="34" charset="-128"/>
            </a:endParaRPr>
          </a:p>
        </p:txBody>
      </p:sp>
      <p:cxnSp>
        <p:nvCxnSpPr>
          <p:cNvPr id="17"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4336774" y="1482882"/>
            <a:ext cx="105405" cy="81564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grpSp>
        <p:nvGrpSpPr>
          <p:cNvPr id="23" name="Group 22"/>
          <p:cNvGrpSpPr>
            <a:grpSpLocks noChangeAspect="1"/>
          </p:cNvGrpSpPr>
          <p:nvPr userDrawn="1"/>
        </p:nvGrpSpPr>
        <p:grpSpPr bwMode="auto">
          <a:xfrm>
            <a:off x="3389938" y="1692913"/>
            <a:ext cx="765085" cy="395577"/>
            <a:chOff x="2029" y="1180"/>
            <a:chExt cx="1702" cy="880"/>
          </a:xfrm>
        </p:grpSpPr>
        <p:sp>
          <p:nvSpPr>
            <p:cNvPr id="24" name="AutoShape 3"/>
            <p:cNvSpPr>
              <a:spLocks noChangeAspect="1" noChangeArrowheads="1" noTextEdit="1"/>
            </p:cNvSpPr>
            <p:nvPr/>
          </p:nvSpPr>
          <p:spPr bwMode="auto">
            <a:xfrm>
              <a:off x="2029" y="1180"/>
              <a:ext cx="1702" cy="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5" name="Oval 5"/>
            <p:cNvSpPr>
              <a:spLocks noChangeArrowheads="1"/>
            </p:cNvSpPr>
            <p:nvPr/>
          </p:nvSpPr>
          <p:spPr bwMode="auto">
            <a:xfrm>
              <a:off x="2403" y="1265"/>
              <a:ext cx="131" cy="131"/>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6" name="Freeform 6"/>
            <p:cNvSpPr>
              <a:spLocks/>
            </p:cNvSpPr>
            <p:nvPr/>
          </p:nvSpPr>
          <p:spPr bwMode="auto">
            <a:xfrm>
              <a:off x="2029" y="1180"/>
              <a:ext cx="1705" cy="624"/>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7" name="Freeform 7"/>
            <p:cNvSpPr>
              <a:spLocks/>
            </p:cNvSpPr>
            <p:nvPr/>
          </p:nvSpPr>
          <p:spPr bwMode="auto">
            <a:xfrm>
              <a:off x="2347" y="1663"/>
              <a:ext cx="1077" cy="397"/>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8" name="Freeform 8"/>
            <p:cNvSpPr>
              <a:spLocks/>
            </p:cNvSpPr>
            <p:nvPr/>
          </p:nvSpPr>
          <p:spPr bwMode="auto">
            <a:xfrm>
              <a:off x="3512" y="1609"/>
              <a:ext cx="123" cy="291"/>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1956388224"/>
      </p:ext>
    </p:extLst>
  </p:cSld>
  <p:clrMapOvr>
    <a:masterClrMapping/>
  </p:clrMapOvr>
  <p:hf hdr="0" dt="0"/>
  <p:extLst mod="1">
    <p:ext uri="{DCECCB84-F9BA-43D5-87BE-67443E8EF086}">
      <p15:sldGuideLst xmlns:p15="http://schemas.microsoft.com/office/powerpoint/2012/main">
        <p15:guide id="1" pos="2880">
          <p15:clr>
            <a:srgbClr val="FBAE40"/>
          </p15:clr>
        </p15:guide>
        <p15:guide id="2" pos="424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cSld name="ALE_Title and segue slide">
    <p:spTree>
      <p:nvGrpSpPr>
        <p:cNvPr id="1" name=""/>
        <p:cNvGrpSpPr/>
        <p:nvPr/>
      </p:nvGrpSpPr>
      <p:grpSpPr>
        <a:xfrm>
          <a:off x="0" y="0"/>
          <a:ext cx="0" cy="0"/>
          <a:chOff x="0" y="0"/>
          <a:chExt cx="0" cy="0"/>
        </a:xfrm>
      </p:grpSpPr>
      <p:sp>
        <p:nvSpPr>
          <p:cNvPr id="4098" name="Rectangle 2"/>
          <p:cNvSpPr>
            <a:spLocks noGrp="1" noChangeArrowheads="1"/>
          </p:cNvSpPr>
          <p:nvPr>
            <p:ph type="ctrTitle"/>
          </p:nvPr>
        </p:nvSpPr>
        <p:spPr>
          <a:xfrm>
            <a:off x="189993" y="3157420"/>
            <a:ext cx="8727587" cy="804859"/>
          </a:xfrm>
        </p:spPr>
        <p:txBody>
          <a:bodyPr anchor="b"/>
          <a:lstStyle>
            <a:lvl1pPr>
              <a:defRPr b="0" cap="none">
                <a:latin typeface="Trebuchet MS" pitchFamily="34" charset="0"/>
              </a:defRPr>
            </a:lvl1pPr>
          </a:lstStyle>
          <a:p>
            <a:r>
              <a:rPr lang="en-US"/>
              <a:t>Click to edit Master title style</a:t>
            </a:r>
          </a:p>
        </p:txBody>
      </p:sp>
      <p:sp>
        <p:nvSpPr>
          <p:cNvPr id="4099" name="Rectangle 3"/>
          <p:cNvSpPr>
            <a:spLocks noGrp="1" noChangeArrowheads="1"/>
          </p:cNvSpPr>
          <p:nvPr>
            <p:ph type="subTitle" idx="1"/>
          </p:nvPr>
        </p:nvSpPr>
        <p:spPr>
          <a:xfrm>
            <a:off x="194952" y="3969094"/>
            <a:ext cx="8695837" cy="463154"/>
          </a:xfrm>
        </p:spPr>
        <p:txBody>
          <a:bodyPr lIns="69677" tIns="34839" rIns="69677" bIns="34839"/>
          <a:lstStyle>
            <a:lvl1pPr marL="0" indent="0">
              <a:buFont typeface="Arial" pitchFamily="34" charset="0"/>
              <a:buNone/>
              <a:defRPr>
                <a:solidFill>
                  <a:schemeClr val="bg1">
                    <a:lumMod val="50000"/>
                  </a:schemeClr>
                </a:solidFill>
                <a:latin typeface="Trebuchet MS" pitchFamily="34" charset="0"/>
              </a:defRPr>
            </a:lvl1pPr>
          </a:lstStyle>
          <a:p>
            <a:r>
              <a:rPr lang="en-US"/>
              <a:t>Click to edit Master subtitle style</a:t>
            </a:r>
          </a:p>
        </p:txBody>
      </p:sp>
      <p:sp>
        <p:nvSpPr>
          <p:cNvPr id="8" name="Footer Placeholder 2"/>
          <p:cNvSpPr txBox="1">
            <a:spLocks/>
          </p:cNvSpPr>
          <p:nvPr userDrawn="1"/>
        </p:nvSpPr>
        <p:spPr>
          <a:xfrm>
            <a:off x="4398011" y="4804437"/>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600" smtClean="0">
                <a:solidFill>
                  <a:schemeClr val="tx1"/>
                </a:solidFill>
                <a:latin typeface="Trebuchet MS" pitchFamily="34" charset="0"/>
                <a:cs typeface="Arial" pitchFamily="34" charset="0"/>
              </a:rPr>
              <a:pPr algn="ctr">
                <a:spcBef>
                  <a:spcPct val="0"/>
                </a:spcBef>
                <a:defRPr/>
              </a:pPr>
              <a:t>‹Nº›</a:t>
            </a:fld>
            <a:endParaRPr lang="en-US" sz="600" dirty="0">
              <a:solidFill>
                <a:schemeClr val="tx1"/>
              </a:solidFill>
              <a:latin typeface="Trebuchet MS" pitchFamily="34" charset="0"/>
              <a:cs typeface="Arial" pitchFamily="34" charset="0"/>
            </a:endParaRPr>
          </a:p>
        </p:txBody>
      </p:sp>
      <p:cxnSp>
        <p:nvCxnSpPr>
          <p:cNvPr id="12" name="Straight Connector 11"/>
          <p:cNvCxnSpPr/>
          <p:nvPr userDrawn="1"/>
        </p:nvCxnSpPr>
        <p:spPr>
          <a:xfrm>
            <a:off x="268187" y="4609226"/>
            <a:ext cx="8629317" cy="0"/>
          </a:xfrm>
          <a:prstGeom prst="line">
            <a:avLst/>
          </a:prstGeom>
          <a:ln w="12700" cmpd="sng">
            <a:solidFill>
              <a:srgbClr val="CCCCCC"/>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 name="Picture 1" descr="al_enterprise_rgb_75mm.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7769542" y="4726966"/>
            <a:ext cx="1112188" cy="306091"/>
          </a:xfrm>
          <a:prstGeom prst="rect">
            <a:avLst/>
          </a:prstGeom>
        </p:spPr>
      </p:pic>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ALE_Simple Title">
    <p:spTree>
      <p:nvGrpSpPr>
        <p:cNvPr id="1" name=""/>
        <p:cNvGrpSpPr/>
        <p:nvPr/>
      </p:nvGrpSpPr>
      <p:grpSpPr>
        <a:xfrm>
          <a:off x="0" y="0"/>
          <a:ext cx="0" cy="0"/>
          <a:chOff x="0" y="0"/>
          <a:chExt cx="0" cy="0"/>
        </a:xfrm>
      </p:grpSpPr>
      <p:sp>
        <p:nvSpPr>
          <p:cNvPr id="4" name="Titre 3"/>
          <p:cNvSpPr>
            <a:spLocks noGrp="1"/>
          </p:cNvSpPr>
          <p:nvPr>
            <p:ph type="title" hasCustomPrompt="1"/>
          </p:nvPr>
        </p:nvSpPr>
        <p:spPr>
          <a:xfrm>
            <a:off x="224953" y="170260"/>
            <a:ext cx="8673362" cy="420290"/>
          </a:xfrm>
        </p:spPr>
        <p:txBody>
          <a:bodyPr/>
          <a:lstStyle>
            <a:lvl1pPr>
              <a:defRPr>
                <a:solidFill>
                  <a:schemeClr val="tx1"/>
                </a:solidFill>
              </a:defRPr>
            </a:lvl1pPr>
          </a:lstStyle>
          <a:p>
            <a:r>
              <a:rPr lang="en-US" noProof="0" dirty="0"/>
              <a:t>Click here to add title</a:t>
            </a:r>
          </a:p>
        </p:txBody>
      </p:sp>
      <p:sp>
        <p:nvSpPr>
          <p:cNvPr id="10" name="Rectangle 9"/>
          <p:cNvSpPr/>
          <p:nvPr userDrawn="1"/>
        </p:nvSpPr>
        <p:spPr>
          <a:xfrm>
            <a:off x="-3" y="-1308"/>
            <a:ext cx="79200" cy="1008000"/>
          </a:xfrm>
          <a:prstGeom prst="rect">
            <a:avLst/>
          </a:prstGeom>
          <a:solidFill>
            <a:schemeClr val="bg2"/>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dirty="0">
              <a:latin typeface="Trebuchet MS" panose="020B0603020202020204" pitchFamily="34" charset="0"/>
              <a:cs typeface="Trebuchet MS" panose="020B0502040204020203" pitchFamily="34" charset="0"/>
            </a:endParaRPr>
          </a:p>
        </p:txBody>
      </p:sp>
      <p:sp>
        <p:nvSpPr>
          <p:cNvPr id="7"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8"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Tree>
    <p:extLst>
      <p:ext uri="{BB962C8B-B14F-4D97-AF65-F5344CB8AC3E}">
        <p14:creationId xmlns:p14="http://schemas.microsoft.com/office/powerpoint/2010/main" val="1233435603"/>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ALE_SimpleTitle-Sub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15899" y="170260"/>
            <a:ext cx="8693207" cy="431720"/>
          </a:xfrm>
        </p:spPr>
        <p:txBody>
          <a:bodyPr/>
          <a:lstStyle>
            <a:lvl1pPr>
              <a:defRPr>
                <a:latin typeface="Trebuchet MS" panose="020B0603020202020204" pitchFamily="34" charset="0"/>
              </a:defRPr>
            </a:lvl1pPr>
          </a:lstStyle>
          <a:p>
            <a:r>
              <a:rPr lang="en-US" noProof="0" dirty="0"/>
              <a:t>Click to edit master title style</a:t>
            </a:r>
          </a:p>
        </p:txBody>
      </p:sp>
      <p:sp>
        <p:nvSpPr>
          <p:cNvPr id="15"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16"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p:cNvSpPr/>
          <p:nvPr userDrawn="1"/>
        </p:nvSpPr>
        <p:spPr>
          <a:xfrm>
            <a:off x="-3" y="-1308"/>
            <a:ext cx="79200" cy="1008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pic>
        <p:nvPicPr>
          <p:cNvPr id="8"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
        <p:nvSpPr>
          <p:cNvPr id="17" name="Text Placeholder 16"/>
          <p:cNvSpPr>
            <a:spLocks noGrp="1"/>
          </p:cNvSpPr>
          <p:nvPr>
            <p:ph type="body" sz="quarter" idx="10" hasCustomPrompt="1"/>
          </p:nvPr>
        </p:nvSpPr>
        <p:spPr>
          <a:xfrm>
            <a:off x="221615" y="633095"/>
            <a:ext cx="8693150" cy="266065"/>
          </a:xfrm>
        </p:spPr>
        <p:txBody>
          <a:bodyPr lIns="73152" rIns="73152" anchor="ctr"/>
          <a:lstStyle>
            <a:lvl1pPr>
              <a:buFontTx/>
              <a:buNone/>
              <a:defRPr sz="1100">
                <a:solidFill>
                  <a:schemeClr val="tx2"/>
                </a:solidFill>
              </a:defRPr>
            </a:lvl1pPr>
            <a:lvl2pPr>
              <a:buFontTx/>
              <a:buNone/>
              <a:defRPr/>
            </a:lvl2pPr>
            <a:lvl3pPr>
              <a:buFontTx/>
              <a:buNone/>
              <a:defRPr/>
            </a:lvl3pPr>
            <a:lvl4pPr>
              <a:buFontTx/>
              <a:buNone/>
              <a:defRPr/>
            </a:lvl4pPr>
            <a:lvl5pPr>
              <a:buFontTx/>
              <a:buNone/>
              <a:defRPr/>
            </a:lvl5pPr>
          </a:lstStyle>
          <a:p>
            <a:pPr lvl="0"/>
            <a:r>
              <a:rPr lang="en-US" dirty="0"/>
              <a:t>Click to edit subtitle</a:t>
            </a:r>
          </a:p>
        </p:txBody>
      </p:sp>
    </p:spTree>
    <p:extLst>
      <p:ext uri="{BB962C8B-B14F-4D97-AF65-F5344CB8AC3E}">
        <p14:creationId xmlns:p14="http://schemas.microsoft.com/office/powerpoint/2010/main" val="9252715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ALE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224184" y="1130300"/>
            <a:ext cx="8686068" cy="3285730"/>
          </a:xfrm>
        </p:spPr>
        <p:txBody>
          <a:bodyPr/>
          <a:lstStyle>
            <a:lvl1pPr>
              <a:buClrTx/>
              <a:defRPr>
                <a:solidFill>
                  <a:schemeClr val="tx1"/>
                </a:solidFill>
                <a:latin typeface="Trebuchet MS" panose="020B0603020202020204" pitchFamily="34" charset="0"/>
              </a:defRPr>
            </a:lvl1pPr>
            <a:lvl2pPr>
              <a:spcAft>
                <a:spcPts val="0"/>
              </a:spcAft>
              <a:defRPr>
                <a:solidFill>
                  <a:schemeClr val="tx1"/>
                </a:solidFill>
                <a:latin typeface="Trebuchet MS" panose="020B0603020202020204" pitchFamily="34" charset="0"/>
              </a:defRPr>
            </a:lvl2pPr>
            <a:lvl3pPr>
              <a:spcAft>
                <a:spcPts val="0"/>
              </a:spcAft>
              <a:defRPr>
                <a:solidFill>
                  <a:schemeClr val="tx1"/>
                </a:solidFill>
                <a:latin typeface="Trebuchet MS" panose="020B0603020202020204" pitchFamily="34" charset="0"/>
              </a:defRPr>
            </a:lvl3pPr>
            <a:lvl4pPr>
              <a:spcAft>
                <a:spcPts val="0"/>
              </a:spcAft>
              <a:defRPr>
                <a:solidFill>
                  <a:schemeClr val="tx1"/>
                </a:solidFill>
                <a:latin typeface="Trebuchet MS" panose="020B0603020202020204" pitchFamily="34" charset="0"/>
              </a:defRPr>
            </a:lvl4pPr>
            <a:lvl5pPr>
              <a:spcAft>
                <a:spcPts val="0"/>
              </a:spcAft>
              <a:defRPr>
                <a:solidFill>
                  <a:schemeClr val="tx1"/>
                </a:solidFill>
                <a:latin typeface="Trebuchet MS" panose="020B0603020202020204"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Titre 3"/>
          <p:cNvSpPr>
            <a:spLocks noGrp="1"/>
          </p:cNvSpPr>
          <p:nvPr>
            <p:ph type="title"/>
          </p:nvPr>
        </p:nvSpPr>
        <p:spPr/>
        <p:txBody>
          <a:bodyPr/>
          <a:lstStyle>
            <a:lvl1pPr>
              <a:defRPr>
                <a:solidFill>
                  <a:schemeClr val="tx1"/>
                </a:solidFill>
              </a:defRPr>
            </a:lvl1pPr>
          </a:lstStyle>
          <a:p>
            <a:r>
              <a:rPr lang="en-US" noProof="0" dirty="0" err="1"/>
              <a:t>Modifiez</a:t>
            </a:r>
            <a:r>
              <a:rPr lang="en-US" noProof="0" dirty="0"/>
              <a:t> le style du </a:t>
            </a:r>
            <a:r>
              <a:rPr lang="en-US" noProof="0" dirty="0" err="1"/>
              <a:t>titre</a:t>
            </a:r>
            <a:endParaRPr lang="en-US" noProof="0" dirty="0"/>
          </a:p>
        </p:txBody>
      </p:sp>
      <p:sp>
        <p:nvSpPr>
          <p:cNvPr id="10" name="Rectangle 9"/>
          <p:cNvSpPr/>
          <p:nvPr userDrawn="1"/>
        </p:nvSpPr>
        <p:spPr>
          <a:xfrm>
            <a:off x="-3" y="-1308"/>
            <a:ext cx="79200" cy="10080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7"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noProof="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noProof="0" dirty="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8"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5"/>
            <a:ext cx="1122840" cy="307477"/>
          </a:xfrm>
          <a:prstGeom prst="rect">
            <a:avLst/>
          </a:prstGeom>
        </p:spPr>
      </p:pic>
    </p:spTree>
    <p:extLst>
      <p:ext uri="{BB962C8B-B14F-4D97-AF65-F5344CB8AC3E}">
        <p14:creationId xmlns:p14="http://schemas.microsoft.com/office/powerpoint/2010/main" val="2126464752"/>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ALE_Full Image 3">
    <p:spTree>
      <p:nvGrpSpPr>
        <p:cNvPr id="1" name=""/>
        <p:cNvGrpSpPr/>
        <p:nvPr/>
      </p:nvGrpSpPr>
      <p:grpSpPr>
        <a:xfrm>
          <a:off x="0" y="0"/>
          <a:ext cx="0" cy="0"/>
          <a:chOff x="0" y="0"/>
          <a:chExt cx="0" cy="0"/>
        </a:xfrm>
      </p:grpSpPr>
      <p:pic>
        <p:nvPicPr>
          <p:cNvPr id="3"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 y="2"/>
            <a:ext cx="9143994" cy="5143496"/>
          </a:xfrm>
          <a:prstGeom prst="rect">
            <a:avLst/>
          </a:prstGeom>
        </p:spPr>
      </p:pic>
      <p:sp>
        <p:nvSpPr>
          <p:cNvPr id="7" name="Titre 3"/>
          <p:cNvSpPr>
            <a:spLocks noGrp="1"/>
          </p:cNvSpPr>
          <p:nvPr>
            <p:ph type="title"/>
          </p:nvPr>
        </p:nvSpPr>
        <p:spPr>
          <a:xfrm>
            <a:off x="200025" y="170263"/>
            <a:ext cx="8693150" cy="829865"/>
          </a:xfrm>
        </p:spPr>
        <p:txBody>
          <a:bodyPr/>
          <a:lstStyle>
            <a:lvl1pPr>
              <a:defRPr sz="2715">
                <a:solidFill>
                  <a:schemeClr val="bg1"/>
                </a:solidFill>
              </a:defRPr>
            </a:lvl1pPr>
          </a:lstStyle>
          <a:p>
            <a:r>
              <a:rPr lang="fr-FR"/>
              <a:t>Modifiez le style du titre</a:t>
            </a:r>
          </a:p>
        </p:txBody>
      </p:sp>
      <p:sp>
        <p:nvSpPr>
          <p:cNvPr id="8" name="Footer Placeholder 2"/>
          <p:cNvSpPr txBox="1">
            <a:spLocks/>
          </p:cNvSpPr>
          <p:nvPr userDrawn="1"/>
        </p:nvSpPr>
        <p:spPr>
          <a:xfrm>
            <a:off x="215900" y="4734098"/>
            <a:ext cx="372452" cy="179784"/>
          </a:xfrm>
          <a:prstGeom prst="rect">
            <a:avLst/>
          </a:prstGeom>
        </p:spPr>
        <p:txBody>
          <a:bodyPr lIns="67557" tIns="33779" rIns="67557" bIns="3377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969" smtClean="0">
                <a:solidFill>
                  <a:schemeClr val="bg1"/>
                </a:solidFill>
                <a:latin typeface="Trebuchet MS" panose="020B0603020202020204" pitchFamily="34" charset="0"/>
                <a:cs typeface="Trebuchet MS" panose="020B0604020202020204" pitchFamily="34" charset="-128"/>
              </a:rPr>
              <a:pPr algn="ctr">
                <a:spcBef>
                  <a:spcPct val="0"/>
                </a:spcBef>
                <a:defRPr/>
              </a:pPr>
              <a:t>‹Nº›</a:t>
            </a:fld>
            <a:endParaRPr lang="en-US" sz="969">
              <a:solidFill>
                <a:schemeClr val="bg1"/>
              </a:solidFill>
              <a:latin typeface="Trebuchet MS" panose="020B0603020202020204" pitchFamily="34" charset="0"/>
              <a:cs typeface="Trebuchet MS" panose="020B0604020202020204" pitchFamily="34" charset="-128"/>
            </a:endParaRPr>
          </a:p>
        </p:txBody>
      </p:sp>
      <p:cxnSp>
        <p:nvCxnSpPr>
          <p:cNvPr id="9" name="Straight Connector 112"/>
          <p:cNvCxnSpPr/>
          <p:nvPr userDrawn="1"/>
        </p:nvCxnSpPr>
        <p:spPr>
          <a:xfrm flipH="1">
            <a:off x="206374"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7783495" y="4704177"/>
            <a:ext cx="1090559" cy="2937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22180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Section 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alphaModFix amt="83000"/>
            <a:extLst>
              <a:ext uri="{28A0092B-C50C-407E-A947-70E740481C1C}">
                <a14:useLocalDpi xmlns:a14="http://schemas.microsoft.com/office/drawing/2010/main"/>
              </a:ext>
            </a:extLst>
          </a:blip>
          <a:stretch>
            <a:fillRect/>
          </a:stretch>
        </p:blipFill>
        <p:spPr>
          <a:xfrm>
            <a:off x="0" y="0"/>
            <a:ext cx="9144000" cy="5143500"/>
          </a:xfrm>
          <a:prstGeom prst="rect">
            <a:avLst/>
          </a:prstGeom>
        </p:spPr>
      </p:pic>
      <p:pic>
        <p:nvPicPr>
          <p:cNvPr id="12" name="Picture 11"/>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396748" y="4933110"/>
            <a:ext cx="642858" cy="210390"/>
          </a:xfrm>
          <a:prstGeom prst="rect">
            <a:avLst/>
          </a:prstGeom>
        </p:spPr>
      </p:pic>
      <p:sp>
        <p:nvSpPr>
          <p:cNvPr id="20" name="Text Placeholder 6"/>
          <p:cNvSpPr>
            <a:spLocks noGrp="1"/>
          </p:cNvSpPr>
          <p:nvPr>
            <p:ph type="body" sz="quarter" idx="10" hasCustomPrompt="1"/>
          </p:nvPr>
        </p:nvSpPr>
        <p:spPr>
          <a:xfrm>
            <a:off x="2807257" y="2073917"/>
            <a:ext cx="3429126" cy="416111"/>
          </a:xfrm>
        </p:spPr>
        <p:txBody>
          <a:bodyPr>
            <a:normAutofit/>
          </a:bodyPr>
          <a:lstStyle>
            <a:lvl1pPr marL="0" indent="0" algn="ctr">
              <a:buNone/>
              <a:defRPr sz="2618">
                <a:solidFill>
                  <a:schemeClr val="bg1"/>
                </a:solidFill>
                <a:latin typeface="Trebuchet MS" charset="0"/>
                <a:ea typeface="Trebuchet MS" charset="0"/>
                <a:cs typeface="Trebuchet MS" charset="0"/>
              </a:defRPr>
            </a:lvl1pPr>
            <a:lvl2pPr marL="332476" indent="0">
              <a:buNone/>
              <a:defRPr>
                <a:solidFill>
                  <a:schemeClr val="bg1"/>
                </a:solidFill>
              </a:defRPr>
            </a:lvl2pPr>
            <a:lvl3pPr marL="664952" indent="0">
              <a:buNone/>
              <a:defRPr>
                <a:solidFill>
                  <a:schemeClr val="bg1"/>
                </a:solidFill>
              </a:defRPr>
            </a:lvl3pPr>
            <a:lvl4pPr marL="997428" indent="0">
              <a:buNone/>
              <a:defRPr>
                <a:solidFill>
                  <a:schemeClr val="bg1"/>
                </a:solidFill>
              </a:defRPr>
            </a:lvl4pPr>
            <a:lvl5pPr marL="1329903" indent="0">
              <a:buNone/>
              <a:defRPr>
                <a:solidFill>
                  <a:schemeClr val="bg1"/>
                </a:solidFill>
              </a:defRPr>
            </a:lvl5pPr>
          </a:lstStyle>
          <a:p>
            <a:pPr lvl="0"/>
            <a:r>
              <a:rPr lang="en-GB" dirty="0"/>
              <a:t>Click to edit title</a:t>
            </a:r>
          </a:p>
        </p:txBody>
      </p:sp>
      <p:sp>
        <p:nvSpPr>
          <p:cNvPr id="21" name="Text Placeholder 6"/>
          <p:cNvSpPr>
            <a:spLocks noGrp="1"/>
          </p:cNvSpPr>
          <p:nvPr>
            <p:ph type="body" sz="quarter" idx="11" hasCustomPrompt="1"/>
          </p:nvPr>
        </p:nvSpPr>
        <p:spPr>
          <a:xfrm>
            <a:off x="2807257" y="2490028"/>
            <a:ext cx="3429126" cy="416111"/>
          </a:xfrm>
        </p:spPr>
        <p:txBody>
          <a:bodyPr>
            <a:normAutofit/>
          </a:bodyPr>
          <a:lstStyle>
            <a:lvl1pPr marL="0" indent="0" algn="ctr">
              <a:buNone/>
              <a:defRPr sz="1164">
                <a:solidFill>
                  <a:schemeClr val="bg1"/>
                </a:solidFill>
                <a:latin typeface="Trebuchet MS" charset="0"/>
                <a:ea typeface="Trebuchet MS" charset="0"/>
                <a:cs typeface="Trebuchet MS" charset="0"/>
              </a:defRPr>
            </a:lvl1pPr>
            <a:lvl2pPr marL="332476" indent="0">
              <a:buNone/>
              <a:defRPr>
                <a:solidFill>
                  <a:schemeClr val="bg1"/>
                </a:solidFill>
              </a:defRPr>
            </a:lvl2pPr>
            <a:lvl3pPr marL="664952" indent="0">
              <a:buNone/>
              <a:defRPr>
                <a:solidFill>
                  <a:schemeClr val="bg1"/>
                </a:solidFill>
              </a:defRPr>
            </a:lvl3pPr>
            <a:lvl4pPr marL="997428" indent="0">
              <a:buNone/>
              <a:defRPr>
                <a:solidFill>
                  <a:schemeClr val="bg1"/>
                </a:solidFill>
              </a:defRPr>
            </a:lvl4pPr>
            <a:lvl5pPr marL="1329903" indent="0">
              <a:buNone/>
              <a:defRPr>
                <a:solidFill>
                  <a:schemeClr val="bg1"/>
                </a:solidFill>
              </a:defRPr>
            </a:lvl5pPr>
          </a:lstStyle>
          <a:p>
            <a:pPr lvl="0"/>
            <a:r>
              <a:rPr lang="en-GB" dirty="0"/>
              <a:t>Click to edit title</a:t>
            </a:r>
          </a:p>
        </p:txBody>
      </p:sp>
    </p:spTree>
    <p:extLst>
      <p:ext uri="{BB962C8B-B14F-4D97-AF65-F5344CB8AC3E}">
        <p14:creationId xmlns:p14="http://schemas.microsoft.com/office/powerpoint/2010/main" val="27484005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143000" y="841772"/>
            <a:ext cx="6858000" cy="1790700"/>
          </a:xfrm>
        </p:spPr>
        <p:txBody>
          <a:bodyPr anchor="b"/>
          <a:lstStyle>
            <a:lvl1pPr algn="ctr">
              <a:defRPr sz="4500"/>
            </a:lvl1pPr>
          </a:lstStyle>
          <a:p>
            <a:r>
              <a:rPr lang="fr-FR"/>
              <a:t>Modifiez le style du titre</a:t>
            </a:r>
            <a:endParaRPr lang="en-US"/>
          </a:p>
        </p:txBody>
      </p:sp>
      <p:sp>
        <p:nvSpPr>
          <p:cNvPr id="3" name="Sous-titr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r-FR"/>
              <a:t>Modifier le style des sous-titres du masque</a:t>
            </a:r>
            <a:endParaRPr lang="en-US"/>
          </a:p>
        </p:txBody>
      </p:sp>
      <p:sp>
        <p:nvSpPr>
          <p:cNvPr id="4" name="Espace réservé de la date 3"/>
          <p:cNvSpPr>
            <a:spLocks noGrp="1"/>
          </p:cNvSpPr>
          <p:nvPr>
            <p:ph type="dt" sz="half" idx="10"/>
          </p:nvPr>
        </p:nvSpPr>
        <p:spPr/>
        <p:txBody>
          <a:bodyPr/>
          <a:lstStyle/>
          <a:p>
            <a:fld id="{6AEAC667-733B-420B-92B0-84FB8C7E2BDD}" type="datetimeFigureOut">
              <a:rPr lang="en-US" smtClean="0"/>
              <a:t>9/1/2019</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9651667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fld id="{6AEAC667-733B-420B-92B0-84FB8C7E2BDD}" type="datetimeFigureOut">
              <a:rPr lang="en-US" smtClean="0"/>
              <a:t>9/1/2019</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409908773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623888" y="1282304"/>
            <a:ext cx="7886700" cy="2139553"/>
          </a:xfrm>
        </p:spPr>
        <p:txBody>
          <a:bodyPr anchor="b"/>
          <a:lstStyle>
            <a:lvl1pPr>
              <a:defRPr sz="4500"/>
            </a:lvl1pPr>
          </a:lstStyle>
          <a:p>
            <a:r>
              <a:rPr lang="fr-FR"/>
              <a:t>Modifiez le style du titre</a:t>
            </a:r>
            <a:endParaRPr lang="en-US"/>
          </a:p>
        </p:txBody>
      </p:sp>
      <p:sp>
        <p:nvSpPr>
          <p:cNvPr id="3" name="Espace réservé du texte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6AEAC667-733B-420B-92B0-84FB8C7E2BDD}" type="datetimeFigureOut">
              <a:rPr lang="en-US" smtClean="0"/>
              <a:t>9/1/2019</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14492273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contenu 2"/>
          <p:cNvSpPr>
            <a:spLocks noGrp="1"/>
          </p:cNvSpPr>
          <p:nvPr>
            <p:ph sz="half" idx="1"/>
          </p:nvPr>
        </p:nvSpPr>
        <p:spPr>
          <a:xfrm>
            <a:off x="628650" y="1369219"/>
            <a:ext cx="3886200" cy="326350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contenu 3"/>
          <p:cNvSpPr>
            <a:spLocks noGrp="1"/>
          </p:cNvSpPr>
          <p:nvPr>
            <p:ph sz="half" idx="2"/>
          </p:nvPr>
        </p:nvSpPr>
        <p:spPr>
          <a:xfrm>
            <a:off x="4629150" y="1369219"/>
            <a:ext cx="3886200" cy="3263504"/>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e la date 4"/>
          <p:cNvSpPr>
            <a:spLocks noGrp="1"/>
          </p:cNvSpPr>
          <p:nvPr>
            <p:ph type="dt" sz="half" idx="10"/>
          </p:nvPr>
        </p:nvSpPr>
        <p:spPr/>
        <p:txBody>
          <a:bodyPr/>
          <a:lstStyle/>
          <a:p>
            <a:fld id="{6AEAC667-733B-420B-92B0-84FB8C7E2BDD}" type="datetimeFigureOut">
              <a:rPr lang="en-US" smtClean="0"/>
              <a:t>9/1/2019</a:t>
            </a:fld>
            <a:endParaRPr lang="en-US"/>
          </a:p>
        </p:txBody>
      </p:sp>
      <p:sp>
        <p:nvSpPr>
          <p:cNvPr id="6" name="Espace réservé du pied de page 5"/>
          <p:cNvSpPr>
            <a:spLocks noGrp="1"/>
          </p:cNvSpPr>
          <p:nvPr>
            <p:ph type="ftr" sz="quarter" idx="11"/>
          </p:nvPr>
        </p:nvSpPr>
        <p:spPr/>
        <p:txBody>
          <a:bodyPr/>
          <a:lstStyle/>
          <a:p>
            <a:endParaRPr lang="en-US"/>
          </a:p>
        </p:txBody>
      </p:sp>
      <p:sp>
        <p:nvSpPr>
          <p:cNvPr id="7" name="Espace réservé du numéro de diapositive 6"/>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6430726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ALE_Main Title Dark Blue 2">
    <p:spTree>
      <p:nvGrpSpPr>
        <p:cNvPr id="1" name=""/>
        <p:cNvGrpSpPr/>
        <p:nvPr/>
      </p:nvGrpSpPr>
      <p:grpSpPr>
        <a:xfrm>
          <a:off x="0" y="0"/>
          <a:ext cx="0" cy="0"/>
          <a:chOff x="0" y="0"/>
          <a:chExt cx="0" cy="0"/>
        </a:xfrm>
      </p:grpSpPr>
      <p:pic>
        <p:nvPicPr>
          <p:cNvPr id="14"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4353" y="1225"/>
            <a:ext cx="9139646" cy="5141050"/>
          </a:xfrm>
          <a:prstGeom prst="rect">
            <a:avLst/>
          </a:prstGeom>
          <a:solidFill>
            <a:srgbClr val="34B233">
              <a:alpha val="72157"/>
            </a:srgbClr>
          </a:solidFill>
          <a:ln>
            <a:noFill/>
          </a:ln>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5" name="Picture 14"/>
          <p:cNvPicPr>
            <a:picLocks noChangeAspect="1"/>
          </p:cNvPicPr>
          <p:nvPr userDrawn="1"/>
        </p:nvPicPr>
        <p:blipFill rotWithShape="1">
          <a:blip r:embed="rId4" cstate="print">
            <a:duotone>
              <a:schemeClr val="accent1">
                <a:shade val="45000"/>
                <a:satMod val="135000"/>
              </a:schemeClr>
              <a:prstClr val="white"/>
            </a:duotone>
            <a:extLst>
              <a:ext uri="{28A0092B-C50C-407E-A947-70E740481C1C}">
                <a14:useLocalDpi xmlns:a14="http://schemas.microsoft.com/office/drawing/2010/main" val="0"/>
              </a:ext>
            </a:extLst>
          </a:blip>
          <a:srcRect b="31073"/>
          <a:stretch/>
        </p:blipFill>
        <p:spPr>
          <a:xfrm flipH="1">
            <a:off x="-6031" y="158750"/>
            <a:ext cx="4319588" cy="2827293"/>
          </a:xfrm>
          <a:prstGeom prst="rect">
            <a:avLst/>
          </a:prstGeom>
        </p:spPr>
      </p:pic>
      <p:sp>
        <p:nvSpPr>
          <p:cNvPr id="17" name="Rectangle 16"/>
          <p:cNvSpPr/>
          <p:nvPr userDrawn="1">
            <p:custDataLst>
              <p:tags r:id="rId1"/>
            </p:custDataLst>
          </p:nvPr>
        </p:nvSpPr>
        <p:spPr>
          <a:xfrm>
            <a:off x="1" y="-1"/>
            <a:ext cx="9143999" cy="5143501"/>
          </a:xfrm>
          <a:prstGeom prst="rect">
            <a:avLst/>
          </a:prstGeom>
          <a:gradFill>
            <a:gsLst>
              <a:gs pos="81000">
                <a:schemeClr val="accent1">
                  <a:alpha val="70000"/>
                </a:schemeClr>
              </a:gs>
              <a:gs pos="0">
                <a:schemeClr val="accent1">
                  <a:lumMod val="75000"/>
                  <a:alpha val="5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sp>
        <p:nvSpPr>
          <p:cNvPr id="18"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Nº›</a:t>
            </a:fld>
            <a:endParaRPr lang="en-US" sz="1000" noProof="0" dirty="0">
              <a:solidFill>
                <a:schemeClr val="bg1"/>
              </a:solidFill>
              <a:latin typeface="Trebuchet MS" panose="020B0603020202020204" pitchFamily="34" charset="0"/>
              <a:cs typeface="Arial" pitchFamily="34" charset="0"/>
            </a:endParaRPr>
          </a:p>
        </p:txBody>
      </p:sp>
      <p:cxnSp>
        <p:nvCxnSpPr>
          <p:cNvPr id="19"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2"/>
          <p:cNvPicPr>
            <a:picLocks noChangeAspect="1" noChangeArrowheads="1"/>
          </p:cNvPicPr>
          <p:nvPr userDrawn="1"/>
        </p:nvPicPr>
        <p:blipFill>
          <a:blip r:embed="rId5"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
        <p:nvSpPr>
          <p:cNvPr id="28" name="Rectangle 2"/>
          <p:cNvSpPr>
            <a:spLocks noGrp="1" noChangeArrowheads="1"/>
          </p:cNvSpPr>
          <p:nvPr>
            <p:ph type="ctrTitle"/>
          </p:nvPr>
        </p:nvSpPr>
        <p:spPr>
          <a:xfrm>
            <a:off x="4553989" y="2589004"/>
            <a:ext cx="4333996" cy="804859"/>
          </a:xfrm>
        </p:spPr>
        <p:txBody>
          <a:bodyPr anchor="b"/>
          <a:lstStyle>
            <a:lvl1pPr>
              <a:defRPr sz="2800" b="1" cap="none">
                <a:solidFill>
                  <a:schemeClr val="bg1"/>
                </a:solidFill>
                <a:latin typeface="Trebuchet MS" panose="020B0603020202020204" pitchFamily="34" charset="0"/>
              </a:defRPr>
            </a:lvl1pPr>
          </a:lstStyle>
          <a:p>
            <a:r>
              <a:rPr lang="en-US" noProof="0" dirty="0"/>
              <a:t>Click to edit Master title style</a:t>
            </a:r>
          </a:p>
        </p:txBody>
      </p:sp>
      <p:sp>
        <p:nvSpPr>
          <p:cNvPr id="29" name="Rectangle 3"/>
          <p:cNvSpPr>
            <a:spLocks noGrp="1" noChangeArrowheads="1"/>
          </p:cNvSpPr>
          <p:nvPr>
            <p:ph type="subTitle" idx="1"/>
          </p:nvPr>
        </p:nvSpPr>
        <p:spPr>
          <a:xfrm>
            <a:off x="4553989" y="3410203"/>
            <a:ext cx="4314945" cy="463154"/>
          </a:xfrm>
        </p:spPr>
        <p:txBody>
          <a:bodyPr lIns="69677" tIns="34839" rIns="69677" bIns="34839"/>
          <a:lstStyle>
            <a:lvl1pPr marL="0" indent="0">
              <a:buFont typeface="Arial" pitchFamily="34" charset="0"/>
              <a:buNone/>
              <a:defRPr>
                <a:solidFill>
                  <a:schemeClr val="bg1"/>
                </a:solidFill>
                <a:latin typeface="Trebuchet MS" panose="020B0603020202020204" pitchFamily="34" charset="0"/>
              </a:defRPr>
            </a:lvl1pPr>
          </a:lstStyle>
          <a:p>
            <a:r>
              <a:rPr lang="en-US" noProof="0" dirty="0"/>
              <a:t>Click to edit Master subtitle style</a:t>
            </a:r>
          </a:p>
        </p:txBody>
      </p:sp>
      <p:sp>
        <p:nvSpPr>
          <p:cNvPr id="30" name="Rectangle 29"/>
          <p:cNvSpPr/>
          <p:nvPr userDrawn="1"/>
        </p:nvSpPr>
        <p:spPr>
          <a:xfrm>
            <a:off x="4323941" y="2578223"/>
            <a:ext cx="79200" cy="81564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grpSp>
        <p:nvGrpSpPr>
          <p:cNvPr id="31" name="Group 30"/>
          <p:cNvGrpSpPr/>
          <p:nvPr userDrawn="1"/>
        </p:nvGrpSpPr>
        <p:grpSpPr>
          <a:xfrm>
            <a:off x="3396687" y="2807035"/>
            <a:ext cx="766434" cy="395577"/>
            <a:chOff x="3396687" y="2807035"/>
            <a:chExt cx="766434" cy="395577"/>
          </a:xfrm>
        </p:grpSpPr>
        <p:sp>
          <p:nvSpPr>
            <p:cNvPr id="32" name="Oval 5"/>
            <p:cNvSpPr>
              <a:spLocks noChangeArrowheads="1"/>
            </p:cNvSpPr>
            <p:nvPr userDrawn="1"/>
          </p:nvSpPr>
          <p:spPr bwMode="auto">
            <a:xfrm>
              <a:off x="3564808" y="2845244"/>
              <a:ext cx="58887" cy="58887"/>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6"/>
            <p:cNvSpPr>
              <a:spLocks/>
            </p:cNvSpPr>
            <p:nvPr userDrawn="1"/>
          </p:nvSpPr>
          <p:spPr bwMode="auto">
            <a:xfrm>
              <a:off x="3396687" y="2807035"/>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7"/>
            <p:cNvSpPr>
              <a:spLocks/>
            </p:cNvSpPr>
            <p:nvPr userDrawn="1"/>
          </p:nvSpPr>
          <p:spPr bwMode="auto">
            <a:xfrm>
              <a:off x="3539635" y="3024153"/>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8"/>
            <p:cNvSpPr>
              <a:spLocks/>
            </p:cNvSpPr>
            <p:nvPr userDrawn="1"/>
          </p:nvSpPr>
          <p:spPr bwMode="auto">
            <a:xfrm>
              <a:off x="4063327" y="2999879"/>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2798240541"/>
      </p:ext>
    </p:extLst>
  </p:cSld>
  <p:clrMapOvr>
    <a:masterClrMapping/>
  </p:clrMapOvr>
  <p:hf hdr="0" dt="0"/>
  <p:extLst mod="1">
    <p:ext uri="{DCECCB84-F9BA-43D5-87BE-67443E8EF086}">
      <p15:sldGuideLst xmlns:p15="http://schemas.microsoft.com/office/powerpoint/2012/main">
        <p15:guide id="1" pos="2880">
          <p15:clr>
            <a:srgbClr val="FBAE40"/>
          </p15:clr>
        </p15:guide>
        <p15:guide id="2" pos="424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29841" y="273844"/>
            <a:ext cx="7886700" cy="994172"/>
          </a:xfrm>
        </p:spPr>
        <p:txBody>
          <a:bodyPr/>
          <a:lstStyle/>
          <a:p>
            <a:r>
              <a:rPr lang="fr-FR"/>
              <a:t>Modifiez le style du titre</a:t>
            </a:r>
            <a:endParaRPr lang="en-US"/>
          </a:p>
        </p:txBody>
      </p:sp>
      <p:sp>
        <p:nvSpPr>
          <p:cNvPr id="3" name="Espace réservé du texte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4" name="Espace réservé du contenu 3"/>
          <p:cNvSpPr>
            <a:spLocks noGrp="1"/>
          </p:cNvSpPr>
          <p:nvPr>
            <p:ph sz="half" idx="2"/>
          </p:nvPr>
        </p:nvSpPr>
        <p:spPr>
          <a:xfrm>
            <a:off x="629842" y="1878806"/>
            <a:ext cx="3868340" cy="276344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5" name="Espace réservé du texte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r-FR"/>
              <a:t>Modifier les styles du texte du masque</a:t>
            </a:r>
          </a:p>
        </p:txBody>
      </p:sp>
      <p:sp>
        <p:nvSpPr>
          <p:cNvPr id="6" name="Espace réservé du contenu 5"/>
          <p:cNvSpPr>
            <a:spLocks noGrp="1"/>
          </p:cNvSpPr>
          <p:nvPr>
            <p:ph sz="quarter" idx="4"/>
          </p:nvPr>
        </p:nvSpPr>
        <p:spPr>
          <a:xfrm>
            <a:off x="4629150" y="1878806"/>
            <a:ext cx="3887391" cy="276344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7" name="Espace réservé de la date 6"/>
          <p:cNvSpPr>
            <a:spLocks noGrp="1"/>
          </p:cNvSpPr>
          <p:nvPr>
            <p:ph type="dt" sz="half" idx="10"/>
          </p:nvPr>
        </p:nvSpPr>
        <p:spPr/>
        <p:txBody>
          <a:bodyPr/>
          <a:lstStyle/>
          <a:p>
            <a:fld id="{6AEAC667-733B-420B-92B0-84FB8C7E2BDD}" type="datetimeFigureOut">
              <a:rPr lang="en-US" smtClean="0"/>
              <a:t>9/1/2019</a:t>
            </a:fld>
            <a:endParaRPr lang="en-US"/>
          </a:p>
        </p:txBody>
      </p:sp>
      <p:sp>
        <p:nvSpPr>
          <p:cNvPr id="8" name="Espace réservé du pied de page 7"/>
          <p:cNvSpPr>
            <a:spLocks noGrp="1"/>
          </p:cNvSpPr>
          <p:nvPr>
            <p:ph type="ftr" sz="quarter" idx="11"/>
          </p:nvPr>
        </p:nvSpPr>
        <p:spPr/>
        <p:txBody>
          <a:bodyPr/>
          <a:lstStyle/>
          <a:p>
            <a:endParaRPr lang="en-US"/>
          </a:p>
        </p:txBody>
      </p:sp>
      <p:sp>
        <p:nvSpPr>
          <p:cNvPr id="9" name="Espace réservé du numéro de diapositive 8"/>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381820779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e la date 2"/>
          <p:cNvSpPr>
            <a:spLocks noGrp="1"/>
          </p:cNvSpPr>
          <p:nvPr>
            <p:ph type="dt" sz="half" idx="10"/>
          </p:nvPr>
        </p:nvSpPr>
        <p:spPr/>
        <p:txBody>
          <a:bodyPr/>
          <a:lstStyle/>
          <a:p>
            <a:fld id="{6AEAC667-733B-420B-92B0-84FB8C7E2BDD}" type="datetimeFigureOut">
              <a:rPr lang="en-US" smtClean="0"/>
              <a:t>9/1/2019</a:t>
            </a:fld>
            <a:endParaRPr lang="en-US"/>
          </a:p>
        </p:txBody>
      </p:sp>
      <p:sp>
        <p:nvSpPr>
          <p:cNvPr id="4" name="Espace réservé du pied de page 3"/>
          <p:cNvSpPr>
            <a:spLocks noGrp="1"/>
          </p:cNvSpPr>
          <p:nvPr>
            <p:ph type="ftr" sz="quarter" idx="11"/>
          </p:nvPr>
        </p:nvSpPr>
        <p:spPr/>
        <p:txBody>
          <a:bodyPr/>
          <a:lstStyle/>
          <a:p>
            <a:endParaRPr lang="en-US"/>
          </a:p>
        </p:txBody>
      </p:sp>
      <p:sp>
        <p:nvSpPr>
          <p:cNvPr id="5" name="Espace réservé du numéro de diapositive 4"/>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36922166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AEAC667-733B-420B-92B0-84FB8C7E2BDD}" type="datetimeFigureOut">
              <a:rPr lang="en-US" smtClean="0"/>
              <a:t>9/1/2019</a:t>
            </a:fld>
            <a:endParaRPr lang="en-US"/>
          </a:p>
        </p:txBody>
      </p:sp>
      <p:sp>
        <p:nvSpPr>
          <p:cNvPr id="3" name="Espace réservé du pied de page 2"/>
          <p:cNvSpPr>
            <a:spLocks noGrp="1"/>
          </p:cNvSpPr>
          <p:nvPr>
            <p:ph type="ftr" sz="quarter" idx="11"/>
          </p:nvPr>
        </p:nvSpPr>
        <p:spPr/>
        <p:txBody>
          <a:bodyPr/>
          <a:lstStyle/>
          <a:p>
            <a:endParaRPr lang="en-US"/>
          </a:p>
        </p:txBody>
      </p:sp>
      <p:sp>
        <p:nvSpPr>
          <p:cNvPr id="4" name="Espace réservé du numéro de diapositive 3"/>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10521914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a:t>Modifiez le style du titre</a:t>
            </a:r>
            <a:endParaRPr lang="en-US"/>
          </a:p>
        </p:txBody>
      </p:sp>
      <p:sp>
        <p:nvSpPr>
          <p:cNvPr id="3" name="Espace réservé du contenu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6AEAC667-733B-420B-92B0-84FB8C7E2BDD}" type="datetimeFigureOut">
              <a:rPr lang="en-US" smtClean="0"/>
              <a:t>9/1/2019</a:t>
            </a:fld>
            <a:endParaRPr lang="en-US"/>
          </a:p>
        </p:txBody>
      </p:sp>
      <p:sp>
        <p:nvSpPr>
          <p:cNvPr id="6" name="Espace réservé du pied de page 5"/>
          <p:cNvSpPr>
            <a:spLocks noGrp="1"/>
          </p:cNvSpPr>
          <p:nvPr>
            <p:ph type="ftr" sz="quarter" idx="11"/>
          </p:nvPr>
        </p:nvSpPr>
        <p:spPr/>
        <p:txBody>
          <a:bodyPr/>
          <a:lstStyle/>
          <a:p>
            <a:endParaRPr lang="en-US"/>
          </a:p>
        </p:txBody>
      </p:sp>
      <p:sp>
        <p:nvSpPr>
          <p:cNvPr id="7" name="Espace réservé du numéro de diapositive 6"/>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381791751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29841" y="342900"/>
            <a:ext cx="2949178" cy="1200150"/>
          </a:xfrm>
        </p:spPr>
        <p:txBody>
          <a:bodyPr anchor="b"/>
          <a:lstStyle>
            <a:lvl1pPr>
              <a:defRPr sz="2400"/>
            </a:lvl1pPr>
          </a:lstStyle>
          <a:p>
            <a:r>
              <a:rPr lang="fr-FR"/>
              <a:t>Modifiez le style du titre</a:t>
            </a:r>
            <a:endParaRPr lang="en-US"/>
          </a:p>
        </p:txBody>
      </p:sp>
      <p:sp>
        <p:nvSpPr>
          <p:cNvPr id="3" name="Espace réservé pour une image  2"/>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Espace réservé du texte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6AEAC667-733B-420B-92B0-84FB8C7E2BDD}" type="datetimeFigureOut">
              <a:rPr lang="en-US" smtClean="0"/>
              <a:t>9/1/2019</a:t>
            </a:fld>
            <a:endParaRPr lang="en-US"/>
          </a:p>
        </p:txBody>
      </p:sp>
      <p:sp>
        <p:nvSpPr>
          <p:cNvPr id="6" name="Espace réservé du pied de page 5"/>
          <p:cNvSpPr>
            <a:spLocks noGrp="1"/>
          </p:cNvSpPr>
          <p:nvPr>
            <p:ph type="ftr" sz="quarter" idx="11"/>
          </p:nvPr>
        </p:nvSpPr>
        <p:spPr/>
        <p:txBody>
          <a:bodyPr/>
          <a:lstStyle/>
          <a:p>
            <a:endParaRPr lang="en-US"/>
          </a:p>
        </p:txBody>
      </p:sp>
      <p:sp>
        <p:nvSpPr>
          <p:cNvPr id="7" name="Espace réservé du numéro de diapositive 6"/>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4095597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endParaRPr lang="en-US"/>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fld id="{6AEAC667-733B-420B-92B0-84FB8C7E2BDD}" type="datetimeFigureOut">
              <a:rPr lang="en-US" smtClean="0"/>
              <a:t>9/1/2019</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20193454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543675" y="273844"/>
            <a:ext cx="1971675" cy="4358879"/>
          </a:xfrm>
        </p:spPr>
        <p:txBody>
          <a:bodyPr vert="eaVert"/>
          <a:lstStyle/>
          <a:p>
            <a:r>
              <a:rPr lang="fr-FR"/>
              <a:t>Modifiez le style du titre</a:t>
            </a:r>
            <a:endParaRPr lang="en-US"/>
          </a:p>
        </p:txBody>
      </p:sp>
      <p:sp>
        <p:nvSpPr>
          <p:cNvPr id="3" name="Espace réservé du texte vertical 2"/>
          <p:cNvSpPr>
            <a:spLocks noGrp="1"/>
          </p:cNvSpPr>
          <p:nvPr>
            <p:ph type="body" orient="vert" idx="1"/>
          </p:nvPr>
        </p:nvSpPr>
        <p:spPr>
          <a:xfrm>
            <a:off x="628650" y="273844"/>
            <a:ext cx="5800725" cy="4358879"/>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10"/>
          </p:nvPr>
        </p:nvSpPr>
        <p:spPr/>
        <p:txBody>
          <a:bodyPr/>
          <a:lstStyle/>
          <a:p>
            <a:fld id="{6AEAC667-733B-420B-92B0-84FB8C7E2BDD}" type="datetimeFigureOut">
              <a:rPr lang="en-US" smtClean="0"/>
              <a:t>9/1/2019</a:t>
            </a:fld>
            <a:endParaRPr lang="en-US"/>
          </a:p>
        </p:txBody>
      </p:sp>
      <p:sp>
        <p:nvSpPr>
          <p:cNvPr id="5" name="Espace réservé du pied de page 4"/>
          <p:cNvSpPr>
            <a:spLocks noGrp="1"/>
          </p:cNvSpPr>
          <p:nvPr>
            <p:ph type="ftr" sz="quarter" idx="11"/>
          </p:nvPr>
        </p:nvSpPr>
        <p:spPr/>
        <p:txBody>
          <a:bodyPr/>
          <a:lstStyle/>
          <a:p>
            <a:endParaRPr lang="en-US"/>
          </a:p>
        </p:txBody>
      </p:sp>
      <p:sp>
        <p:nvSpPr>
          <p:cNvPr id="6" name="Espace réservé du numéro de diapositive 5"/>
          <p:cNvSpPr>
            <a:spLocks noGrp="1"/>
          </p:cNvSpPr>
          <p:nvPr>
            <p:ph type="sldNum" sz="quarter" idx="12"/>
          </p:nvPr>
        </p:nvSpPr>
        <p:spPr/>
        <p:txBody>
          <a:bodyPr/>
          <a:lstStyle/>
          <a:p>
            <a:fld id="{0AECDFB7-5985-4451-A7B0-DF273FF2DB96}" type="slidenum">
              <a:rPr lang="en-US" smtClean="0"/>
              <a:t>‹Nº›</a:t>
            </a:fld>
            <a:endParaRPr lang="en-US"/>
          </a:p>
        </p:txBody>
      </p:sp>
    </p:spTree>
    <p:extLst>
      <p:ext uri="{BB962C8B-B14F-4D97-AF65-F5344CB8AC3E}">
        <p14:creationId xmlns:p14="http://schemas.microsoft.com/office/powerpoint/2010/main" val="27545325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ALE_Title and content 2">
    <p:spTree>
      <p:nvGrpSpPr>
        <p:cNvPr id="1" name=""/>
        <p:cNvGrpSpPr/>
        <p:nvPr/>
      </p:nvGrpSpPr>
      <p:grpSpPr>
        <a:xfrm>
          <a:off x="0" y="0"/>
          <a:ext cx="0" cy="0"/>
          <a:chOff x="0" y="0"/>
          <a:chExt cx="0" cy="0"/>
        </a:xfrm>
      </p:grpSpPr>
      <p:sp>
        <p:nvSpPr>
          <p:cNvPr id="3" name="Content Placeholder 2"/>
          <p:cNvSpPr>
            <a:spLocks noGrp="1"/>
          </p:cNvSpPr>
          <p:nvPr>
            <p:ph idx="1"/>
          </p:nvPr>
        </p:nvSpPr>
        <p:spPr>
          <a:xfrm>
            <a:off x="224184" y="1130301"/>
            <a:ext cx="8686068" cy="3285730"/>
          </a:xfrm>
        </p:spPr>
        <p:txBody>
          <a:bodyPr/>
          <a:lstStyle>
            <a:lvl1pPr>
              <a:buClrTx/>
              <a:defRPr>
                <a:solidFill>
                  <a:schemeClr val="tx1"/>
                </a:solidFill>
                <a:latin typeface="Trebuchet MS" panose="020B0603020202020204" pitchFamily="34" charset="0"/>
              </a:defRPr>
            </a:lvl1pPr>
            <a:lvl2pPr>
              <a:spcAft>
                <a:spcPts val="0"/>
              </a:spcAft>
              <a:defRPr>
                <a:solidFill>
                  <a:schemeClr val="tx1"/>
                </a:solidFill>
                <a:latin typeface="Trebuchet MS" panose="020B0603020202020204" pitchFamily="34" charset="0"/>
              </a:defRPr>
            </a:lvl2pPr>
            <a:lvl3pPr>
              <a:spcAft>
                <a:spcPts val="0"/>
              </a:spcAft>
              <a:defRPr>
                <a:solidFill>
                  <a:schemeClr val="tx1"/>
                </a:solidFill>
                <a:latin typeface="Trebuchet MS" panose="020B0603020202020204" pitchFamily="34" charset="0"/>
              </a:defRPr>
            </a:lvl3pPr>
            <a:lvl4pPr>
              <a:spcAft>
                <a:spcPts val="0"/>
              </a:spcAft>
              <a:defRPr>
                <a:solidFill>
                  <a:schemeClr val="tx1"/>
                </a:solidFill>
                <a:latin typeface="Trebuchet MS" panose="020B0603020202020204" pitchFamily="34" charset="0"/>
              </a:defRPr>
            </a:lvl4pPr>
            <a:lvl5pPr>
              <a:spcAft>
                <a:spcPts val="0"/>
              </a:spcAft>
              <a:defRPr>
                <a:solidFill>
                  <a:schemeClr val="tx1"/>
                </a:solidFill>
                <a:latin typeface="Trebuchet MS" panose="020B06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re 3"/>
          <p:cNvSpPr>
            <a:spLocks noGrp="1"/>
          </p:cNvSpPr>
          <p:nvPr>
            <p:ph type="title"/>
          </p:nvPr>
        </p:nvSpPr>
        <p:spPr>
          <a:xfrm>
            <a:off x="1173021" y="170260"/>
            <a:ext cx="7725295" cy="754188"/>
          </a:xfrm>
        </p:spPr>
        <p:txBody>
          <a:bodyPr/>
          <a:lstStyle>
            <a:lvl1pPr>
              <a:defRPr>
                <a:solidFill>
                  <a:schemeClr val="tx1"/>
                </a:solidFill>
              </a:defRPr>
            </a:lvl1pPr>
          </a:lstStyle>
          <a:p>
            <a:r>
              <a:rPr lang="fr-FR" dirty="0"/>
              <a:t>Modifiez le style du titre</a:t>
            </a:r>
          </a:p>
        </p:txBody>
      </p:sp>
      <p:sp>
        <p:nvSpPr>
          <p:cNvPr id="7" name="Footer Placeholder 2"/>
          <p:cNvSpPr txBox="1">
            <a:spLocks/>
          </p:cNvSpPr>
          <p:nvPr userDrawn="1"/>
        </p:nvSpPr>
        <p:spPr>
          <a:xfrm>
            <a:off x="215901"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Arial" pitchFamily="34" charset="0"/>
              </a:rPr>
              <a:pPr algn="ctr">
                <a:spcBef>
                  <a:spcPct val="0"/>
                </a:spcBef>
                <a:defRPr/>
              </a:pPr>
              <a:t>‹Nº›</a:t>
            </a:fld>
            <a:endParaRPr lang="en-US" sz="1000" dirty="0">
              <a:solidFill>
                <a:schemeClr val="tx1">
                  <a:lumMod val="75000"/>
                  <a:lumOff val="25000"/>
                </a:schemeClr>
              </a:solidFill>
              <a:latin typeface="Trebuchet MS" panose="020B0603020202020204" pitchFamily="34" charset="0"/>
              <a:cs typeface="Arial" pitchFamily="34" charset="0"/>
            </a:endParaRPr>
          </a:p>
        </p:txBody>
      </p:sp>
      <p:cxnSp>
        <p:nvCxnSpPr>
          <p:cNvPr id="8"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2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67355" y="4690466"/>
            <a:ext cx="1122840" cy="307477"/>
          </a:xfrm>
          <a:prstGeom prst="rect">
            <a:avLst/>
          </a:prstGeom>
        </p:spPr>
      </p:pic>
      <p:grpSp>
        <p:nvGrpSpPr>
          <p:cNvPr id="11" name="Group 25"/>
          <p:cNvGrpSpPr/>
          <p:nvPr userDrawn="1"/>
        </p:nvGrpSpPr>
        <p:grpSpPr>
          <a:xfrm>
            <a:off x="297840" y="178564"/>
            <a:ext cx="581026" cy="593725"/>
            <a:chOff x="476731" y="2936875"/>
            <a:chExt cx="581026" cy="593725"/>
          </a:xfrm>
          <a:solidFill>
            <a:schemeClr val="accent5"/>
          </a:solidFill>
          <a:effectLst/>
        </p:grpSpPr>
        <p:sp>
          <p:nvSpPr>
            <p:cNvPr id="12" name="Freeform 35"/>
            <p:cNvSpPr>
              <a:spLocks/>
            </p:cNvSpPr>
            <p:nvPr/>
          </p:nvSpPr>
          <p:spPr bwMode="auto">
            <a:xfrm>
              <a:off x="837094" y="3124200"/>
              <a:ext cx="220663" cy="217488"/>
            </a:xfrm>
            <a:custGeom>
              <a:avLst/>
              <a:gdLst>
                <a:gd name="T0" fmla="*/ 67 w 78"/>
                <a:gd name="T1" fmla="*/ 52 h 77"/>
                <a:gd name="T2" fmla="*/ 2 w 78"/>
                <a:gd name="T3" fmla="*/ 0 h 77"/>
                <a:gd name="T4" fmla="*/ 0 w 78"/>
                <a:gd name="T5" fmla="*/ 54 h 77"/>
                <a:gd name="T6" fmla="*/ 74 w 78"/>
                <a:gd name="T7" fmla="*/ 76 h 77"/>
                <a:gd name="T8" fmla="*/ 78 w 78"/>
                <a:gd name="T9" fmla="*/ 72 h 77"/>
                <a:gd name="T10" fmla="*/ 67 w 78"/>
                <a:gd name="T11" fmla="*/ 52 h 77"/>
              </a:gdLst>
              <a:ahLst/>
              <a:cxnLst>
                <a:cxn ang="0">
                  <a:pos x="T0" y="T1"/>
                </a:cxn>
                <a:cxn ang="0">
                  <a:pos x="T2" y="T3"/>
                </a:cxn>
                <a:cxn ang="0">
                  <a:pos x="T4" y="T5"/>
                </a:cxn>
                <a:cxn ang="0">
                  <a:pos x="T6" y="T7"/>
                </a:cxn>
                <a:cxn ang="0">
                  <a:pos x="T8" y="T9"/>
                </a:cxn>
                <a:cxn ang="0">
                  <a:pos x="T10" y="T11"/>
                </a:cxn>
              </a:cxnLst>
              <a:rect l="0" t="0" r="r" b="b"/>
              <a:pathLst>
                <a:path w="78" h="77">
                  <a:moveTo>
                    <a:pt x="67" y="52"/>
                  </a:moveTo>
                  <a:cubicBezTo>
                    <a:pt x="2" y="0"/>
                    <a:pt x="2" y="0"/>
                    <a:pt x="2" y="0"/>
                  </a:cubicBezTo>
                  <a:cubicBezTo>
                    <a:pt x="2" y="17"/>
                    <a:pt x="2" y="36"/>
                    <a:pt x="0" y="54"/>
                  </a:cubicBezTo>
                  <a:cubicBezTo>
                    <a:pt x="0" y="54"/>
                    <a:pt x="73" y="76"/>
                    <a:pt x="74" y="76"/>
                  </a:cubicBezTo>
                  <a:cubicBezTo>
                    <a:pt x="77" y="77"/>
                    <a:pt x="78" y="74"/>
                    <a:pt x="78" y="72"/>
                  </a:cubicBezTo>
                  <a:cubicBezTo>
                    <a:pt x="78" y="69"/>
                    <a:pt x="76" y="59"/>
                    <a:pt x="67"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sp>
          <p:nvSpPr>
            <p:cNvPr id="14" name="Freeform 36"/>
            <p:cNvSpPr>
              <a:spLocks/>
            </p:cNvSpPr>
            <p:nvPr/>
          </p:nvSpPr>
          <p:spPr bwMode="auto">
            <a:xfrm>
              <a:off x="668819" y="2936875"/>
              <a:ext cx="200025" cy="593725"/>
            </a:xfrm>
            <a:custGeom>
              <a:avLst/>
              <a:gdLst>
                <a:gd name="T0" fmla="*/ 71 w 71"/>
                <a:gd name="T1" fmla="*/ 207 h 210"/>
                <a:gd name="T2" fmla="*/ 65 w 71"/>
                <a:gd name="T3" fmla="*/ 192 h 210"/>
                <a:gd name="T4" fmla="*/ 46 w 71"/>
                <a:gd name="T5" fmla="*/ 172 h 210"/>
                <a:gd name="T6" fmla="*/ 35 w 71"/>
                <a:gd name="T7" fmla="*/ 0 h 210"/>
                <a:gd name="T8" fmla="*/ 24 w 71"/>
                <a:gd name="T9" fmla="*/ 172 h 210"/>
                <a:gd name="T10" fmla="*/ 6 w 71"/>
                <a:gd name="T11" fmla="*/ 192 h 210"/>
                <a:gd name="T12" fmla="*/ 0 w 71"/>
                <a:gd name="T13" fmla="*/ 207 h 210"/>
                <a:gd name="T14" fmla="*/ 0 w 71"/>
                <a:gd name="T15" fmla="*/ 207 h 210"/>
                <a:gd name="T16" fmla="*/ 0 w 71"/>
                <a:gd name="T17" fmla="*/ 208 h 210"/>
                <a:gd name="T18" fmla="*/ 4 w 71"/>
                <a:gd name="T19" fmla="*/ 210 h 210"/>
                <a:gd name="T20" fmla="*/ 4 w 71"/>
                <a:gd name="T21" fmla="*/ 210 h 210"/>
                <a:gd name="T22" fmla="*/ 35 w 71"/>
                <a:gd name="T23" fmla="*/ 196 h 210"/>
                <a:gd name="T24" fmla="*/ 67 w 71"/>
                <a:gd name="T25" fmla="*/ 210 h 210"/>
                <a:gd name="T26" fmla="*/ 67 w 71"/>
                <a:gd name="T27" fmla="*/ 210 h 210"/>
                <a:gd name="T28" fmla="*/ 70 w 71"/>
                <a:gd name="T29" fmla="*/ 208 h 210"/>
                <a:gd name="T30" fmla="*/ 71 w 71"/>
                <a:gd name="T31" fmla="*/ 20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210">
                  <a:moveTo>
                    <a:pt x="71" y="207"/>
                  </a:moveTo>
                  <a:cubicBezTo>
                    <a:pt x="70" y="203"/>
                    <a:pt x="69" y="197"/>
                    <a:pt x="65" y="192"/>
                  </a:cubicBezTo>
                  <a:cubicBezTo>
                    <a:pt x="46" y="172"/>
                    <a:pt x="46" y="172"/>
                    <a:pt x="46" y="172"/>
                  </a:cubicBezTo>
                  <a:cubicBezTo>
                    <a:pt x="62" y="99"/>
                    <a:pt x="58" y="0"/>
                    <a:pt x="35" y="0"/>
                  </a:cubicBezTo>
                  <a:cubicBezTo>
                    <a:pt x="12" y="0"/>
                    <a:pt x="9" y="99"/>
                    <a:pt x="24" y="172"/>
                  </a:cubicBezTo>
                  <a:cubicBezTo>
                    <a:pt x="6" y="192"/>
                    <a:pt x="6" y="192"/>
                    <a:pt x="6" y="192"/>
                  </a:cubicBezTo>
                  <a:cubicBezTo>
                    <a:pt x="2" y="197"/>
                    <a:pt x="0" y="203"/>
                    <a:pt x="0" y="207"/>
                  </a:cubicBezTo>
                  <a:cubicBezTo>
                    <a:pt x="0" y="207"/>
                    <a:pt x="0" y="207"/>
                    <a:pt x="0" y="207"/>
                  </a:cubicBezTo>
                  <a:cubicBezTo>
                    <a:pt x="0" y="207"/>
                    <a:pt x="0" y="208"/>
                    <a:pt x="0" y="208"/>
                  </a:cubicBezTo>
                  <a:cubicBezTo>
                    <a:pt x="1" y="210"/>
                    <a:pt x="2" y="210"/>
                    <a:pt x="4" y="210"/>
                  </a:cubicBezTo>
                  <a:cubicBezTo>
                    <a:pt x="4" y="210"/>
                    <a:pt x="4" y="210"/>
                    <a:pt x="4" y="210"/>
                  </a:cubicBezTo>
                  <a:cubicBezTo>
                    <a:pt x="35" y="196"/>
                    <a:pt x="35" y="196"/>
                    <a:pt x="35" y="196"/>
                  </a:cubicBezTo>
                  <a:cubicBezTo>
                    <a:pt x="67" y="210"/>
                    <a:pt x="67" y="210"/>
                    <a:pt x="67" y="210"/>
                  </a:cubicBezTo>
                  <a:cubicBezTo>
                    <a:pt x="67" y="210"/>
                    <a:pt x="67" y="210"/>
                    <a:pt x="67" y="210"/>
                  </a:cubicBezTo>
                  <a:cubicBezTo>
                    <a:pt x="68" y="210"/>
                    <a:pt x="70" y="210"/>
                    <a:pt x="70" y="208"/>
                  </a:cubicBezTo>
                  <a:cubicBezTo>
                    <a:pt x="71" y="208"/>
                    <a:pt x="71" y="207"/>
                    <a:pt x="71" y="2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sp>
          <p:nvSpPr>
            <p:cNvPr id="15" name="Freeform 37"/>
            <p:cNvSpPr>
              <a:spLocks/>
            </p:cNvSpPr>
            <p:nvPr/>
          </p:nvSpPr>
          <p:spPr bwMode="auto">
            <a:xfrm>
              <a:off x="535469" y="3194050"/>
              <a:ext cx="60325" cy="57150"/>
            </a:xfrm>
            <a:custGeom>
              <a:avLst/>
              <a:gdLst>
                <a:gd name="T0" fmla="*/ 17 w 21"/>
                <a:gd name="T1" fmla="*/ 16 h 20"/>
                <a:gd name="T2" fmla="*/ 17 w 21"/>
                <a:gd name="T3" fmla="*/ 3 h 20"/>
                <a:gd name="T4" fmla="*/ 4 w 21"/>
                <a:gd name="T5" fmla="*/ 4 h 20"/>
                <a:gd name="T6" fmla="*/ 4 w 21"/>
                <a:gd name="T7" fmla="*/ 17 h 20"/>
                <a:gd name="T8" fmla="*/ 17 w 21"/>
                <a:gd name="T9" fmla="*/ 16 h 20"/>
              </a:gdLst>
              <a:ahLst/>
              <a:cxnLst>
                <a:cxn ang="0">
                  <a:pos x="T0" y="T1"/>
                </a:cxn>
                <a:cxn ang="0">
                  <a:pos x="T2" y="T3"/>
                </a:cxn>
                <a:cxn ang="0">
                  <a:pos x="T4" y="T5"/>
                </a:cxn>
                <a:cxn ang="0">
                  <a:pos x="T6" y="T7"/>
                </a:cxn>
                <a:cxn ang="0">
                  <a:pos x="T8" y="T9"/>
                </a:cxn>
              </a:cxnLst>
              <a:rect l="0" t="0" r="r" b="b"/>
              <a:pathLst>
                <a:path w="21" h="20">
                  <a:moveTo>
                    <a:pt x="17" y="16"/>
                  </a:moveTo>
                  <a:cubicBezTo>
                    <a:pt x="21" y="13"/>
                    <a:pt x="21" y="7"/>
                    <a:pt x="17" y="3"/>
                  </a:cubicBezTo>
                  <a:cubicBezTo>
                    <a:pt x="13" y="0"/>
                    <a:pt x="7" y="0"/>
                    <a:pt x="4" y="4"/>
                  </a:cubicBezTo>
                  <a:cubicBezTo>
                    <a:pt x="0" y="8"/>
                    <a:pt x="1" y="14"/>
                    <a:pt x="4" y="17"/>
                  </a:cubicBezTo>
                  <a:cubicBezTo>
                    <a:pt x="8" y="20"/>
                    <a:pt x="14" y="20"/>
                    <a:pt x="1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sp>
          <p:nvSpPr>
            <p:cNvPr id="16" name="Freeform 38"/>
            <p:cNvSpPr>
              <a:spLocks/>
            </p:cNvSpPr>
            <p:nvPr/>
          </p:nvSpPr>
          <p:spPr bwMode="auto">
            <a:xfrm>
              <a:off x="476731" y="3124200"/>
              <a:ext cx="220663" cy="217488"/>
            </a:xfrm>
            <a:custGeom>
              <a:avLst/>
              <a:gdLst>
                <a:gd name="T0" fmla="*/ 77 w 78"/>
                <a:gd name="T1" fmla="*/ 0 h 77"/>
                <a:gd name="T2" fmla="*/ 50 w 78"/>
                <a:gd name="T3" fmla="*/ 21 h 77"/>
                <a:gd name="T4" fmla="*/ 49 w 78"/>
                <a:gd name="T5" fmla="*/ 51 h 77"/>
                <a:gd name="T6" fmla="*/ 28 w 78"/>
                <a:gd name="T7" fmla="*/ 59 h 77"/>
                <a:gd name="T8" fmla="*/ 16 w 78"/>
                <a:gd name="T9" fmla="*/ 53 h 77"/>
                <a:gd name="T10" fmla="*/ 13 w 78"/>
                <a:gd name="T11" fmla="*/ 50 h 77"/>
                <a:gd name="T12" fmla="*/ 11 w 78"/>
                <a:gd name="T13" fmla="*/ 52 h 77"/>
                <a:gd name="T14" fmla="*/ 0 w 78"/>
                <a:gd name="T15" fmla="*/ 71 h 77"/>
                <a:gd name="T16" fmla="*/ 4 w 78"/>
                <a:gd name="T17" fmla="*/ 76 h 77"/>
                <a:gd name="T18" fmla="*/ 78 w 78"/>
                <a:gd name="T19" fmla="*/ 54 h 77"/>
                <a:gd name="T20" fmla="*/ 77 w 78"/>
                <a:gd name="T21"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7">
                  <a:moveTo>
                    <a:pt x="77" y="0"/>
                  </a:moveTo>
                  <a:cubicBezTo>
                    <a:pt x="50" y="21"/>
                    <a:pt x="50" y="21"/>
                    <a:pt x="50" y="21"/>
                  </a:cubicBezTo>
                  <a:cubicBezTo>
                    <a:pt x="57" y="30"/>
                    <a:pt x="57" y="43"/>
                    <a:pt x="49" y="51"/>
                  </a:cubicBezTo>
                  <a:cubicBezTo>
                    <a:pt x="44" y="57"/>
                    <a:pt x="36" y="60"/>
                    <a:pt x="28" y="59"/>
                  </a:cubicBezTo>
                  <a:cubicBezTo>
                    <a:pt x="23" y="58"/>
                    <a:pt x="19" y="56"/>
                    <a:pt x="16" y="53"/>
                  </a:cubicBezTo>
                  <a:cubicBezTo>
                    <a:pt x="15" y="52"/>
                    <a:pt x="14" y="51"/>
                    <a:pt x="13" y="50"/>
                  </a:cubicBezTo>
                  <a:cubicBezTo>
                    <a:pt x="11" y="52"/>
                    <a:pt x="11" y="52"/>
                    <a:pt x="11" y="52"/>
                  </a:cubicBezTo>
                  <a:cubicBezTo>
                    <a:pt x="2" y="59"/>
                    <a:pt x="0" y="69"/>
                    <a:pt x="0" y="71"/>
                  </a:cubicBezTo>
                  <a:cubicBezTo>
                    <a:pt x="0" y="74"/>
                    <a:pt x="1" y="77"/>
                    <a:pt x="4" y="76"/>
                  </a:cubicBezTo>
                  <a:cubicBezTo>
                    <a:pt x="5" y="76"/>
                    <a:pt x="78" y="54"/>
                    <a:pt x="78" y="54"/>
                  </a:cubicBezTo>
                  <a:cubicBezTo>
                    <a:pt x="77" y="36"/>
                    <a:pt x="76" y="17"/>
                    <a:pt x="7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grpSp>
      <p:sp>
        <p:nvSpPr>
          <p:cNvPr id="13" name="Rectangle 12"/>
          <p:cNvSpPr/>
          <p:nvPr userDrawn="1"/>
        </p:nvSpPr>
        <p:spPr>
          <a:xfrm>
            <a:off x="979693" y="0"/>
            <a:ext cx="45719" cy="817500"/>
          </a:xfrm>
          <a:prstGeom prst="rect">
            <a:avLst/>
          </a:prstGeom>
          <a:solidFill>
            <a:schemeClr val="accent5"/>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sz="1800" dirty="0">
              <a:latin typeface="Trebuchet MS" panose="020B0603020202020204" pitchFamily="34" charset="0"/>
              <a:cs typeface="Segoe UI" panose="020B0502040204020203" pitchFamily="34" charset="0"/>
            </a:endParaRPr>
          </a:p>
        </p:txBody>
      </p:sp>
    </p:spTree>
    <p:extLst>
      <p:ext uri="{BB962C8B-B14F-4D97-AF65-F5344CB8AC3E}">
        <p14:creationId xmlns:p14="http://schemas.microsoft.com/office/powerpoint/2010/main" val="1206248454"/>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_ALE_Blank">
    <p:spTree>
      <p:nvGrpSpPr>
        <p:cNvPr id="1" name=""/>
        <p:cNvGrpSpPr/>
        <p:nvPr/>
      </p:nvGrpSpPr>
      <p:grpSpPr>
        <a:xfrm>
          <a:off x="0" y="0"/>
          <a:ext cx="0" cy="0"/>
          <a:chOff x="0" y="0"/>
          <a:chExt cx="0" cy="0"/>
        </a:xfrm>
      </p:grpSpPr>
      <p:pic>
        <p:nvPicPr>
          <p:cNvPr id="3" name="Picture Placeholder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0"/>
            <a:ext cx="9144000" cy="5143500"/>
          </a:xfrm>
          <a:prstGeom prst="rect">
            <a:avLst/>
          </a:prstGeom>
          <a:noFill/>
          <a:ln w="9525" algn="ctr">
            <a:noFill/>
            <a:miter lim="800000"/>
            <a:headEnd/>
            <a:tailEnd/>
          </a:ln>
          <a:effectLst/>
        </p:spPr>
      </p:pic>
      <p:sp>
        <p:nvSpPr>
          <p:cNvPr id="4" name="Rectangle 3"/>
          <p:cNvSpPr/>
          <p:nvPr userDrawn="1"/>
        </p:nvSpPr>
        <p:spPr>
          <a:xfrm>
            <a:off x="0" y="1"/>
            <a:ext cx="9144000" cy="5156378"/>
          </a:xfrm>
          <a:prstGeom prst="rect">
            <a:avLst/>
          </a:prstGeom>
          <a:solidFill>
            <a:schemeClr val="bg1">
              <a:alpha val="90000"/>
            </a:schemeClr>
          </a:solidFill>
          <a:ln w="12700" cap="flat" cmpd="sng" algn="ctr">
            <a:noFill/>
            <a:prstDash val="solid"/>
            <a:miter lim="0"/>
            <a:headEnd type="none" w="med" len="med"/>
            <a:tailEnd type="none" w="med" len="med"/>
          </a:ln>
          <a:effectLst/>
        </p:spPr>
        <p:txBody>
          <a:bodyPr rot="0" spcFirstLastPara="0" vertOverflow="overflow" horzOverflow="overflow" vert="horz" wrap="square" lIns="26789" tIns="26789" rIns="26789" bIns="26789" numCol="1" spcCol="0" rtlCol="0" fromWordArt="0" anchor="ctr" anchorCtr="0" forceAA="0" compatLnSpc="1">
            <a:prstTxWarp prst="textNoShape">
              <a:avLst/>
            </a:prstTxWarp>
            <a:noAutofit/>
          </a:bodyPr>
          <a:lstStyle/>
          <a:p>
            <a:pPr marL="171446"/>
            <a:endParaRPr lang="en-US" sz="1600">
              <a:latin typeface="Trebuchet MS"/>
            </a:endParaRPr>
          </a:p>
        </p:txBody>
      </p:sp>
      <p:pic>
        <p:nvPicPr>
          <p:cNvPr id="5"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67355" y="4690466"/>
            <a:ext cx="1122840" cy="307477"/>
          </a:xfrm>
          <a:prstGeom prst="rect">
            <a:avLst/>
          </a:prstGeom>
        </p:spPr>
      </p:pic>
      <p:sp>
        <p:nvSpPr>
          <p:cNvPr id="6" name="Footer Placeholder 2"/>
          <p:cNvSpPr txBox="1">
            <a:spLocks/>
          </p:cNvSpPr>
          <p:nvPr userDrawn="1"/>
        </p:nvSpPr>
        <p:spPr>
          <a:xfrm>
            <a:off x="215901"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rebuchet MS" pitchFamily="34" charset="0"/>
              </a:defRPr>
            </a:lvl1pPr>
          </a:lstStyle>
          <a:p>
            <a:pPr algn="ctr">
              <a:spcBef>
                <a:spcPct val="0"/>
              </a:spcBef>
              <a:defRPr/>
            </a:pPr>
            <a:fld id="{1D43DDA3-B8F5-4355-8795-A0F7A61B9EB2}" type="slidenum">
              <a:rPr lang="en-US" sz="1000" smtClean="0">
                <a:solidFill>
                  <a:schemeClr val="tx1">
                    <a:lumMod val="75000"/>
                    <a:lumOff val="25000"/>
                  </a:schemeClr>
                </a:solidFill>
                <a:latin typeface="Trebuchet MS" panose="020B0603020202020204" pitchFamily="34" charset="0"/>
                <a:cs typeface="Trebuchet MS" panose="020B0604020202020204" pitchFamily="34" charset="-128"/>
              </a:rPr>
              <a:pPr algn="ctr">
                <a:spcBef>
                  <a:spcPct val="0"/>
                </a:spcBef>
                <a:defRPr/>
              </a:pPr>
              <a:t>‹Nº›</a:t>
            </a:fld>
            <a:endParaRPr lang="en-US" sz="1000">
              <a:solidFill>
                <a:schemeClr val="tx1">
                  <a:lumMod val="75000"/>
                  <a:lumOff val="25000"/>
                </a:schemeClr>
              </a:solidFill>
              <a:latin typeface="Trebuchet MS" panose="020B0603020202020204" pitchFamily="34" charset="0"/>
              <a:cs typeface="Trebuchet MS" panose="020B0604020202020204" pitchFamily="34" charset="-128"/>
            </a:endParaRPr>
          </a:p>
        </p:txBody>
      </p:sp>
      <p:cxnSp>
        <p:nvCxnSpPr>
          <p:cNvPr id="7" name="Straight Connector 112"/>
          <p:cNvCxnSpPr/>
          <p:nvPr userDrawn="1"/>
        </p:nvCxnSpPr>
        <p:spPr>
          <a:xfrm flipH="1">
            <a:off x="206372" y="4913643"/>
            <a:ext cx="1004835" cy="0"/>
          </a:xfrm>
          <a:prstGeom prst="line">
            <a:avLst/>
          </a:prstGeom>
          <a:ln w="9525">
            <a:solidFill>
              <a:schemeClr val="tx1">
                <a:lumMod val="75000"/>
                <a:lumOff val="25000"/>
                <a:alpha val="50000"/>
              </a:schemeClr>
            </a:solidFill>
          </a:ln>
        </p:spPr>
        <p:style>
          <a:lnRef idx="1">
            <a:schemeClr val="accent1"/>
          </a:lnRef>
          <a:fillRef idx="0">
            <a:schemeClr val="accent1"/>
          </a:fillRef>
          <a:effectRef idx="0">
            <a:schemeClr val="accent1"/>
          </a:effectRef>
          <a:fontRef idx="minor">
            <a:schemeClr val="tx1"/>
          </a:fontRef>
        </p:style>
      </p:cxnSp>
      <p:sp>
        <p:nvSpPr>
          <p:cNvPr id="8" name="Titre 83"/>
          <p:cNvSpPr>
            <a:spLocks noGrp="1"/>
          </p:cNvSpPr>
          <p:nvPr userDrawn="1">
            <p:ph type="title"/>
          </p:nvPr>
        </p:nvSpPr>
        <p:spPr>
          <a:xfrm>
            <a:off x="1150938" y="170260"/>
            <a:ext cx="7758168" cy="792956"/>
          </a:xfrm>
        </p:spPr>
        <p:txBody>
          <a:bodyPr/>
          <a:lstStyle/>
          <a:p>
            <a:endParaRPr lang="en-US" dirty="0"/>
          </a:p>
        </p:txBody>
      </p:sp>
      <p:sp>
        <p:nvSpPr>
          <p:cNvPr id="9" name="Rectangle 8"/>
          <p:cNvSpPr/>
          <p:nvPr userDrawn="1"/>
        </p:nvSpPr>
        <p:spPr>
          <a:xfrm>
            <a:off x="979692" y="0"/>
            <a:ext cx="79200" cy="1008000"/>
          </a:xfrm>
          <a:prstGeom prst="rect">
            <a:avLst/>
          </a:prstGeom>
          <a:solidFill>
            <a:srgbClr val="00B2AA"/>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fr-BE" sz="1800" dirty="0">
              <a:latin typeface="Trebuchet MS" panose="020B0603020202020204" pitchFamily="34" charset="0"/>
              <a:cs typeface="Segoe UI" panose="020B0502040204020203" pitchFamily="34" charset="0"/>
            </a:endParaRPr>
          </a:p>
        </p:txBody>
      </p:sp>
      <p:grpSp>
        <p:nvGrpSpPr>
          <p:cNvPr id="2" name="Group 21"/>
          <p:cNvGrpSpPr/>
          <p:nvPr userDrawn="1"/>
        </p:nvGrpSpPr>
        <p:grpSpPr>
          <a:xfrm>
            <a:off x="403226" y="583216"/>
            <a:ext cx="416141" cy="424785"/>
            <a:chOff x="7343775" y="2151062"/>
            <a:chExt cx="534988" cy="546101"/>
          </a:xfrm>
          <a:solidFill>
            <a:srgbClr val="00B2AA"/>
          </a:solidFill>
        </p:grpSpPr>
        <p:sp>
          <p:nvSpPr>
            <p:cNvPr id="11" name="Freeform 81"/>
            <p:cNvSpPr>
              <a:spLocks/>
            </p:cNvSpPr>
            <p:nvPr/>
          </p:nvSpPr>
          <p:spPr bwMode="auto">
            <a:xfrm>
              <a:off x="7607300" y="2527300"/>
              <a:ext cx="238125" cy="85725"/>
            </a:xfrm>
            <a:custGeom>
              <a:avLst/>
              <a:gdLst>
                <a:gd name="T0" fmla="*/ 77 w 84"/>
                <a:gd name="T1" fmla="*/ 9 h 30"/>
                <a:gd name="T2" fmla="*/ 60 w 84"/>
                <a:gd name="T3" fmla="*/ 0 h 30"/>
                <a:gd name="T4" fmla="*/ 5 w 84"/>
                <a:gd name="T5" fmla="*/ 0 h 30"/>
                <a:gd name="T6" fmla="*/ 0 w 84"/>
                <a:gd name="T7" fmla="*/ 0 h 30"/>
                <a:gd name="T8" fmla="*/ 3 w 84"/>
                <a:gd name="T9" fmla="*/ 14 h 30"/>
                <a:gd name="T10" fmla="*/ 3 w 84"/>
                <a:gd name="T11" fmla="*/ 30 h 30"/>
                <a:gd name="T12" fmla="*/ 73 w 84"/>
                <a:gd name="T13" fmla="*/ 30 h 30"/>
                <a:gd name="T14" fmla="*/ 82 w 84"/>
                <a:gd name="T15" fmla="*/ 25 h 30"/>
                <a:gd name="T16" fmla="*/ 81 w 84"/>
                <a:gd name="T17" fmla="*/ 15 h 30"/>
                <a:gd name="T18" fmla="*/ 77 w 84"/>
                <a:gd name="T19"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30">
                  <a:moveTo>
                    <a:pt x="77" y="9"/>
                  </a:moveTo>
                  <a:cubicBezTo>
                    <a:pt x="74" y="4"/>
                    <a:pt x="66" y="0"/>
                    <a:pt x="60" y="0"/>
                  </a:cubicBezTo>
                  <a:cubicBezTo>
                    <a:pt x="5" y="0"/>
                    <a:pt x="5" y="0"/>
                    <a:pt x="5" y="0"/>
                  </a:cubicBezTo>
                  <a:cubicBezTo>
                    <a:pt x="3" y="0"/>
                    <a:pt x="1" y="0"/>
                    <a:pt x="0" y="0"/>
                  </a:cubicBezTo>
                  <a:cubicBezTo>
                    <a:pt x="2" y="5"/>
                    <a:pt x="3" y="9"/>
                    <a:pt x="3" y="14"/>
                  </a:cubicBezTo>
                  <a:cubicBezTo>
                    <a:pt x="3" y="30"/>
                    <a:pt x="3" y="30"/>
                    <a:pt x="3" y="30"/>
                  </a:cubicBezTo>
                  <a:cubicBezTo>
                    <a:pt x="73" y="30"/>
                    <a:pt x="73" y="30"/>
                    <a:pt x="73" y="30"/>
                  </a:cubicBezTo>
                  <a:cubicBezTo>
                    <a:pt x="77" y="30"/>
                    <a:pt x="81" y="28"/>
                    <a:pt x="82" y="25"/>
                  </a:cubicBezTo>
                  <a:cubicBezTo>
                    <a:pt x="84" y="22"/>
                    <a:pt x="83" y="18"/>
                    <a:pt x="81" y="15"/>
                  </a:cubicBezTo>
                  <a:lnTo>
                    <a:pt x="77"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sp>
          <p:nvSpPr>
            <p:cNvPr id="12" name="Freeform 82"/>
            <p:cNvSpPr>
              <a:spLocks/>
            </p:cNvSpPr>
            <p:nvPr/>
          </p:nvSpPr>
          <p:spPr bwMode="auto">
            <a:xfrm>
              <a:off x="7346950" y="2482850"/>
              <a:ext cx="55563" cy="55563"/>
            </a:xfrm>
            <a:custGeom>
              <a:avLst/>
              <a:gdLst>
                <a:gd name="T0" fmla="*/ 8 w 20"/>
                <a:gd name="T1" fmla="*/ 19 h 20"/>
                <a:gd name="T2" fmla="*/ 19 w 20"/>
                <a:gd name="T3" fmla="*/ 12 h 20"/>
                <a:gd name="T4" fmla="*/ 12 w 20"/>
                <a:gd name="T5" fmla="*/ 1 h 20"/>
                <a:gd name="T6" fmla="*/ 1 w 20"/>
                <a:gd name="T7" fmla="*/ 8 h 20"/>
                <a:gd name="T8" fmla="*/ 8 w 20"/>
                <a:gd name="T9" fmla="*/ 19 h 20"/>
              </a:gdLst>
              <a:ahLst/>
              <a:cxnLst>
                <a:cxn ang="0">
                  <a:pos x="T0" y="T1"/>
                </a:cxn>
                <a:cxn ang="0">
                  <a:pos x="T2" y="T3"/>
                </a:cxn>
                <a:cxn ang="0">
                  <a:pos x="T4" y="T5"/>
                </a:cxn>
                <a:cxn ang="0">
                  <a:pos x="T6" y="T7"/>
                </a:cxn>
                <a:cxn ang="0">
                  <a:pos x="T8" y="T9"/>
                </a:cxn>
              </a:cxnLst>
              <a:rect l="0" t="0" r="r" b="b"/>
              <a:pathLst>
                <a:path w="20" h="20">
                  <a:moveTo>
                    <a:pt x="8" y="19"/>
                  </a:moveTo>
                  <a:cubicBezTo>
                    <a:pt x="13" y="20"/>
                    <a:pt x="18" y="17"/>
                    <a:pt x="19" y="12"/>
                  </a:cubicBezTo>
                  <a:cubicBezTo>
                    <a:pt x="20" y="7"/>
                    <a:pt x="17" y="2"/>
                    <a:pt x="12" y="1"/>
                  </a:cubicBezTo>
                  <a:cubicBezTo>
                    <a:pt x="8" y="0"/>
                    <a:pt x="3" y="3"/>
                    <a:pt x="1" y="8"/>
                  </a:cubicBezTo>
                  <a:cubicBezTo>
                    <a:pt x="0" y="13"/>
                    <a:pt x="3" y="18"/>
                    <a:pt x="8"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sp>
          <p:nvSpPr>
            <p:cNvPr id="13" name="Freeform 83"/>
            <p:cNvSpPr>
              <a:spLocks/>
            </p:cNvSpPr>
            <p:nvPr/>
          </p:nvSpPr>
          <p:spPr bwMode="auto">
            <a:xfrm>
              <a:off x="7343775" y="2479675"/>
              <a:ext cx="252413" cy="217488"/>
            </a:xfrm>
            <a:custGeom>
              <a:avLst/>
              <a:gdLst>
                <a:gd name="T0" fmla="*/ 69 w 89"/>
                <a:gd name="T1" fmla="*/ 2 h 77"/>
                <a:gd name="T2" fmla="*/ 69 w 89"/>
                <a:gd name="T3" fmla="*/ 2 h 77"/>
                <a:gd name="T4" fmla="*/ 66 w 89"/>
                <a:gd name="T5" fmla="*/ 1 h 77"/>
                <a:gd name="T6" fmla="*/ 65 w 89"/>
                <a:gd name="T7" fmla="*/ 1 h 77"/>
                <a:gd name="T8" fmla="*/ 62 w 89"/>
                <a:gd name="T9" fmla="*/ 0 h 77"/>
                <a:gd name="T10" fmla="*/ 61 w 89"/>
                <a:gd name="T11" fmla="*/ 0 h 77"/>
                <a:gd name="T12" fmla="*/ 57 w 89"/>
                <a:gd name="T13" fmla="*/ 0 h 77"/>
                <a:gd name="T14" fmla="*/ 32 w 89"/>
                <a:gd name="T15" fmla="*/ 0 h 77"/>
                <a:gd name="T16" fmla="*/ 35 w 89"/>
                <a:gd name="T17" fmla="*/ 18 h 77"/>
                <a:gd name="T18" fmla="*/ 6 w 89"/>
                <a:gd name="T19" fmla="*/ 36 h 77"/>
                <a:gd name="T20" fmla="*/ 0 w 89"/>
                <a:gd name="T21" fmla="*/ 33 h 77"/>
                <a:gd name="T22" fmla="*/ 0 w 89"/>
                <a:gd name="T23" fmla="*/ 44 h 77"/>
                <a:gd name="T24" fmla="*/ 0 w 89"/>
                <a:gd name="T25" fmla="*/ 68 h 77"/>
                <a:gd name="T26" fmla="*/ 11 w 89"/>
                <a:gd name="T27" fmla="*/ 77 h 77"/>
                <a:gd name="T28" fmla="*/ 78 w 89"/>
                <a:gd name="T29" fmla="*/ 77 h 77"/>
                <a:gd name="T30" fmla="*/ 89 w 89"/>
                <a:gd name="T31" fmla="*/ 68 h 77"/>
                <a:gd name="T32" fmla="*/ 89 w 89"/>
                <a:gd name="T33" fmla="*/ 31 h 77"/>
                <a:gd name="T34" fmla="*/ 69 w 89"/>
                <a:gd name="T35"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 h="77">
                  <a:moveTo>
                    <a:pt x="69" y="2"/>
                  </a:moveTo>
                  <a:cubicBezTo>
                    <a:pt x="69" y="2"/>
                    <a:pt x="69" y="2"/>
                    <a:pt x="69" y="2"/>
                  </a:cubicBezTo>
                  <a:cubicBezTo>
                    <a:pt x="68" y="1"/>
                    <a:pt x="67" y="1"/>
                    <a:pt x="66" y="1"/>
                  </a:cubicBezTo>
                  <a:cubicBezTo>
                    <a:pt x="65" y="1"/>
                    <a:pt x="65" y="1"/>
                    <a:pt x="65" y="1"/>
                  </a:cubicBezTo>
                  <a:cubicBezTo>
                    <a:pt x="64" y="0"/>
                    <a:pt x="63" y="0"/>
                    <a:pt x="62" y="0"/>
                  </a:cubicBezTo>
                  <a:cubicBezTo>
                    <a:pt x="62" y="0"/>
                    <a:pt x="61" y="0"/>
                    <a:pt x="61" y="0"/>
                  </a:cubicBezTo>
                  <a:cubicBezTo>
                    <a:pt x="60" y="0"/>
                    <a:pt x="59" y="0"/>
                    <a:pt x="57" y="0"/>
                  </a:cubicBezTo>
                  <a:cubicBezTo>
                    <a:pt x="32" y="0"/>
                    <a:pt x="32" y="0"/>
                    <a:pt x="32" y="0"/>
                  </a:cubicBezTo>
                  <a:cubicBezTo>
                    <a:pt x="35" y="5"/>
                    <a:pt x="36" y="11"/>
                    <a:pt x="35" y="18"/>
                  </a:cubicBezTo>
                  <a:cubicBezTo>
                    <a:pt x="32" y="31"/>
                    <a:pt x="19" y="39"/>
                    <a:pt x="6" y="36"/>
                  </a:cubicBezTo>
                  <a:cubicBezTo>
                    <a:pt x="4" y="35"/>
                    <a:pt x="2" y="34"/>
                    <a:pt x="0" y="33"/>
                  </a:cubicBezTo>
                  <a:cubicBezTo>
                    <a:pt x="0" y="44"/>
                    <a:pt x="0" y="44"/>
                    <a:pt x="0" y="44"/>
                  </a:cubicBezTo>
                  <a:cubicBezTo>
                    <a:pt x="0" y="68"/>
                    <a:pt x="0" y="68"/>
                    <a:pt x="0" y="68"/>
                  </a:cubicBezTo>
                  <a:cubicBezTo>
                    <a:pt x="0" y="73"/>
                    <a:pt x="5" y="77"/>
                    <a:pt x="11" y="77"/>
                  </a:cubicBezTo>
                  <a:cubicBezTo>
                    <a:pt x="78" y="77"/>
                    <a:pt x="78" y="77"/>
                    <a:pt x="78" y="77"/>
                  </a:cubicBezTo>
                  <a:cubicBezTo>
                    <a:pt x="84" y="77"/>
                    <a:pt x="89" y="73"/>
                    <a:pt x="89" y="68"/>
                  </a:cubicBezTo>
                  <a:cubicBezTo>
                    <a:pt x="89" y="31"/>
                    <a:pt x="89" y="31"/>
                    <a:pt x="89" y="31"/>
                  </a:cubicBezTo>
                  <a:cubicBezTo>
                    <a:pt x="89" y="18"/>
                    <a:pt x="81" y="7"/>
                    <a:pt x="69"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sp>
          <p:nvSpPr>
            <p:cNvPr id="14" name="Freeform 84"/>
            <p:cNvSpPr>
              <a:spLocks/>
            </p:cNvSpPr>
            <p:nvPr/>
          </p:nvSpPr>
          <p:spPr bwMode="auto">
            <a:xfrm>
              <a:off x="7372350" y="2287587"/>
              <a:ext cx="188913" cy="163513"/>
            </a:xfrm>
            <a:custGeom>
              <a:avLst/>
              <a:gdLst>
                <a:gd name="T0" fmla="*/ 11 w 67"/>
                <a:gd name="T1" fmla="*/ 0 h 58"/>
                <a:gd name="T2" fmla="*/ 0 w 67"/>
                <a:gd name="T3" fmla="*/ 25 h 58"/>
                <a:gd name="T4" fmla="*/ 34 w 67"/>
                <a:gd name="T5" fmla="*/ 58 h 58"/>
                <a:gd name="T6" fmla="*/ 67 w 67"/>
                <a:gd name="T7" fmla="*/ 25 h 58"/>
                <a:gd name="T8" fmla="*/ 56 w 67"/>
                <a:gd name="T9" fmla="*/ 0 h 58"/>
                <a:gd name="T10" fmla="*/ 11 w 67"/>
                <a:gd name="T11" fmla="*/ 0 h 58"/>
              </a:gdLst>
              <a:ahLst/>
              <a:cxnLst>
                <a:cxn ang="0">
                  <a:pos x="T0" y="T1"/>
                </a:cxn>
                <a:cxn ang="0">
                  <a:pos x="T2" y="T3"/>
                </a:cxn>
                <a:cxn ang="0">
                  <a:pos x="T4" y="T5"/>
                </a:cxn>
                <a:cxn ang="0">
                  <a:pos x="T6" y="T7"/>
                </a:cxn>
                <a:cxn ang="0">
                  <a:pos x="T8" y="T9"/>
                </a:cxn>
                <a:cxn ang="0">
                  <a:pos x="T10" y="T11"/>
                </a:cxn>
              </a:cxnLst>
              <a:rect l="0" t="0" r="r" b="b"/>
              <a:pathLst>
                <a:path w="67" h="58">
                  <a:moveTo>
                    <a:pt x="11" y="0"/>
                  </a:moveTo>
                  <a:cubicBezTo>
                    <a:pt x="4" y="6"/>
                    <a:pt x="0" y="15"/>
                    <a:pt x="0" y="25"/>
                  </a:cubicBezTo>
                  <a:cubicBezTo>
                    <a:pt x="0" y="43"/>
                    <a:pt x="15" y="58"/>
                    <a:pt x="34" y="58"/>
                  </a:cubicBezTo>
                  <a:cubicBezTo>
                    <a:pt x="52" y="58"/>
                    <a:pt x="67" y="43"/>
                    <a:pt x="67" y="25"/>
                  </a:cubicBezTo>
                  <a:cubicBezTo>
                    <a:pt x="67" y="15"/>
                    <a:pt x="63" y="6"/>
                    <a:pt x="56" y="0"/>
                  </a:cubicBez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sp>
          <p:nvSpPr>
            <p:cNvPr id="15" name="Freeform 85"/>
            <p:cNvSpPr>
              <a:spLocks noEditPoints="1"/>
            </p:cNvSpPr>
            <p:nvPr/>
          </p:nvSpPr>
          <p:spPr bwMode="auto">
            <a:xfrm>
              <a:off x="7346950" y="2151062"/>
              <a:ext cx="246063" cy="109538"/>
            </a:xfrm>
            <a:custGeom>
              <a:avLst/>
              <a:gdLst>
                <a:gd name="T0" fmla="*/ 19 w 87"/>
                <a:gd name="T1" fmla="*/ 39 h 39"/>
                <a:gd name="T2" fmla="*/ 68 w 87"/>
                <a:gd name="T3" fmla="*/ 39 h 39"/>
                <a:gd name="T4" fmla="*/ 83 w 87"/>
                <a:gd name="T5" fmla="*/ 14 h 39"/>
                <a:gd name="T6" fmla="*/ 81 w 87"/>
                <a:gd name="T7" fmla="*/ 10 h 39"/>
                <a:gd name="T8" fmla="*/ 77 w 87"/>
                <a:gd name="T9" fmla="*/ 10 h 39"/>
                <a:gd name="T10" fmla="*/ 77 w 87"/>
                <a:gd name="T11" fmla="*/ 10 h 39"/>
                <a:gd name="T12" fmla="*/ 43 w 87"/>
                <a:gd name="T13" fmla="*/ 0 h 39"/>
                <a:gd name="T14" fmla="*/ 9 w 87"/>
                <a:gd name="T15" fmla="*/ 10 h 39"/>
                <a:gd name="T16" fmla="*/ 9 w 87"/>
                <a:gd name="T17" fmla="*/ 10 h 39"/>
                <a:gd name="T18" fmla="*/ 4 w 87"/>
                <a:gd name="T19" fmla="*/ 10 h 39"/>
                <a:gd name="T20" fmla="*/ 3 w 87"/>
                <a:gd name="T21" fmla="*/ 14 h 39"/>
                <a:gd name="T22" fmla="*/ 19 w 87"/>
                <a:gd name="T23" fmla="*/ 39 h 39"/>
                <a:gd name="T24" fmla="*/ 28 w 87"/>
                <a:gd name="T25" fmla="*/ 16 h 39"/>
                <a:gd name="T26" fmla="*/ 39 w 87"/>
                <a:gd name="T27" fmla="*/ 16 h 39"/>
                <a:gd name="T28" fmla="*/ 39 w 87"/>
                <a:gd name="T29" fmla="*/ 5 h 39"/>
                <a:gd name="T30" fmla="*/ 45 w 87"/>
                <a:gd name="T31" fmla="*/ 5 h 39"/>
                <a:gd name="T32" fmla="*/ 45 w 87"/>
                <a:gd name="T33" fmla="*/ 16 h 39"/>
                <a:gd name="T34" fmla="*/ 56 w 87"/>
                <a:gd name="T35" fmla="*/ 16 h 39"/>
                <a:gd name="T36" fmla="*/ 56 w 87"/>
                <a:gd name="T37" fmla="*/ 22 h 39"/>
                <a:gd name="T38" fmla="*/ 45 w 87"/>
                <a:gd name="T39" fmla="*/ 22 h 39"/>
                <a:gd name="T40" fmla="*/ 45 w 87"/>
                <a:gd name="T41" fmla="*/ 33 h 39"/>
                <a:gd name="T42" fmla="*/ 39 w 87"/>
                <a:gd name="T43" fmla="*/ 33 h 39"/>
                <a:gd name="T44" fmla="*/ 39 w 87"/>
                <a:gd name="T45" fmla="*/ 22 h 39"/>
                <a:gd name="T46" fmla="*/ 28 w 87"/>
                <a:gd name="T47" fmla="*/ 22 h 39"/>
                <a:gd name="T48" fmla="*/ 28 w 87"/>
                <a:gd name="T49"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7" h="39">
                  <a:moveTo>
                    <a:pt x="19" y="39"/>
                  </a:moveTo>
                  <a:cubicBezTo>
                    <a:pt x="68" y="39"/>
                    <a:pt x="68" y="39"/>
                    <a:pt x="68" y="39"/>
                  </a:cubicBezTo>
                  <a:cubicBezTo>
                    <a:pt x="83" y="14"/>
                    <a:pt x="83" y="14"/>
                    <a:pt x="83" y="14"/>
                  </a:cubicBezTo>
                  <a:cubicBezTo>
                    <a:pt x="87" y="9"/>
                    <a:pt x="81" y="10"/>
                    <a:pt x="81" y="10"/>
                  </a:cubicBezTo>
                  <a:cubicBezTo>
                    <a:pt x="77" y="10"/>
                    <a:pt x="77" y="10"/>
                    <a:pt x="77" y="10"/>
                  </a:cubicBezTo>
                  <a:cubicBezTo>
                    <a:pt x="77" y="10"/>
                    <a:pt x="77" y="10"/>
                    <a:pt x="77" y="10"/>
                  </a:cubicBezTo>
                  <a:cubicBezTo>
                    <a:pt x="77" y="5"/>
                    <a:pt x="62" y="0"/>
                    <a:pt x="43" y="0"/>
                  </a:cubicBezTo>
                  <a:cubicBezTo>
                    <a:pt x="24" y="0"/>
                    <a:pt x="9" y="5"/>
                    <a:pt x="9" y="10"/>
                  </a:cubicBezTo>
                  <a:cubicBezTo>
                    <a:pt x="9" y="10"/>
                    <a:pt x="9" y="10"/>
                    <a:pt x="9" y="10"/>
                  </a:cubicBezTo>
                  <a:cubicBezTo>
                    <a:pt x="4" y="10"/>
                    <a:pt x="4" y="10"/>
                    <a:pt x="4" y="10"/>
                  </a:cubicBezTo>
                  <a:cubicBezTo>
                    <a:pt x="4" y="10"/>
                    <a:pt x="0" y="11"/>
                    <a:pt x="3" y="14"/>
                  </a:cubicBezTo>
                  <a:lnTo>
                    <a:pt x="19" y="39"/>
                  </a:lnTo>
                  <a:close/>
                  <a:moveTo>
                    <a:pt x="28" y="16"/>
                  </a:moveTo>
                  <a:cubicBezTo>
                    <a:pt x="39" y="16"/>
                    <a:pt x="39" y="16"/>
                    <a:pt x="39" y="16"/>
                  </a:cubicBezTo>
                  <a:cubicBezTo>
                    <a:pt x="39" y="5"/>
                    <a:pt x="39" y="5"/>
                    <a:pt x="39" y="5"/>
                  </a:cubicBezTo>
                  <a:cubicBezTo>
                    <a:pt x="45" y="5"/>
                    <a:pt x="45" y="5"/>
                    <a:pt x="45" y="5"/>
                  </a:cubicBezTo>
                  <a:cubicBezTo>
                    <a:pt x="45" y="16"/>
                    <a:pt x="45" y="16"/>
                    <a:pt x="45" y="16"/>
                  </a:cubicBezTo>
                  <a:cubicBezTo>
                    <a:pt x="56" y="16"/>
                    <a:pt x="56" y="16"/>
                    <a:pt x="56" y="16"/>
                  </a:cubicBezTo>
                  <a:cubicBezTo>
                    <a:pt x="56" y="22"/>
                    <a:pt x="56" y="22"/>
                    <a:pt x="56" y="22"/>
                  </a:cubicBezTo>
                  <a:cubicBezTo>
                    <a:pt x="45" y="22"/>
                    <a:pt x="45" y="22"/>
                    <a:pt x="45" y="22"/>
                  </a:cubicBezTo>
                  <a:cubicBezTo>
                    <a:pt x="45" y="33"/>
                    <a:pt x="45" y="33"/>
                    <a:pt x="45" y="33"/>
                  </a:cubicBezTo>
                  <a:cubicBezTo>
                    <a:pt x="39" y="33"/>
                    <a:pt x="39" y="33"/>
                    <a:pt x="39" y="33"/>
                  </a:cubicBezTo>
                  <a:cubicBezTo>
                    <a:pt x="39" y="22"/>
                    <a:pt x="39" y="22"/>
                    <a:pt x="39" y="22"/>
                  </a:cubicBezTo>
                  <a:cubicBezTo>
                    <a:pt x="28" y="22"/>
                    <a:pt x="28" y="22"/>
                    <a:pt x="28" y="22"/>
                  </a:cubicBezTo>
                  <a:lnTo>
                    <a:pt x="2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sp>
          <p:nvSpPr>
            <p:cNvPr id="16" name="Freeform 86"/>
            <p:cNvSpPr>
              <a:spLocks/>
            </p:cNvSpPr>
            <p:nvPr/>
          </p:nvSpPr>
          <p:spPr bwMode="auto">
            <a:xfrm>
              <a:off x="7519988" y="2252662"/>
              <a:ext cx="358775" cy="255588"/>
            </a:xfrm>
            <a:custGeom>
              <a:avLst/>
              <a:gdLst>
                <a:gd name="T0" fmla="*/ 104 w 127"/>
                <a:gd name="T1" fmla="*/ 0 h 90"/>
                <a:gd name="T2" fmla="*/ 22 w 127"/>
                <a:gd name="T3" fmla="*/ 0 h 90"/>
                <a:gd name="T4" fmla="*/ 16 w 127"/>
                <a:gd name="T5" fmla="*/ 1 h 90"/>
                <a:gd name="T6" fmla="*/ 12 w 127"/>
                <a:gd name="T7" fmla="*/ 7 h 90"/>
                <a:gd name="T8" fmla="*/ 11 w 127"/>
                <a:gd name="T9" fmla="*/ 9 h 90"/>
                <a:gd name="T10" fmla="*/ 22 w 127"/>
                <a:gd name="T11" fmla="*/ 37 h 90"/>
                <a:gd name="T12" fmla="*/ 0 w 127"/>
                <a:gd name="T13" fmla="*/ 73 h 90"/>
                <a:gd name="T14" fmla="*/ 0 w 127"/>
                <a:gd name="T15" fmla="*/ 73 h 90"/>
                <a:gd name="T16" fmla="*/ 2 w 127"/>
                <a:gd name="T17" fmla="*/ 74 h 90"/>
                <a:gd name="T18" fmla="*/ 4 w 127"/>
                <a:gd name="T19" fmla="*/ 74 h 90"/>
                <a:gd name="T20" fmla="*/ 5 w 127"/>
                <a:gd name="T21" fmla="*/ 74 h 90"/>
                <a:gd name="T22" fmla="*/ 9 w 127"/>
                <a:gd name="T23" fmla="*/ 76 h 90"/>
                <a:gd name="T24" fmla="*/ 9 w 127"/>
                <a:gd name="T25" fmla="*/ 76 h 90"/>
                <a:gd name="T26" fmla="*/ 10 w 127"/>
                <a:gd name="T27" fmla="*/ 76 h 90"/>
                <a:gd name="T28" fmla="*/ 28 w 127"/>
                <a:gd name="T29" fmla="*/ 90 h 90"/>
                <a:gd name="T30" fmla="*/ 104 w 127"/>
                <a:gd name="T31" fmla="*/ 90 h 90"/>
                <a:gd name="T32" fmla="*/ 127 w 127"/>
                <a:gd name="T33" fmla="*/ 68 h 90"/>
                <a:gd name="T34" fmla="*/ 127 w 127"/>
                <a:gd name="T35" fmla="*/ 23 h 90"/>
                <a:gd name="T36" fmla="*/ 104 w 127"/>
                <a:gd name="T37"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90">
                  <a:moveTo>
                    <a:pt x="104" y="0"/>
                  </a:moveTo>
                  <a:cubicBezTo>
                    <a:pt x="22" y="0"/>
                    <a:pt x="22" y="0"/>
                    <a:pt x="22" y="0"/>
                  </a:cubicBezTo>
                  <a:cubicBezTo>
                    <a:pt x="20" y="0"/>
                    <a:pt x="18" y="1"/>
                    <a:pt x="16" y="1"/>
                  </a:cubicBezTo>
                  <a:cubicBezTo>
                    <a:pt x="12" y="7"/>
                    <a:pt x="12" y="7"/>
                    <a:pt x="12" y="7"/>
                  </a:cubicBezTo>
                  <a:cubicBezTo>
                    <a:pt x="11" y="9"/>
                    <a:pt x="11" y="9"/>
                    <a:pt x="11" y="9"/>
                  </a:cubicBezTo>
                  <a:cubicBezTo>
                    <a:pt x="18" y="16"/>
                    <a:pt x="22" y="26"/>
                    <a:pt x="22" y="37"/>
                  </a:cubicBezTo>
                  <a:cubicBezTo>
                    <a:pt x="22" y="52"/>
                    <a:pt x="13" y="66"/>
                    <a:pt x="0" y="73"/>
                  </a:cubicBezTo>
                  <a:cubicBezTo>
                    <a:pt x="0" y="73"/>
                    <a:pt x="0" y="73"/>
                    <a:pt x="0" y="73"/>
                  </a:cubicBezTo>
                  <a:cubicBezTo>
                    <a:pt x="1" y="73"/>
                    <a:pt x="2" y="73"/>
                    <a:pt x="2" y="74"/>
                  </a:cubicBezTo>
                  <a:cubicBezTo>
                    <a:pt x="3" y="74"/>
                    <a:pt x="4" y="74"/>
                    <a:pt x="4" y="74"/>
                  </a:cubicBezTo>
                  <a:cubicBezTo>
                    <a:pt x="5" y="74"/>
                    <a:pt x="5" y="74"/>
                    <a:pt x="5" y="74"/>
                  </a:cubicBezTo>
                  <a:cubicBezTo>
                    <a:pt x="7" y="75"/>
                    <a:pt x="8" y="75"/>
                    <a:pt x="9" y="76"/>
                  </a:cubicBezTo>
                  <a:cubicBezTo>
                    <a:pt x="9" y="76"/>
                    <a:pt x="9" y="76"/>
                    <a:pt x="9" y="76"/>
                  </a:cubicBezTo>
                  <a:cubicBezTo>
                    <a:pt x="10" y="76"/>
                    <a:pt x="10" y="76"/>
                    <a:pt x="10" y="76"/>
                  </a:cubicBezTo>
                  <a:cubicBezTo>
                    <a:pt x="17" y="79"/>
                    <a:pt x="23" y="84"/>
                    <a:pt x="28" y="90"/>
                  </a:cubicBezTo>
                  <a:cubicBezTo>
                    <a:pt x="104" y="90"/>
                    <a:pt x="104" y="90"/>
                    <a:pt x="104" y="90"/>
                  </a:cubicBezTo>
                  <a:cubicBezTo>
                    <a:pt x="116" y="90"/>
                    <a:pt x="127" y="80"/>
                    <a:pt x="127" y="68"/>
                  </a:cubicBezTo>
                  <a:cubicBezTo>
                    <a:pt x="127" y="23"/>
                    <a:pt x="127" y="23"/>
                    <a:pt x="127" y="23"/>
                  </a:cubicBezTo>
                  <a:cubicBezTo>
                    <a:pt x="127" y="10"/>
                    <a:pt x="116"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latin typeface="+mn-lt"/>
              </a:endParaRPr>
            </a:p>
          </p:txBody>
        </p:sp>
      </p:grpSp>
    </p:spTree>
    <p:extLst>
      <p:ext uri="{BB962C8B-B14F-4D97-AF65-F5344CB8AC3E}">
        <p14:creationId xmlns:p14="http://schemas.microsoft.com/office/powerpoint/2010/main" val="3129199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ALE_Main Title Dark Blue 2">
    <p:bg>
      <p:bgPr>
        <a:solidFill>
          <a:schemeClr val="bg1"/>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24922" y="2546"/>
            <a:ext cx="9119077" cy="5129480"/>
          </a:xfrm>
          <a:prstGeom prst="rect">
            <a:avLst/>
          </a:prstGeom>
        </p:spPr>
      </p:pic>
      <p:sp>
        <p:nvSpPr>
          <p:cNvPr id="16" name="Rectangle 15"/>
          <p:cNvSpPr/>
          <p:nvPr userDrawn="1">
            <p:custDataLst>
              <p:tags r:id="rId2"/>
            </p:custDataLst>
          </p:nvPr>
        </p:nvSpPr>
        <p:spPr>
          <a:xfrm>
            <a:off x="-1" y="3177"/>
            <a:ext cx="9143999" cy="5143499"/>
          </a:xfrm>
          <a:prstGeom prst="rect">
            <a:avLst/>
          </a:prstGeom>
          <a:gradFill>
            <a:gsLst>
              <a:gs pos="81000">
                <a:schemeClr val="accent1">
                  <a:alpha val="70000"/>
                </a:schemeClr>
              </a:gs>
              <a:gs pos="0">
                <a:schemeClr val="accent1">
                  <a:lumMod val="75000"/>
                  <a:alpha val="5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pic>
        <p:nvPicPr>
          <p:cNvPr id="17" name="Picture 16"/>
          <p:cNvPicPr>
            <a:picLocks noChangeAspect="1"/>
          </p:cNvPicPr>
          <p:nvPr userDrawn="1"/>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flipH="1">
            <a:off x="0" y="-3175"/>
            <a:ext cx="4319588" cy="4101863"/>
          </a:xfrm>
          <a:prstGeom prst="rect">
            <a:avLst/>
          </a:prstGeom>
        </p:spPr>
      </p:pic>
      <p:sp>
        <p:nvSpPr>
          <p:cNvPr id="18"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Nº›</a:t>
            </a:fld>
            <a:endParaRPr lang="en-US" sz="1000" noProof="0" dirty="0">
              <a:solidFill>
                <a:schemeClr val="bg1"/>
              </a:solidFill>
              <a:latin typeface="Trebuchet MS" panose="020B0603020202020204" pitchFamily="34" charset="0"/>
              <a:cs typeface="Arial" pitchFamily="34" charset="0"/>
            </a:endParaRPr>
          </a:p>
        </p:txBody>
      </p:sp>
      <p:cxnSp>
        <p:nvCxnSpPr>
          <p:cNvPr id="19"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20" name="Picture 2"/>
          <p:cNvPicPr>
            <a:picLocks noChangeAspect="1" noChangeArrowheads="1"/>
          </p:cNvPicPr>
          <p:nvPr userDrawn="1"/>
        </p:nvPicPr>
        <p:blipFill>
          <a:blip r:embed="rId6"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sp>
        <p:nvSpPr>
          <p:cNvPr id="21" name="Rectangle 2"/>
          <p:cNvSpPr>
            <a:spLocks noGrp="1" noChangeArrowheads="1"/>
          </p:cNvSpPr>
          <p:nvPr>
            <p:ph type="ctrTitle"/>
          </p:nvPr>
        </p:nvSpPr>
        <p:spPr>
          <a:xfrm>
            <a:off x="4566823" y="1493663"/>
            <a:ext cx="4333996" cy="804859"/>
          </a:xfrm>
        </p:spPr>
        <p:txBody>
          <a:bodyPr anchor="b"/>
          <a:lstStyle>
            <a:lvl1pPr>
              <a:defRPr sz="2800" b="1" cap="none">
                <a:solidFill>
                  <a:schemeClr val="bg1"/>
                </a:solidFill>
                <a:latin typeface="Trebuchet MS" panose="020B0603020202020204" pitchFamily="34" charset="0"/>
              </a:defRPr>
            </a:lvl1pPr>
          </a:lstStyle>
          <a:p>
            <a:r>
              <a:rPr lang="en-US" noProof="0" dirty="0"/>
              <a:t>Click to edit Master title style</a:t>
            </a:r>
          </a:p>
        </p:txBody>
      </p:sp>
      <p:sp>
        <p:nvSpPr>
          <p:cNvPr id="22" name="Rectangle 3"/>
          <p:cNvSpPr>
            <a:spLocks noGrp="1" noChangeArrowheads="1"/>
          </p:cNvSpPr>
          <p:nvPr>
            <p:ph type="subTitle" idx="1"/>
          </p:nvPr>
        </p:nvSpPr>
        <p:spPr>
          <a:xfrm>
            <a:off x="4566823" y="2314862"/>
            <a:ext cx="4314945" cy="463154"/>
          </a:xfrm>
        </p:spPr>
        <p:txBody>
          <a:bodyPr lIns="69677" tIns="34839" rIns="69677" bIns="34839"/>
          <a:lstStyle>
            <a:lvl1pPr marL="0" indent="0">
              <a:buFont typeface="Arial" pitchFamily="34" charset="0"/>
              <a:buNone/>
              <a:defRPr>
                <a:solidFill>
                  <a:schemeClr val="bg1"/>
                </a:solidFill>
                <a:latin typeface="Trebuchet MS" panose="020B0603020202020204" pitchFamily="34" charset="0"/>
              </a:defRPr>
            </a:lvl1pPr>
          </a:lstStyle>
          <a:p>
            <a:r>
              <a:rPr lang="en-US" noProof="0" dirty="0"/>
              <a:t>Click to edit Master subtitle style</a:t>
            </a:r>
          </a:p>
        </p:txBody>
      </p:sp>
      <p:sp>
        <p:nvSpPr>
          <p:cNvPr id="30" name="Rectangle 29"/>
          <p:cNvSpPr/>
          <p:nvPr userDrawn="1"/>
        </p:nvSpPr>
        <p:spPr>
          <a:xfrm>
            <a:off x="4336775" y="1482882"/>
            <a:ext cx="79200" cy="81564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grpSp>
        <p:nvGrpSpPr>
          <p:cNvPr id="31" name="Group 30"/>
          <p:cNvGrpSpPr/>
          <p:nvPr userDrawn="1"/>
        </p:nvGrpSpPr>
        <p:grpSpPr>
          <a:xfrm>
            <a:off x="3419493" y="1692913"/>
            <a:ext cx="766434" cy="395577"/>
            <a:chOff x="3396687" y="2807035"/>
            <a:chExt cx="766434" cy="395577"/>
          </a:xfrm>
        </p:grpSpPr>
        <p:sp>
          <p:nvSpPr>
            <p:cNvPr id="32" name="Oval 5"/>
            <p:cNvSpPr>
              <a:spLocks noChangeArrowheads="1"/>
            </p:cNvSpPr>
            <p:nvPr userDrawn="1"/>
          </p:nvSpPr>
          <p:spPr bwMode="auto">
            <a:xfrm>
              <a:off x="3564808" y="2845244"/>
              <a:ext cx="58887" cy="58887"/>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6"/>
            <p:cNvSpPr>
              <a:spLocks/>
            </p:cNvSpPr>
            <p:nvPr userDrawn="1"/>
          </p:nvSpPr>
          <p:spPr bwMode="auto">
            <a:xfrm>
              <a:off x="3396687" y="2807035"/>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7"/>
            <p:cNvSpPr>
              <a:spLocks/>
            </p:cNvSpPr>
            <p:nvPr userDrawn="1"/>
          </p:nvSpPr>
          <p:spPr bwMode="auto">
            <a:xfrm>
              <a:off x="3539635" y="3024153"/>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8"/>
            <p:cNvSpPr>
              <a:spLocks/>
            </p:cNvSpPr>
            <p:nvPr userDrawn="1"/>
          </p:nvSpPr>
          <p:spPr bwMode="auto">
            <a:xfrm>
              <a:off x="4063327" y="2999879"/>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4249573432"/>
      </p:ext>
    </p:extLst>
  </p:cSld>
  <p:clrMapOvr>
    <a:overrideClrMapping bg1="lt1" tx1="dk1" bg2="lt2" tx2="dk2" accent1="accent1" accent2="accent2" accent3="accent3" accent4="accent4" accent5="accent5" accent6="accent6" hlink="hlink" folHlink="folHlink"/>
  </p:clrMapOvr>
  <p:hf hdr="0" dt="0"/>
  <p:extLst mod="1">
    <p:ext uri="{DCECCB84-F9BA-43D5-87BE-67443E8EF086}">
      <p15:sldGuideLst xmlns:p15="http://schemas.microsoft.com/office/powerpoint/2012/main">
        <p15:guide id="1" pos="2880">
          <p15:clr>
            <a:srgbClr val="FBAE40"/>
          </p15:clr>
        </p15:guide>
        <p15:guide id="2" pos="424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LE_Main Title Dark Blue 3">
    <p:spTree>
      <p:nvGrpSpPr>
        <p:cNvPr id="1" name=""/>
        <p:cNvGrpSpPr/>
        <p:nvPr/>
      </p:nvGrpSpPr>
      <p:grpSpPr>
        <a:xfrm>
          <a:off x="0" y="0"/>
          <a:ext cx="0" cy="0"/>
          <a:chOff x="0" y="0"/>
          <a:chExt cx="0" cy="0"/>
        </a:xfrm>
      </p:grpSpPr>
      <p:pic>
        <p:nvPicPr>
          <p:cNvPr id="1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0" y="1"/>
            <a:ext cx="9143996" cy="5143497"/>
          </a:xfrm>
          <a:prstGeom prst="rect">
            <a:avLst/>
          </a:prstGeom>
          <a:solidFill>
            <a:srgbClr val="34B233">
              <a:alpha val="72157"/>
            </a:srgbClr>
          </a:solidFill>
          <a:ln>
            <a:noFill/>
          </a:ln>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7" name="Rectangle 16"/>
          <p:cNvSpPr/>
          <p:nvPr userDrawn="1"/>
        </p:nvSpPr>
        <p:spPr>
          <a:xfrm>
            <a:off x="0" y="0"/>
            <a:ext cx="9143995" cy="5143500"/>
          </a:xfrm>
          <a:prstGeom prst="rect">
            <a:avLst/>
          </a:prstGeom>
          <a:gradFill>
            <a:gsLst>
              <a:gs pos="81000">
                <a:schemeClr val="accent1">
                  <a:alpha val="70000"/>
                </a:schemeClr>
              </a:gs>
              <a:gs pos="0">
                <a:schemeClr val="accent1">
                  <a:lumMod val="75000"/>
                  <a:alpha val="5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sp>
        <p:nvSpPr>
          <p:cNvPr id="19" name="Rectangle 2"/>
          <p:cNvSpPr>
            <a:spLocks noGrp="1" noChangeArrowheads="1"/>
          </p:cNvSpPr>
          <p:nvPr>
            <p:ph type="ctrTitle"/>
          </p:nvPr>
        </p:nvSpPr>
        <p:spPr>
          <a:xfrm>
            <a:off x="4568704" y="2494655"/>
            <a:ext cx="4333996" cy="804859"/>
          </a:xfrm>
        </p:spPr>
        <p:txBody>
          <a:bodyPr anchor="b"/>
          <a:lstStyle>
            <a:lvl1pPr>
              <a:defRPr sz="2800" b="1" cap="none">
                <a:solidFill>
                  <a:schemeClr val="bg1"/>
                </a:solidFill>
                <a:latin typeface="Trebuchet MS" panose="020B0603020202020204" pitchFamily="34" charset="0"/>
              </a:defRPr>
            </a:lvl1pPr>
          </a:lstStyle>
          <a:p>
            <a:r>
              <a:rPr lang="en-US" noProof="0" dirty="0"/>
              <a:t>Click to edit Master title style</a:t>
            </a:r>
          </a:p>
        </p:txBody>
      </p:sp>
      <p:sp>
        <p:nvSpPr>
          <p:cNvPr id="20" name="Rectangle 3"/>
          <p:cNvSpPr>
            <a:spLocks noGrp="1" noChangeArrowheads="1"/>
          </p:cNvSpPr>
          <p:nvPr>
            <p:ph type="subTitle" idx="1"/>
          </p:nvPr>
        </p:nvSpPr>
        <p:spPr>
          <a:xfrm>
            <a:off x="4568704" y="3315854"/>
            <a:ext cx="4314945" cy="463154"/>
          </a:xfrm>
        </p:spPr>
        <p:txBody>
          <a:bodyPr lIns="69677" tIns="34839" rIns="69677" bIns="34839"/>
          <a:lstStyle>
            <a:lvl1pPr marL="0" indent="0">
              <a:buFont typeface="Arial" pitchFamily="34" charset="0"/>
              <a:buNone/>
              <a:defRPr>
                <a:solidFill>
                  <a:schemeClr val="bg1"/>
                </a:solidFill>
                <a:latin typeface="Trebuchet MS" panose="020B0603020202020204" pitchFamily="34" charset="0"/>
              </a:defRPr>
            </a:lvl1pPr>
          </a:lstStyle>
          <a:p>
            <a:r>
              <a:rPr lang="en-US" noProof="0" dirty="0"/>
              <a:t>Click to edit Master subtitle style</a:t>
            </a:r>
          </a:p>
        </p:txBody>
      </p:sp>
      <p:sp>
        <p:nvSpPr>
          <p:cNvPr id="22"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Nº›</a:t>
            </a:fld>
            <a:endParaRPr lang="en-US" sz="1000" noProof="0" dirty="0">
              <a:solidFill>
                <a:schemeClr val="bg1"/>
              </a:solidFill>
              <a:latin typeface="Trebuchet MS" panose="020B0603020202020204" pitchFamily="34" charset="0"/>
              <a:cs typeface="Arial" pitchFamily="34" charset="0"/>
            </a:endParaRPr>
          </a:p>
        </p:txBody>
      </p:sp>
      <p:cxnSp>
        <p:nvCxnSpPr>
          <p:cNvPr id="30"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4321469" y="2483874"/>
            <a:ext cx="89299" cy="81564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cxnSp>
        <p:nvCxnSpPr>
          <p:cNvPr id="32" name="Straight Connector 112"/>
          <p:cNvCxnSpPr/>
          <p:nvPr userDrawn="1"/>
        </p:nvCxnSpPr>
        <p:spPr>
          <a:xfrm flipV="1">
            <a:off x="4411340" y="0"/>
            <a:ext cx="0" cy="514350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33"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4" name="Group 33"/>
          <p:cNvGrpSpPr/>
          <p:nvPr userDrawn="1"/>
        </p:nvGrpSpPr>
        <p:grpSpPr>
          <a:xfrm>
            <a:off x="3397672" y="2693905"/>
            <a:ext cx="766434" cy="395577"/>
            <a:chOff x="3396687" y="2807035"/>
            <a:chExt cx="766434" cy="395577"/>
          </a:xfrm>
        </p:grpSpPr>
        <p:sp>
          <p:nvSpPr>
            <p:cNvPr id="35" name="Oval 5"/>
            <p:cNvSpPr>
              <a:spLocks noChangeArrowheads="1"/>
            </p:cNvSpPr>
            <p:nvPr userDrawn="1"/>
          </p:nvSpPr>
          <p:spPr bwMode="auto">
            <a:xfrm>
              <a:off x="3564808" y="2845244"/>
              <a:ext cx="58887" cy="58887"/>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6" name="Freeform 6"/>
            <p:cNvSpPr>
              <a:spLocks/>
            </p:cNvSpPr>
            <p:nvPr userDrawn="1"/>
          </p:nvSpPr>
          <p:spPr bwMode="auto">
            <a:xfrm>
              <a:off x="3396687" y="2807035"/>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7" name="Freeform 7"/>
            <p:cNvSpPr>
              <a:spLocks/>
            </p:cNvSpPr>
            <p:nvPr userDrawn="1"/>
          </p:nvSpPr>
          <p:spPr bwMode="auto">
            <a:xfrm>
              <a:off x="3539635" y="3024153"/>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8" name="Freeform 8"/>
            <p:cNvSpPr>
              <a:spLocks/>
            </p:cNvSpPr>
            <p:nvPr userDrawn="1"/>
          </p:nvSpPr>
          <p:spPr bwMode="auto">
            <a:xfrm>
              <a:off x="4063327" y="2999879"/>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extLst>
      <p:ext uri="{BB962C8B-B14F-4D97-AF65-F5344CB8AC3E}">
        <p14:creationId xmlns:p14="http://schemas.microsoft.com/office/powerpoint/2010/main" val="4264742625"/>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LE_Title Dark Blue 1">
    <p:spTree>
      <p:nvGrpSpPr>
        <p:cNvPr id="1" name=""/>
        <p:cNvGrpSpPr/>
        <p:nvPr/>
      </p:nvGrpSpPr>
      <p:grpSpPr>
        <a:xfrm>
          <a:off x="0" y="0"/>
          <a:ext cx="0" cy="0"/>
          <a:chOff x="0" y="0"/>
          <a:chExt cx="0" cy="0"/>
        </a:xfrm>
      </p:grpSpPr>
      <p:pic>
        <p:nvPicPr>
          <p:cNvPr id="12"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 y="1"/>
            <a:ext cx="9143994" cy="5143497"/>
          </a:xfrm>
          <a:prstGeom prst="rect">
            <a:avLst/>
          </a:prstGeom>
          <a:solidFill>
            <a:srgbClr val="34B233">
              <a:alpha val="72157"/>
            </a:srgbClr>
          </a:solidFill>
          <a:ln>
            <a:noFill/>
          </a:ln>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Rectangle 17"/>
          <p:cNvSpPr/>
          <p:nvPr userDrawn="1"/>
        </p:nvSpPr>
        <p:spPr>
          <a:xfrm>
            <a:off x="4327737" y="3177"/>
            <a:ext cx="4816263" cy="5143499"/>
          </a:xfrm>
          <a:prstGeom prst="rect">
            <a:avLst/>
          </a:prstGeom>
          <a:gradFill>
            <a:gsLst>
              <a:gs pos="81000">
                <a:schemeClr val="accent1">
                  <a:alpha val="70000"/>
                </a:schemeClr>
              </a:gs>
              <a:gs pos="0">
                <a:schemeClr val="accent1">
                  <a:lumMod val="75000"/>
                  <a:alpha val="6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cxnSp>
        <p:nvCxnSpPr>
          <p:cNvPr id="19" name="Straight Connector 112"/>
          <p:cNvCxnSpPr/>
          <p:nvPr userDrawn="1"/>
        </p:nvCxnSpPr>
        <p:spPr>
          <a:xfrm flipV="1">
            <a:off x="4406565" y="0"/>
            <a:ext cx="0" cy="514350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0" name="Rectangle 19"/>
          <p:cNvSpPr/>
          <p:nvPr userDrawn="1"/>
        </p:nvSpPr>
        <p:spPr>
          <a:xfrm>
            <a:off x="0" y="0"/>
            <a:ext cx="78828" cy="51435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sp>
        <p:nvSpPr>
          <p:cNvPr id="21" name="Rectangle 20"/>
          <p:cNvSpPr/>
          <p:nvPr userDrawn="1"/>
        </p:nvSpPr>
        <p:spPr>
          <a:xfrm>
            <a:off x="4327737" y="1101871"/>
            <a:ext cx="78828" cy="72000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sp>
        <p:nvSpPr>
          <p:cNvPr id="22" name="Rectangle 2"/>
          <p:cNvSpPr>
            <a:spLocks noGrp="1" noChangeArrowheads="1"/>
          </p:cNvSpPr>
          <p:nvPr>
            <p:ph type="ctrTitle"/>
          </p:nvPr>
        </p:nvSpPr>
        <p:spPr>
          <a:xfrm>
            <a:off x="4572000" y="1020697"/>
            <a:ext cx="4330700" cy="804859"/>
          </a:xfrm>
        </p:spPr>
        <p:txBody>
          <a:bodyPr anchor="b"/>
          <a:lstStyle>
            <a:lvl1pPr>
              <a:defRPr sz="2800" b="1" cap="none">
                <a:solidFill>
                  <a:schemeClr val="bg1"/>
                </a:solidFill>
                <a:latin typeface="Trebuchet MS" panose="020B0603020202020204" pitchFamily="34" charset="0"/>
              </a:defRPr>
            </a:lvl1pPr>
          </a:lstStyle>
          <a:p>
            <a:r>
              <a:rPr lang="en-US" noProof="0" dirty="0"/>
              <a:t>Click to edit Master title style</a:t>
            </a:r>
          </a:p>
        </p:txBody>
      </p:sp>
      <p:sp>
        <p:nvSpPr>
          <p:cNvPr id="23" name="Rectangle 3"/>
          <p:cNvSpPr>
            <a:spLocks noGrp="1" noChangeArrowheads="1"/>
          </p:cNvSpPr>
          <p:nvPr>
            <p:ph type="subTitle" idx="1"/>
          </p:nvPr>
        </p:nvSpPr>
        <p:spPr>
          <a:xfrm>
            <a:off x="4572000" y="1841896"/>
            <a:ext cx="4311649" cy="463154"/>
          </a:xfrm>
        </p:spPr>
        <p:txBody>
          <a:bodyPr lIns="69677" tIns="34839" rIns="69677" bIns="34839"/>
          <a:lstStyle>
            <a:lvl1pPr marL="0" indent="0">
              <a:buFont typeface="Arial" pitchFamily="34" charset="0"/>
              <a:buNone/>
              <a:defRPr>
                <a:solidFill>
                  <a:schemeClr val="bg1"/>
                </a:solidFill>
                <a:latin typeface="Trebuchet MS" panose="020B0603020202020204" pitchFamily="34" charset="0"/>
              </a:defRPr>
            </a:lvl1pPr>
          </a:lstStyle>
          <a:p>
            <a:r>
              <a:rPr lang="en-US" noProof="0" dirty="0"/>
              <a:t>Click to edit Master subtitle style</a:t>
            </a:r>
          </a:p>
        </p:txBody>
      </p:sp>
      <p:sp>
        <p:nvSpPr>
          <p:cNvPr id="24"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Nº›</a:t>
            </a:fld>
            <a:endParaRPr lang="en-US" sz="1000" noProof="0" dirty="0">
              <a:solidFill>
                <a:schemeClr val="bg1"/>
              </a:solidFill>
              <a:latin typeface="Trebuchet MS" panose="020B0603020202020204" pitchFamily="34" charset="0"/>
              <a:cs typeface="Arial" pitchFamily="34" charset="0"/>
            </a:endParaRPr>
          </a:p>
        </p:txBody>
      </p:sp>
      <p:cxnSp>
        <p:nvCxnSpPr>
          <p:cNvPr id="25"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26"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27" name="Group 26"/>
          <p:cNvGrpSpPr/>
          <p:nvPr userDrawn="1"/>
        </p:nvGrpSpPr>
        <p:grpSpPr>
          <a:xfrm>
            <a:off x="3397672" y="1219947"/>
            <a:ext cx="766434" cy="395577"/>
            <a:chOff x="3396687" y="2807035"/>
            <a:chExt cx="766434" cy="395577"/>
          </a:xfrm>
        </p:grpSpPr>
        <p:sp>
          <p:nvSpPr>
            <p:cNvPr id="32" name="Oval 5"/>
            <p:cNvSpPr>
              <a:spLocks noChangeArrowheads="1"/>
            </p:cNvSpPr>
            <p:nvPr userDrawn="1"/>
          </p:nvSpPr>
          <p:spPr bwMode="auto">
            <a:xfrm>
              <a:off x="3564808" y="2845244"/>
              <a:ext cx="58887" cy="58887"/>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3" name="Freeform 6"/>
            <p:cNvSpPr>
              <a:spLocks/>
            </p:cNvSpPr>
            <p:nvPr userDrawn="1"/>
          </p:nvSpPr>
          <p:spPr bwMode="auto">
            <a:xfrm>
              <a:off x="3396687" y="2807035"/>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4" name="Freeform 7"/>
            <p:cNvSpPr>
              <a:spLocks/>
            </p:cNvSpPr>
            <p:nvPr userDrawn="1"/>
          </p:nvSpPr>
          <p:spPr bwMode="auto">
            <a:xfrm>
              <a:off x="3539635" y="3024153"/>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35" name="Freeform 8"/>
            <p:cNvSpPr>
              <a:spLocks/>
            </p:cNvSpPr>
            <p:nvPr userDrawn="1"/>
          </p:nvSpPr>
          <p:spPr bwMode="auto">
            <a:xfrm>
              <a:off x="4063327" y="2999879"/>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Tree>
  </p:cSld>
  <p:clrMapOvr>
    <a:masterClrMapping/>
  </p:clrMapOvr>
  <p:hf hdr="0" dt="0"/>
  <p:extLst mod="1">
    <p:ext uri="{DCECCB84-F9BA-43D5-87BE-67443E8EF086}">
      <p15:sldGuideLst xmlns:p15="http://schemas.microsoft.com/office/powerpoint/2012/main">
        <p15:guide id="1" pos="288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8108" y="12668"/>
            <a:ext cx="9115892" cy="5127689"/>
          </a:xfrm>
          <a:prstGeom prst="rect">
            <a:avLst/>
          </a:prstGeom>
        </p:spPr>
      </p:pic>
      <p:sp>
        <p:nvSpPr>
          <p:cNvPr id="13"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Nº›</a:t>
            </a:fld>
            <a:endParaRPr lang="en-US" sz="1000" noProof="0" dirty="0">
              <a:solidFill>
                <a:schemeClr val="bg1"/>
              </a:solidFill>
              <a:latin typeface="Trebuchet MS" panose="020B0603020202020204" pitchFamily="34" charset="0"/>
              <a:cs typeface="Arial" pitchFamily="34" charset="0"/>
            </a:endParaRPr>
          </a:p>
        </p:txBody>
      </p:sp>
      <p:cxnSp>
        <p:nvCxnSpPr>
          <p:cNvPr id="15"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bwMode="auto">
          <a:xfrm>
            <a:off x="0" y="0"/>
            <a:ext cx="6057900" cy="5143500"/>
          </a:xfrm>
          <a:prstGeom prst="rect">
            <a:avLst/>
          </a:prstGeom>
          <a:gradFill>
            <a:gsLst>
              <a:gs pos="81000">
                <a:schemeClr val="accent1">
                  <a:alpha val="70000"/>
                </a:schemeClr>
              </a:gs>
              <a:gs pos="0">
                <a:schemeClr val="accent1">
                  <a:lumMod val="75000"/>
                  <a:alpha val="6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cxnSp>
        <p:nvCxnSpPr>
          <p:cNvPr id="17" name="Straight Connector 112"/>
          <p:cNvCxnSpPr/>
          <p:nvPr userDrawn="1"/>
        </p:nvCxnSpPr>
        <p:spPr>
          <a:xfrm flipV="1">
            <a:off x="5959140" y="-9525"/>
            <a:ext cx="0" cy="514350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userDrawn="1"/>
        </p:nvPicPr>
        <p:blipFill>
          <a:blip r:embed="rId3"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0" y="-3175"/>
            <a:ext cx="4319588" cy="4101863"/>
          </a:xfrm>
          <a:prstGeom prst="rect">
            <a:avLst/>
          </a:prstGeom>
        </p:spPr>
      </p:pic>
      <p:pic>
        <p:nvPicPr>
          <p:cNvPr id="19"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tretch>
            <a:fillRect/>
          </a:stretch>
        </p:blipFill>
        <p:spPr bwMode="auto">
          <a:xfrm>
            <a:off x="7783495" y="4704175"/>
            <a:ext cx="1090559" cy="293767"/>
          </a:xfrm>
          <a:prstGeom prst="rect">
            <a:avLst/>
          </a:prstGeom>
          <a:noFill/>
          <a:extLst>
            <a:ext uri="{909E8E84-426E-40dd-AFC4-6F175D3DCCD1}">
              <a14:hiddenFill xmlns:a14="http://schemas.microsoft.com/office/drawing/2010/main" xmlns="">
                <a:solidFill>
                  <a:srgbClr val="FFFFFF"/>
                </a:solidFill>
              </a14:hiddenFill>
            </a:ext>
          </a:extLst>
        </p:spPr>
      </p:pic>
      <p:grpSp>
        <p:nvGrpSpPr>
          <p:cNvPr id="23" name="Group 22"/>
          <p:cNvGrpSpPr/>
          <p:nvPr userDrawn="1"/>
        </p:nvGrpSpPr>
        <p:grpSpPr>
          <a:xfrm>
            <a:off x="5062326" y="525094"/>
            <a:ext cx="766434" cy="395577"/>
            <a:chOff x="3396687" y="2807035"/>
            <a:chExt cx="766434" cy="395577"/>
          </a:xfrm>
        </p:grpSpPr>
        <p:sp>
          <p:nvSpPr>
            <p:cNvPr id="24" name="Oval 5"/>
            <p:cNvSpPr>
              <a:spLocks noChangeArrowheads="1"/>
            </p:cNvSpPr>
            <p:nvPr userDrawn="1"/>
          </p:nvSpPr>
          <p:spPr bwMode="auto">
            <a:xfrm>
              <a:off x="3564808" y="2845244"/>
              <a:ext cx="58887" cy="58887"/>
            </a:xfrm>
            <a:prstGeom prst="ellipse">
              <a:avLst/>
            </a:pr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5" name="Freeform 6"/>
            <p:cNvSpPr>
              <a:spLocks/>
            </p:cNvSpPr>
            <p:nvPr userDrawn="1"/>
          </p:nvSpPr>
          <p:spPr bwMode="auto">
            <a:xfrm>
              <a:off x="3396687" y="2807035"/>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6" name="Freeform 7"/>
            <p:cNvSpPr>
              <a:spLocks/>
            </p:cNvSpPr>
            <p:nvPr userDrawn="1"/>
          </p:nvSpPr>
          <p:spPr bwMode="auto">
            <a:xfrm>
              <a:off x="3539635" y="3024153"/>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sp>
          <p:nvSpPr>
            <p:cNvPr id="27" name="Freeform 8"/>
            <p:cNvSpPr>
              <a:spLocks/>
            </p:cNvSpPr>
            <p:nvPr userDrawn="1"/>
          </p:nvSpPr>
          <p:spPr bwMode="auto">
            <a:xfrm>
              <a:off x="4063327" y="2999879"/>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p>
          </p:txBody>
        </p:sp>
      </p:grpSp>
      <p:sp>
        <p:nvSpPr>
          <p:cNvPr id="28" name="Rectangle 27"/>
          <p:cNvSpPr/>
          <p:nvPr userDrawn="1"/>
        </p:nvSpPr>
        <p:spPr>
          <a:xfrm>
            <a:off x="5968601" y="281414"/>
            <a:ext cx="89299" cy="815640"/>
          </a:xfrm>
          <a:prstGeom prst="rect">
            <a:avLst/>
          </a:prstGeom>
          <a:solidFill>
            <a:schemeClr val="bg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Segoe UI" panose="020B0502040204020203" pitchFamily="34" charset="0"/>
            </a:endParaRPr>
          </a:p>
        </p:txBody>
      </p:sp>
    </p:spTree>
    <p:extLst>
      <p:ext uri="{BB962C8B-B14F-4D97-AF65-F5344CB8AC3E}">
        <p14:creationId xmlns:p14="http://schemas.microsoft.com/office/powerpoint/2010/main" val="9007552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ALE_Title Clear Blue 1">
    <p:spTree>
      <p:nvGrpSpPr>
        <p:cNvPr id="1" name=""/>
        <p:cNvGrpSpPr/>
        <p:nvPr/>
      </p:nvGrpSpPr>
      <p:grpSpPr>
        <a:xfrm>
          <a:off x="0" y="0"/>
          <a:ext cx="0" cy="0"/>
          <a:chOff x="0" y="0"/>
          <a:chExt cx="0" cy="0"/>
        </a:xfrm>
      </p:grpSpPr>
      <p:pic>
        <p:nvPicPr>
          <p:cNvPr id="1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1" y="0"/>
            <a:ext cx="9132088" cy="5125862"/>
          </a:xfrm>
          <a:prstGeom prst="rect">
            <a:avLst/>
          </a:prstGeom>
          <a:solidFill>
            <a:srgbClr val="34B233">
              <a:alpha val="72157"/>
            </a:srgbClr>
          </a:solidFill>
          <a:ln>
            <a:noFill/>
          </a:ln>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8" name="Rectangle 17"/>
          <p:cNvSpPr/>
          <p:nvPr userDrawn="1"/>
        </p:nvSpPr>
        <p:spPr>
          <a:xfrm>
            <a:off x="4327737" y="-1"/>
            <a:ext cx="4816263" cy="5146677"/>
          </a:xfrm>
          <a:prstGeom prst="rect">
            <a:avLst/>
          </a:prstGeom>
          <a:solidFill>
            <a:schemeClr val="bg1">
              <a:alpha val="80000"/>
            </a:schemeClr>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spcBef>
                <a:spcPts val="0"/>
              </a:spcBef>
            </a:pPr>
            <a:endParaRPr lang="en-US" noProof="0" dirty="0">
              <a:solidFill>
                <a:schemeClr val="bg1"/>
              </a:solidFill>
              <a:latin typeface="Trebuchet MS" panose="020B0603020202020204" pitchFamily="34" charset="0"/>
              <a:cs typeface="Trebuchet MS" panose="020B0502040204020203" pitchFamily="34" charset="0"/>
            </a:endParaRPr>
          </a:p>
        </p:txBody>
      </p:sp>
      <p:cxnSp>
        <p:nvCxnSpPr>
          <p:cNvPr id="22" name="Straight Connector 112"/>
          <p:cNvCxnSpPr/>
          <p:nvPr userDrawn="1"/>
        </p:nvCxnSpPr>
        <p:spPr>
          <a:xfrm flipV="1">
            <a:off x="4406565" y="0"/>
            <a:ext cx="0" cy="514350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23" name="Rectangle 22"/>
          <p:cNvSpPr/>
          <p:nvPr userDrawn="1"/>
        </p:nvSpPr>
        <p:spPr>
          <a:xfrm>
            <a:off x="0" y="0"/>
            <a:ext cx="78828" cy="5143500"/>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24" name="Rectangle 23"/>
          <p:cNvSpPr/>
          <p:nvPr userDrawn="1"/>
        </p:nvSpPr>
        <p:spPr>
          <a:xfrm>
            <a:off x="4327737" y="1020697"/>
            <a:ext cx="78828" cy="801174"/>
          </a:xfrm>
          <a:prstGeom prst="rect">
            <a:avLst/>
          </a:prstGeom>
          <a:solidFill>
            <a:schemeClr val="accent1"/>
          </a:soli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algn="ctr">
              <a:spcBef>
                <a:spcPts val="0"/>
              </a:spcBef>
            </a:pPr>
            <a:endParaRPr lang="en-US" noProof="0" dirty="0">
              <a:latin typeface="Trebuchet MS" panose="020B0603020202020204" pitchFamily="34" charset="0"/>
              <a:cs typeface="Trebuchet MS" panose="020B0502040204020203" pitchFamily="34" charset="0"/>
            </a:endParaRPr>
          </a:p>
        </p:txBody>
      </p:sp>
      <p:sp>
        <p:nvSpPr>
          <p:cNvPr id="25" name="Rectangle 2"/>
          <p:cNvSpPr>
            <a:spLocks noGrp="1" noChangeArrowheads="1"/>
          </p:cNvSpPr>
          <p:nvPr>
            <p:ph type="ctrTitle"/>
          </p:nvPr>
        </p:nvSpPr>
        <p:spPr>
          <a:xfrm>
            <a:off x="4572000" y="1020697"/>
            <a:ext cx="4330700" cy="804859"/>
          </a:xfrm>
        </p:spPr>
        <p:txBody>
          <a:bodyPr anchor="b"/>
          <a:lstStyle>
            <a:lvl1pPr>
              <a:defRPr sz="2800" b="1" cap="none">
                <a:solidFill>
                  <a:schemeClr val="accent1"/>
                </a:solidFill>
                <a:latin typeface="Trebuchet MS" panose="020B0603020202020204" pitchFamily="34" charset="0"/>
              </a:defRPr>
            </a:lvl1pPr>
          </a:lstStyle>
          <a:p>
            <a:r>
              <a:rPr lang="en-US" noProof="0" dirty="0"/>
              <a:t>Click to edit Master title style</a:t>
            </a:r>
          </a:p>
        </p:txBody>
      </p:sp>
      <p:sp>
        <p:nvSpPr>
          <p:cNvPr id="26" name="Rectangle 3"/>
          <p:cNvSpPr>
            <a:spLocks noGrp="1" noChangeArrowheads="1"/>
          </p:cNvSpPr>
          <p:nvPr>
            <p:ph type="subTitle" idx="1"/>
          </p:nvPr>
        </p:nvSpPr>
        <p:spPr>
          <a:xfrm>
            <a:off x="4568704" y="1841896"/>
            <a:ext cx="4314945" cy="463154"/>
          </a:xfrm>
        </p:spPr>
        <p:txBody>
          <a:bodyPr lIns="69677" tIns="34839" rIns="69677" bIns="34839"/>
          <a:lstStyle>
            <a:lvl1pPr marL="0" indent="0">
              <a:spcBef>
                <a:spcPts val="600"/>
              </a:spcBef>
              <a:spcAft>
                <a:spcPts val="0"/>
              </a:spcAft>
              <a:buFont typeface="Trebuchet MS" pitchFamily="34" charset="0"/>
              <a:buNone/>
              <a:defRPr>
                <a:solidFill>
                  <a:schemeClr val="tx1"/>
                </a:solidFill>
                <a:latin typeface="Trebuchet MS" panose="020B0603020202020204" pitchFamily="34" charset="0"/>
              </a:defRPr>
            </a:lvl1pPr>
          </a:lstStyle>
          <a:p>
            <a:r>
              <a:rPr lang="en-US" noProof="0" dirty="0"/>
              <a:t>Click to edit Master subtitle style</a:t>
            </a:r>
          </a:p>
        </p:txBody>
      </p:sp>
      <p:sp>
        <p:nvSpPr>
          <p:cNvPr id="27" name="Footer Placeholder 2"/>
          <p:cNvSpPr txBox="1">
            <a:spLocks/>
          </p:cNvSpPr>
          <p:nvPr userDrawn="1"/>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Trebuchet MS" pitchFamily="34" charset="0"/>
              </a:rPr>
              <a:pPr algn="ctr">
                <a:spcBef>
                  <a:spcPct val="0"/>
                </a:spcBef>
                <a:defRPr/>
              </a:pPr>
              <a:t>‹Nº›</a:t>
            </a:fld>
            <a:endParaRPr lang="en-US" sz="1000" noProof="0" dirty="0">
              <a:solidFill>
                <a:schemeClr val="bg1"/>
              </a:solidFill>
              <a:latin typeface="Trebuchet MS" panose="020B0603020202020204" pitchFamily="34" charset="0"/>
              <a:cs typeface="Trebuchet MS" pitchFamily="34" charset="0"/>
            </a:endParaRPr>
          </a:p>
        </p:txBody>
      </p:sp>
      <p:cxnSp>
        <p:nvCxnSpPr>
          <p:cNvPr id="28" name="Straight Connector 112"/>
          <p:cNvCxnSpPr/>
          <p:nvPr userDrawn="1"/>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pic>
        <p:nvPicPr>
          <p:cNvPr id="29"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7790863" y="4704175"/>
            <a:ext cx="1075822" cy="29376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41732104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224953" y="170260"/>
            <a:ext cx="8673362" cy="754188"/>
          </a:xfrm>
          <a:prstGeom prst="rect">
            <a:avLst/>
          </a:prstGeom>
          <a:noFill/>
          <a:ln w="9525" algn="ctr">
            <a:noFill/>
            <a:miter lim="800000"/>
            <a:headEnd/>
            <a:tailEnd/>
          </a:ln>
          <a:effectLst/>
        </p:spPr>
        <p:txBody>
          <a:bodyPr vert="horz" wrap="square" lIns="69677" tIns="34839" rIns="69677" bIns="34839" numCol="1" anchor="b" anchorCtr="0" compatLnSpc="1">
            <a:prstTxWarp prst="textNoShape">
              <a:avLst/>
            </a:prstTxWarp>
          </a:bodyPr>
          <a:lstStyle/>
          <a:p>
            <a:pPr lvl="0"/>
            <a:r>
              <a:rPr lang="en-US" noProof="0" dirty="0"/>
              <a:t>Click to edit Master title style</a:t>
            </a:r>
          </a:p>
        </p:txBody>
      </p:sp>
      <p:sp>
        <p:nvSpPr>
          <p:cNvPr id="1027" name="Rectangle 3"/>
          <p:cNvSpPr>
            <a:spLocks noGrp="1" noChangeArrowheads="1"/>
          </p:cNvSpPr>
          <p:nvPr>
            <p:ph type="body" idx="1"/>
          </p:nvPr>
        </p:nvSpPr>
        <p:spPr bwMode="auto">
          <a:xfrm>
            <a:off x="218354" y="1125414"/>
            <a:ext cx="8674821" cy="3290615"/>
          </a:xfrm>
          <a:prstGeom prst="rect">
            <a:avLst/>
          </a:prstGeom>
          <a:noFill/>
          <a:ln w="9525" algn="ctr">
            <a:noFill/>
            <a:miter lim="800000"/>
            <a:headEnd/>
            <a:tailEnd/>
          </a:ln>
          <a:effectLst/>
        </p:spPr>
        <p:txBody>
          <a:bodyPr vert="horz" wrap="square" lIns="34839" tIns="0" rIns="0" bIns="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cSld>
  <p:clrMap bg1="lt1" tx1="dk1" bg2="lt2" tx2="dk2" accent1="accent1" accent2="accent2" accent3="accent3" accent4="accent4" accent5="accent5" accent6="accent6" hlink="hlink" folHlink="folHlink"/>
  <p:sldLayoutIdLst>
    <p:sldLayoutId id="2147483678" r:id="rId1"/>
    <p:sldLayoutId id="2147483679" r:id="rId2"/>
    <p:sldLayoutId id="2147483724" r:id="rId3"/>
    <p:sldLayoutId id="2147483720" r:id="rId4"/>
    <p:sldLayoutId id="2147483683" r:id="rId5"/>
    <p:sldLayoutId id="2147483680" r:id="rId6"/>
    <p:sldLayoutId id="2147483649" r:id="rId7"/>
    <p:sldLayoutId id="2147483719" r:id="rId8"/>
    <p:sldLayoutId id="2147483661" r:id="rId9"/>
    <p:sldLayoutId id="2147483725" r:id="rId10"/>
    <p:sldLayoutId id="2147483664" r:id="rId11"/>
    <p:sldLayoutId id="2147483665" r:id="rId12"/>
    <p:sldLayoutId id="2147483669" r:id="rId13"/>
    <p:sldLayoutId id="2147483650" r:id="rId14"/>
    <p:sldLayoutId id="2147483671" r:id="rId15"/>
    <p:sldLayoutId id="2147483672" r:id="rId16"/>
    <p:sldLayoutId id="2147483674" r:id="rId17"/>
    <p:sldLayoutId id="2147483652" r:id="rId18"/>
    <p:sldLayoutId id="2147483654" r:id="rId19"/>
    <p:sldLayoutId id="2147483660" r:id="rId20"/>
    <p:sldLayoutId id="2147483718" r:id="rId21"/>
    <p:sldLayoutId id="2147483717" r:id="rId22"/>
    <p:sldLayoutId id="2147483667" r:id="rId23"/>
    <p:sldLayoutId id="2147483666" r:id="rId24"/>
    <p:sldLayoutId id="2147483684" r:id="rId25"/>
    <p:sldLayoutId id="2147483729" r:id="rId26"/>
    <p:sldLayoutId id="2147483662" r:id="rId27"/>
    <p:sldLayoutId id="2147483677" r:id="rId28"/>
    <p:sldLayoutId id="2147483735" r:id="rId29"/>
    <p:sldLayoutId id="2147483736" r:id="rId30"/>
    <p:sldLayoutId id="2147483737" r:id="rId31"/>
    <p:sldLayoutId id="2147483738" r:id="rId32"/>
    <p:sldLayoutId id="2147483740" r:id="rId33"/>
    <p:sldLayoutId id="2147483755" r:id="rId34"/>
    <p:sldLayoutId id="2147483756" r:id="rId35"/>
  </p:sldLayoutIdLst>
  <p:hf hdr="0" dt="0"/>
  <p:txStyles>
    <p:titleStyle>
      <a:lvl1pPr algn="l" rtl="0" eaLnBrk="1" fontAlgn="base" hangingPunct="1">
        <a:spcBef>
          <a:spcPct val="0"/>
        </a:spcBef>
        <a:spcAft>
          <a:spcPct val="0"/>
        </a:spcAft>
        <a:defRPr sz="2400" b="1" cap="none">
          <a:solidFill>
            <a:schemeClr val="tx1"/>
          </a:solidFill>
          <a:latin typeface="Trebuchet MS" panose="020B0603020202020204" pitchFamily="34" charset="0"/>
          <a:ea typeface="+mj-ea"/>
          <a:cs typeface="Trebuchet MS" panose="020B0502040204020203" pitchFamily="34" charset="0"/>
        </a:defRPr>
      </a:lvl1pPr>
      <a:lvl2pPr algn="l" rtl="0" eaLnBrk="1" fontAlgn="base" hangingPunct="1">
        <a:spcBef>
          <a:spcPct val="0"/>
        </a:spcBef>
        <a:spcAft>
          <a:spcPct val="0"/>
        </a:spcAft>
        <a:defRPr sz="2000" b="1">
          <a:solidFill>
            <a:srgbClr val="404040"/>
          </a:solidFill>
          <a:latin typeface="Trebuchet MS" pitchFamily="34" charset="0"/>
        </a:defRPr>
      </a:lvl2pPr>
      <a:lvl3pPr algn="l" rtl="0" eaLnBrk="1" fontAlgn="base" hangingPunct="1">
        <a:spcBef>
          <a:spcPct val="0"/>
        </a:spcBef>
        <a:spcAft>
          <a:spcPct val="0"/>
        </a:spcAft>
        <a:defRPr sz="2000" b="1">
          <a:solidFill>
            <a:srgbClr val="404040"/>
          </a:solidFill>
          <a:latin typeface="Trebuchet MS" pitchFamily="34" charset="0"/>
        </a:defRPr>
      </a:lvl3pPr>
      <a:lvl4pPr algn="l" rtl="0" eaLnBrk="1" fontAlgn="base" hangingPunct="1">
        <a:spcBef>
          <a:spcPct val="0"/>
        </a:spcBef>
        <a:spcAft>
          <a:spcPct val="0"/>
        </a:spcAft>
        <a:defRPr sz="2000" b="1">
          <a:solidFill>
            <a:srgbClr val="404040"/>
          </a:solidFill>
          <a:latin typeface="Trebuchet MS" pitchFamily="34" charset="0"/>
        </a:defRPr>
      </a:lvl4pPr>
      <a:lvl5pPr algn="l" rtl="0" eaLnBrk="1" fontAlgn="base" hangingPunct="1">
        <a:spcBef>
          <a:spcPct val="0"/>
        </a:spcBef>
        <a:spcAft>
          <a:spcPct val="0"/>
        </a:spcAft>
        <a:defRPr sz="2000" b="1">
          <a:solidFill>
            <a:srgbClr val="404040"/>
          </a:solidFill>
          <a:latin typeface="Trebuchet MS" pitchFamily="34" charset="0"/>
        </a:defRPr>
      </a:lvl5pPr>
      <a:lvl6pPr marL="348389" algn="l" rtl="0" eaLnBrk="1" fontAlgn="base" hangingPunct="1">
        <a:spcBef>
          <a:spcPct val="0"/>
        </a:spcBef>
        <a:spcAft>
          <a:spcPct val="0"/>
        </a:spcAft>
        <a:defRPr sz="2000" b="1">
          <a:solidFill>
            <a:srgbClr val="404040"/>
          </a:solidFill>
          <a:latin typeface="Trebuchet MS" pitchFamily="34" charset="0"/>
        </a:defRPr>
      </a:lvl6pPr>
      <a:lvl7pPr marL="696777" algn="l" rtl="0" eaLnBrk="1" fontAlgn="base" hangingPunct="1">
        <a:spcBef>
          <a:spcPct val="0"/>
        </a:spcBef>
        <a:spcAft>
          <a:spcPct val="0"/>
        </a:spcAft>
        <a:defRPr sz="2000" b="1">
          <a:solidFill>
            <a:srgbClr val="404040"/>
          </a:solidFill>
          <a:latin typeface="Trebuchet MS" pitchFamily="34" charset="0"/>
        </a:defRPr>
      </a:lvl7pPr>
      <a:lvl8pPr marL="1045165" algn="l" rtl="0" eaLnBrk="1" fontAlgn="base" hangingPunct="1">
        <a:spcBef>
          <a:spcPct val="0"/>
        </a:spcBef>
        <a:spcAft>
          <a:spcPct val="0"/>
        </a:spcAft>
        <a:defRPr sz="2000" b="1">
          <a:solidFill>
            <a:srgbClr val="404040"/>
          </a:solidFill>
          <a:latin typeface="Trebuchet MS" pitchFamily="34" charset="0"/>
        </a:defRPr>
      </a:lvl8pPr>
      <a:lvl9pPr marL="1393554" algn="l" rtl="0" eaLnBrk="1" fontAlgn="base" hangingPunct="1">
        <a:spcBef>
          <a:spcPct val="0"/>
        </a:spcBef>
        <a:spcAft>
          <a:spcPct val="0"/>
        </a:spcAft>
        <a:defRPr sz="2000" b="1">
          <a:solidFill>
            <a:srgbClr val="404040"/>
          </a:solidFill>
          <a:latin typeface="Trebuchet MS" pitchFamily="34" charset="0"/>
        </a:defRPr>
      </a:lvl9pPr>
    </p:titleStyle>
    <p:bodyStyle>
      <a:lvl1pPr marL="180975" indent="-180975" algn="l" rtl="0" eaLnBrk="1" fontAlgn="base" hangingPunct="1">
        <a:spcBef>
          <a:spcPts val="600"/>
        </a:spcBef>
        <a:spcAft>
          <a:spcPts val="0"/>
        </a:spcAft>
        <a:buClrTx/>
        <a:buSzPct val="120000"/>
        <a:buFontTx/>
        <a:buBlip>
          <a:blip r:embed="rId37"/>
        </a:buBlip>
        <a:defRPr sz="1500">
          <a:solidFill>
            <a:schemeClr val="tx1"/>
          </a:solidFill>
          <a:latin typeface="Trebuchet MS" panose="020B0603020202020204" pitchFamily="34" charset="0"/>
          <a:ea typeface="+mn-ea"/>
          <a:cs typeface="Trebuchet MS" panose="020B0502040204020203" pitchFamily="34" charset="0"/>
        </a:defRPr>
      </a:lvl1pPr>
      <a:lvl2pPr marL="361950" indent="-180975" algn="l" rtl="0" eaLnBrk="1" fontAlgn="base" hangingPunct="1">
        <a:spcBef>
          <a:spcPts val="300"/>
        </a:spcBef>
        <a:spcAft>
          <a:spcPts val="0"/>
        </a:spcAft>
        <a:buClrTx/>
        <a:buFont typeface="Trebuchet MS" panose="020B0603020202020204" pitchFamily="34" charset="0"/>
        <a:buChar char="•"/>
        <a:defRPr sz="1400">
          <a:solidFill>
            <a:schemeClr val="tx1"/>
          </a:solidFill>
          <a:latin typeface="Trebuchet MS" panose="020B0603020202020204" pitchFamily="34" charset="0"/>
          <a:cs typeface="Trebuchet MS" panose="020B0502040204020203" pitchFamily="34" charset="0"/>
        </a:defRPr>
      </a:lvl2pPr>
      <a:lvl3pPr marL="538163" indent="-131763" algn="l" rtl="0" eaLnBrk="1" fontAlgn="base" hangingPunct="1">
        <a:spcBef>
          <a:spcPts val="300"/>
        </a:spcBef>
        <a:spcAft>
          <a:spcPts val="0"/>
        </a:spcAft>
        <a:buClrTx/>
        <a:buFont typeface="Trebuchet MS" pitchFamily="34" charset="0"/>
        <a:buChar char="­"/>
        <a:defRPr sz="1200">
          <a:solidFill>
            <a:schemeClr val="tx1"/>
          </a:solidFill>
          <a:latin typeface="Trebuchet MS" panose="020B0603020202020204" pitchFamily="34" charset="0"/>
          <a:cs typeface="Trebuchet MS" panose="020B0502040204020203" pitchFamily="34" charset="0"/>
        </a:defRPr>
      </a:lvl3pPr>
      <a:lvl4pPr marL="631825" indent="-85725" algn="l" rtl="0" eaLnBrk="1" fontAlgn="base" hangingPunct="1">
        <a:spcBef>
          <a:spcPts val="300"/>
        </a:spcBef>
        <a:spcAft>
          <a:spcPts val="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4pPr>
      <a:lvl5pPr marL="715963" indent="-84138" algn="l" rtl="0" eaLnBrk="1" fontAlgn="base" hangingPunct="1">
        <a:spcBef>
          <a:spcPts val="300"/>
        </a:spcBef>
        <a:spcAft>
          <a:spcPts val="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5pPr>
      <a:lvl6pPr marL="1093553"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6pPr>
      <a:lvl7pPr marL="1441942"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7pPr>
      <a:lvl8pPr marL="1790331"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8pPr>
      <a:lvl9pPr marL="2138719"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9pPr>
    </p:bodyStyle>
    <p:otherStyle>
      <a:defPPr>
        <a:defRPr lang="en-US"/>
      </a:defPPr>
      <a:lvl1pPr marL="0" algn="l" defTabSz="696777" rtl="0" eaLnBrk="1" latinLnBrk="0" hangingPunct="1">
        <a:defRPr sz="1400" kern="1200">
          <a:solidFill>
            <a:schemeClr val="tx1"/>
          </a:solidFill>
          <a:latin typeface="Trebuchet MS"/>
          <a:ea typeface="+mn-ea"/>
          <a:cs typeface="+mn-cs"/>
        </a:defRPr>
      </a:lvl1pPr>
      <a:lvl2pPr marL="348389" algn="l" defTabSz="696777" rtl="0" eaLnBrk="1" latinLnBrk="0" hangingPunct="1">
        <a:defRPr sz="1400" kern="1200">
          <a:solidFill>
            <a:schemeClr val="tx1"/>
          </a:solidFill>
          <a:latin typeface="Trebuchet MS"/>
          <a:ea typeface="+mn-ea"/>
          <a:cs typeface="+mn-cs"/>
        </a:defRPr>
      </a:lvl2pPr>
      <a:lvl3pPr marL="696777" algn="l" defTabSz="696777" rtl="0" eaLnBrk="1" latinLnBrk="0" hangingPunct="1">
        <a:defRPr sz="1400" kern="1200">
          <a:solidFill>
            <a:schemeClr val="tx1"/>
          </a:solidFill>
          <a:latin typeface="Trebuchet MS"/>
          <a:ea typeface="+mn-ea"/>
          <a:cs typeface="+mn-cs"/>
        </a:defRPr>
      </a:lvl3pPr>
      <a:lvl4pPr marL="1045165" algn="l" defTabSz="696777" rtl="0" eaLnBrk="1" latinLnBrk="0" hangingPunct="1">
        <a:defRPr sz="1400" kern="1200">
          <a:solidFill>
            <a:schemeClr val="tx1"/>
          </a:solidFill>
          <a:latin typeface="Trebuchet MS"/>
          <a:ea typeface="+mn-ea"/>
          <a:cs typeface="+mn-cs"/>
        </a:defRPr>
      </a:lvl4pPr>
      <a:lvl5pPr marL="1393554" algn="l" defTabSz="696777" rtl="0" eaLnBrk="1" latinLnBrk="0" hangingPunct="1">
        <a:defRPr sz="1400" kern="1200">
          <a:solidFill>
            <a:schemeClr val="tx1"/>
          </a:solidFill>
          <a:latin typeface="Trebuchet MS"/>
          <a:ea typeface="+mn-ea"/>
          <a:cs typeface="+mn-cs"/>
        </a:defRPr>
      </a:lvl5pPr>
      <a:lvl6pPr marL="1741943" algn="l" defTabSz="696777" rtl="0" eaLnBrk="1" latinLnBrk="0" hangingPunct="1">
        <a:defRPr sz="1400" kern="1200">
          <a:solidFill>
            <a:schemeClr val="tx1"/>
          </a:solidFill>
          <a:latin typeface="Trebuchet MS"/>
          <a:ea typeface="+mn-ea"/>
          <a:cs typeface="+mn-cs"/>
        </a:defRPr>
      </a:lvl6pPr>
      <a:lvl7pPr marL="2090332" algn="l" defTabSz="696777" rtl="0" eaLnBrk="1" latinLnBrk="0" hangingPunct="1">
        <a:defRPr sz="1400" kern="1200">
          <a:solidFill>
            <a:schemeClr val="tx1"/>
          </a:solidFill>
          <a:latin typeface="Trebuchet MS"/>
          <a:ea typeface="+mn-ea"/>
          <a:cs typeface="+mn-cs"/>
        </a:defRPr>
      </a:lvl7pPr>
      <a:lvl8pPr marL="2438721" algn="l" defTabSz="696777" rtl="0" eaLnBrk="1" latinLnBrk="0" hangingPunct="1">
        <a:defRPr sz="1400" kern="1200">
          <a:solidFill>
            <a:schemeClr val="tx1"/>
          </a:solidFill>
          <a:latin typeface="Trebuchet MS"/>
          <a:ea typeface="+mn-ea"/>
          <a:cs typeface="+mn-cs"/>
        </a:defRPr>
      </a:lvl8pPr>
      <a:lvl9pPr marL="2787109" algn="l" defTabSz="696777" rtl="0" eaLnBrk="1" latinLnBrk="0" hangingPunct="1">
        <a:defRPr sz="1400" kern="1200">
          <a:solidFill>
            <a:schemeClr val="tx1"/>
          </a:solidFill>
          <a:latin typeface="Trebuchet MS"/>
          <a:ea typeface="+mn-ea"/>
          <a:cs typeface="+mn-cs"/>
        </a:defRPr>
      </a:lvl9pPr>
    </p:otherStyle>
  </p:txStyles>
  <p:extLst mod="1">
    <p:ext uri="{27BBF7A9-308A-43DC-89C8-2F10F3537804}">
      <p15:sldGuideLst xmlns:p15="http://schemas.microsoft.com/office/powerpoint/2012/main">
        <p15:guide id="1" pos="2880" userDrawn="1">
          <p15:clr>
            <a:srgbClr val="F26B43"/>
          </p15:clr>
        </p15:guide>
        <p15:guide id="2" pos="2721" userDrawn="1">
          <p15:clr>
            <a:srgbClr val="F26B43"/>
          </p15:clr>
        </p15:guide>
        <p15:guide id="3" pos="136" userDrawn="1">
          <p15:clr>
            <a:srgbClr val="F26B43"/>
          </p15:clr>
        </p15:guide>
        <p15:guide id="4" pos="5602" userDrawn="1">
          <p15:clr>
            <a:srgbClr val="F26B43"/>
          </p15:clr>
        </p15:guide>
        <p15:guide id="5" orient="horz" pos="100" userDrawn="1">
          <p15:clr>
            <a:srgbClr val="F26B43"/>
          </p15:clr>
        </p15:guide>
        <p15:guide id="6" orient="horz" pos="373" userDrawn="1">
          <p15:clr>
            <a:srgbClr val="F26B43"/>
          </p15:clr>
        </p15:guide>
        <p15:guide id="7" orient="horz" pos="690" userDrawn="1">
          <p15:clr>
            <a:srgbClr val="F26B43"/>
          </p15:clr>
        </p15:guide>
        <p15:guide id="8" orient="horz" pos="2595" userDrawn="1">
          <p15:clr>
            <a:srgbClr val="F26B43"/>
          </p15:clr>
        </p15:guide>
        <p15:guide id="9" pos="7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fr-FR"/>
              <a:t>Modifiez le style du titre</a:t>
            </a:r>
            <a:endParaRPr lang="en-US"/>
          </a:p>
        </p:txBody>
      </p:sp>
      <p:sp>
        <p:nvSpPr>
          <p:cNvPr id="3" name="Espace réservé du texte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Espace réservé de la date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AEAC667-733B-420B-92B0-84FB8C7E2BDD}" type="datetimeFigureOut">
              <a:rPr lang="en-US" smtClean="0"/>
              <a:t>9/1/2019</a:t>
            </a:fld>
            <a:endParaRPr lang="en-US"/>
          </a:p>
        </p:txBody>
      </p:sp>
      <p:sp>
        <p:nvSpPr>
          <p:cNvPr id="5" name="Espace réservé du pied de page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Espace réservé du numéro de diapositive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0AECDFB7-5985-4451-A7B0-DF273FF2DB96}" type="slidenum">
              <a:rPr lang="en-US" smtClean="0"/>
              <a:t>‹Nº›</a:t>
            </a:fld>
            <a:endParaRPr lang="en-US"/>
          </a:p>
        </p:txBody>
      </p:sp>
    </p:spTree>
    <p:extLst>
      <p:ext uri="{BB962C8B-B14F-4D97-AF65-F5344CB8AC3E}">
        <p14:creationId xmlns:p14="http://schemas.microsoft.com/office/powerpoint/2010/main" val="370580968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microsoft.com/office/2007/relationships/hdphoto" Target="../media/hdphoto4.wdp"/><Relationship Id="rId13" Type="http://schemas.microsoft.com/office/2007/relationships/hdphoto" Target="../media/hdphoto6.wdp"/><Relationship Id="rId3" Type="http://schemas.openxmlformats.org/officeDocument/2006/relationships/slideLayout" Target="../slideLayouts/slideLayout15.xml"/><Relationship Id="rId7" Type="http://schemas.openxmlformats.org/officeDocument/2006/relationships/image" Target="../media/image79.png"/><Relationship Id="rId12" Type="http://schemas.openxmlformats.org/officeDocument/2006/relationships/image" Target="../media/image81.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8.emf"/><Relationship Id="rId11" Type="http://schemas.openxmlformats.org/officeDocument/2006/relationships/image" Target="../media/image49.png"/><Relationship Id="rId5" Type="http://schemas.openxmlformats.org/officeDocument/2006/relationships/image" Target="../media/image77.emf"/><Relationship Id="rId10" Type="http://schemas.microsoft.com/office/2007/relationships/hdphoto" Target="../media/hdphoto5.wdp"/><Relationship Id="rId4" Type="http://schemas.openxmlformats.org/officeDocument/2006/relationships/image" Target="../media/image41.jpeg"/><Relationship Id="rId9" Type="http://schemas.openxmlformats.org/officeDocument/2006/relationships/image" Target="../media/image8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7.xml"/><Relationship Id="rId1" Type="http://schemas.openxmlformats.org/officeDocument/2006/relationships/tags" Target="../tags/tag10.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41.jpeg"/></Relationships>
</file>

<file path=ppt/slides/_rels/slide17.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image" Target="../media/image84.jpeg"/><Relationship Id="rId7" Type="http://schemas.openxmlformats.org/officeDocument/2006/relationships/image" Target="../media/image88.png"/><Relationship Id="rId2" Type="http://schemas.openxmlformats.org/officeDocument/2006/relationships/notesSlide" Target="../notesSlides/notesSlide10.xml"/><Relationship Id="rId1" Type="http://schemas.openxmlformats.org/officeDocument/2006/relationships/slideLayout" Target="../slideLayouts/slideLayout33.xml"/><Relationship Id="rId6" Type="http://schemas.openxmlformats.org/officeDocument/2006/relationships/image" Target="../media/image87.png"/><Relationship Id="rId5" Type="http://schemas.openxmlformats.org/officeDocument/2006/relationships/image" Target="../media/image86.png"/><Relationship Id="rId4" Type="http://schemas.openxmlformats.org/officeDocument/2006/relationships/image" Target="../media/image8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1.xml"/><Relationship Id="rId1" Type="http://schemas.openxmlformats.org/officeDocument/2006/relationships/slideLayout" Target="../slideLayouts/slideLayout35.xml"/><Relationship Id="rId5" Type="http://schemas.openxmlformats.org/officeDocument/2006/relationships/image" Target="../media/image92.png"/><Relationship Id="rId4" Type="http://schemas.openxmlformats.org/officeDocument/2006/relationships/image" Target="../media/image91.png"/></Relationships>
</file>

<file path=ppt/slides/_rels/slide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28.png"/><Relationship Id="rId4" Type="http://schemas.openxmlformats.org/officeDocument/2006/relationships/image" Target="../media/image27.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slideLayout" Target="../slideLayouts/slideLayout15.xml"/><Relationship Id="rId7" Type="http://schemas.openxmlformats.org/officeDocument/2006/relationships/image" Target="../media/image93.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78.emf"/><Relationship Id="rId5" Type="http://schemas.openxmlformats.org/officeDocument/2006/relationships/image" Target="../media/image77.emf"/><Relationship Id="rId10" Type="http://schemas.openxmlformats.org/officeDocument/2006/relationships/image" Target="../media/image96.jpeg"/><Relationship Id="rId4" Type="http://schemas.openxmlformats.org/officeDocument/2006/relationships/image" Target="../media/image41.jpeg"/><Relationship Id="rId9" Type="http://schemas.openxmlformats.org/officeDocument/2006/relationships/image" Target="../media/image95.jpeg"/></Relationships>
</file>

<file path=ppt/slides/_rels/slide22.xml.rels><?xml version="1.0" encoding="UTF-8" standalone="yes"?>
<Relationships xmlns="http://schemas.openxmlformats.org/package/2006/relationships"><Relationship Id="rId8" Type="http://schemas.openxmlformats.org/officeDocument/2006/relationships/image" Target="../media/image99.png"/><Relationship Id="rId3" Type="http://schemas.openxmlformats.org/officeDocument/2006/relationships/slideLayout" Target="../slideLayouts/slideLayout34.xml"/><Relationship Id="rId7" Type="http://schemas.openxmlformats.org/officeDocument/2006/relationships/image" Target="../media/image98.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3.png"/><Relationship Id="rId5" Type="http://schemas.openxmlformats.org/officeDocument/2006/relationships/image" Target="../media/image97.png"/><Relationship Id="rId4" Type="http://schemas.openxmlformats.org/officeDocument/2006/relationships/notesSlide" Target="../notesSlides/notesSlide12.xml"/><Relationship Id="rId9" Type="http://schemas.openxmlformats.org/officeDocument/2006/relationships/image" Target="../media/image1.png"/></Relationships>
</file>

<file path=ppt/slides/_rels/slide23.xml.rels><?xml version="1.0" encoding="UTF-8" standalone="yes"?>
<Relationships xmlns="http://schemas.openxmlformats.org/package/2006/relationships"><Relationship Id="rId2" Type="http://schemas.openxmlformats.org/officeDocument/2006/relationships/hyperlink" Target="https://vrs-automation.ale-custo.com/vrs/" TargetMode="External"/><Relationship Id="rId1" Type="http://schemas.openxmlformats.org/officeDocument/2006/relationships/slideLayout" Target="../slideLayouts/slideLayout26.xml"/></Relationships>
</file>

<file path=ppt/slides/_rels/slide24.xml.rels><?xml version="1.0" encoding="UTF-8" standalone="yes"?>
<Relationships xmlns="http://schemas.openxmlformats.org/package/2006/relationships"><Relationship Id="rId3" Type="http://schemas.openxmlformats.org/officeDocument/2006/relationships/hyperlink" Target="http://www.linkedin.com/company/3232692?trk=tyah" TargetMode="External"/><Relationship Id="rId2" Type="http://schemas.openxmlformats.org/officeDocument/2006/relationships/notesSlide" Target="../notesSlides/notesSlide13.xml"/><Relationship Id="rId1" Type="http://schemas.openxmlformats.org/officeDocument/2006/relationships/slideLayout" Target="../slideLayouts/slideLayout19.xml"/><Relationship Id="rId6" Type="http://schemas.openxmlformats.org/officeDocument/2006/relationships/hyperlink" Target="http://www.youtube.com/user/enterpriseALU" TargetMode="External"/><Relationship Id="rId5" Type="http://schemas.openxmlformats.org/officeDocument/2006/relationships/hyperlink" Target="http://www.facebook.com/aluenterprise" TargetMode="External"/><Relationship Id="rId4" Type="http://schemas.openxmlformats.org/officeDocument/2006/relationships/hyperlink" Target="http://www.twitter.com/aluenterprise"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34.png"/><Relationship Id="rId13" Type="http://schemas.microsoft.com/office/2007/relationships/hdphoto" Target="../media/hdphoto2.wdp"/><Relationship Id="rId3" Type="http://schemas.openxmlformats.org/officeDocument/2006/relationships/image" Target="../media/image29.jpeg"/><Relationship Id="rId7" Type="http://schemas.openxmlformats.org/officeDocument/2006/relationships/image" Target="../media/image33.jpeg"/><Relationship Id="rId12" Type="http://schemas.openxmlformats.org/officeDocument/2006/relationships/image" Target="../media/image37.png"/><Relationship Id="rId2" Type="http://schemas.openxmlformats.org/officeDocument/2006/relationships/notesSlide" Target="../notesSlides/notesSlide2.xml"/><Relationship Id="rId16" Type="http://schemas.openxmlformats.org/officeDocument/2006/relationships/image" Target="../media/image40.png"/><Relationship Id="rId1" Type="http://schemas.openxmlformats.org/officeDocument/2006/relationships/slideLayout" Target="../slideLayouts/slideLayout32.xml"/><Relationship Id="rId6" Type="http://schemas.openxmlformats.org/officeDocument/2006/relationships/image" Target="../media/image32.gif"/><Relationship Id="rId11" Type="http://schemas.microsoft.com/office/2007/relationships/hdphoto" Target="../media/hdphoto1.wdp"/><Relationship Id="rId5" Type="http://schemas.openxmlformats.org/officeDocument/2006/relationships/image" Target="../media/image31.jpeg"/><Relationship Id="rId15" Type="http://schemas.openxmlformats.org/officeDocument/2006/relationships/image" Target="../media/image39.jpeg"/><Relationship Id="rId10" Type="http://schemas.openxmlformats.org/officeDocument/2006/relationships/image" Target="../media/image36.png"/><Relationship Id="rId4" Type="http://schemas.openxmlformats.org/officeDocument/2006/relationships/image" Target="../media/image30.jpeg"/><Relationship Id="rId9" Type="http://schemas.openxmlformats.org/officeDocument/2006/relationships/image" Target="../media/image35.jpeg"/><Relationship Id="rId14" Type="http://schemas.openxmlformats.org/officeDocument/2006/relationships/image" Target="../media/image3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4.png"/><Relationship Id="rId2" Type="http://schemas.openxmlformats.org/officeDocument/2006/relationships/slideLayout" Target="../slideLayouts/slideLayout37.xml"/><Relationship Id="rId1" Type="http://schemas.openxmlformats.org/officeDocument/2006/relationships/tags" Target="../tags/tag7.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image" Target="../media/image45.jpeg"/><Relationship Id="rId7"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48.png"/><Relationship Id="rId5" Type="http://schemas.openxmlformats.org/officeDocument/2006/relationships/image" Target="../media/image47.jpeg"/><Relationship Id="rId10" Type="http://schemas.openxmlformats.org/officeDocument/2006/relationships/image" Target="../media/image52.jpeg"/><Relationship Id="rId4" Type="http://schemas.openxmlformats.org/officeDocument/2006/relationships/image" Target="../media/image46.jpeg"/><Relationship Id="rId9" Type="http://schemas.openxmlformats.org/officeDocument/2006/relationships/image" Target="../media/image51.jpeg"/></Relationships>
</file>

<file path=ppt/slides/_rels/slide7.xml.rels><?xml version="1.0" encoding="UTF-8" standalone="yes"?>
<Relationships xmlns="http://schemas.openxmlformats.org/package/2006/relationships"><Relationship Id="rId8" Type="http://schemas.openxmlformats.org/officeDocument/2006/relationships/image" Target="../media/image58.png"/><Relationship Id="rId13" Type="http://schemas.openxmlformats.org/officeDocument/2006/relationships/image" Target="../media/image63.jpeg"/><Relationship Id="rId3" Type="http://schemas.openxmlformats.org/officeDocument/2006/relationships/image" Target="../media/image53.jpeg"/><Relationship Id="rId7" Type="http://schemas.openxmlformats.org/officeDocument/2006/relationships/image" Target="../media/image57.jpeg"/><Relationship Id="rId12" Type="http://schemas.openxmlformats.org/officeDocument/2006/relationships/image" Target="../media/image62.jpeg"/><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image" Target="../media/image56.jpeg"/><Relationship Id="rId11" Type="http://schemas.openxmlformats.org/officeDocument/2006/relationships/image" Target="../media/image61.jpeg"/><Relationship Id="rId5" Type="http://schemas.openxmlformats.org/officeDocument/2006/relationships/image" Target="../media/image55.jpeg"/><Relationship Id="rId10" Type="http://schemas.openxmlformats.org/officeDocument/2006/relationships/image" Target="../media/image60.jpeg"/><Relationship Id="rId4" Type="http://schemas.openxmlformats.org/officeDocument/2006/relationships/image" Target="../media/image54.jpeg"/><Relationship Id="rId9" Type="http://schemas.openxmlformats.org/officeDocument/2006/relationships/image" Target="../media/image59.png"/></Relationships>
</file>

<file path=ppt/slides/_rels/slide8.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image" Target="../media/image64.jpeg"/><Relationship Id="rId7" Type="http://schemas.microsoft.com/office/2007/relationships/hdphoto" Target="../media/hdphoto3.wdp"/><Relationship Id="rId12" Type="http://schemas.openxmlformats.org/officeDocument/2006/relationships/image" Target="../media/image72.png"/><Relationship Id="rId2" Type="http://schemas.openxmlformats.org/officeDocument/2006/relationships/notesSlide" Target="../notesSlides/notesSlide6.xml"/><Relationship Id="rId1" Type="http://schemas.openxmlformats.org/officeDocument/2006/relationships/slideLayout" Target="../slideLayouts/slideLayout15.xml"/><Relationship Id="rId6" Type="http://schemas.openxmlformats.org/officeDocument/2006/relationships/image" Target="../media/image67.png"/><Relationship Id="rId11" Type="http://schemas.openxmlformats.org/officeDocument/2006/relationships/image" Target="../media/image71.png"/><Relationship Id="rId5" Type="http://schemas.openxmlformats.org/officeDocument/2006/relationships/image" Target="../media/image66.jpeg"/><Relationship Id="rId10" Type="http://schemas.openxmlformats.org/officeDocument/2006/relationships/image" Target="../media/image70.jpeg"/><Relationship Id="rId4" Type="http://schemas.openxmlformats.org/officeDocument/2006/relationships/image" Target="../media/image65.jpeg"/><Relationship Id="rId9" Type="http://schemas.openxmlformats.org/officeDocument/2006/relationships/image" Target="../media/image69.jpeg"/></Relationships>
</file>

<file path=ppt/slides/_rels/slide9.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image" Target="../media/image7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53989" y="1855355"/>
            <a:ext cx="3965945" cy="804859"/>
          </a:xfrm>
        </p:spPr>
        <p:txBody>
          <a:bodyPr/>
          <a:lstStyle/>
          <a:p>
            <a:r>
              <a:rPr lang="en-US" dirty="0"/>
              <a:t>La </a:t>
            </a:r>
            <a:r>
              <a:rPr lang="en-US" dirty="0" err="1"/>
              <a:t>Explosión</a:t>
            </a:r>
            <a:r>
              <a:rPr lang="en-US" dirty="0"/>
              <a:t> de IoT </a:t>
            </a:r>
            <a:r>
              <a:rPr lang="en-US" dirty="0" err="1"/>
              <a:t>en</a:t>
            </a:r>
            <a:r>
              <a:rPr lang="en-US" dirty="0"/>
              <a:t> el Campus</a:t>
            </a:r>
          </a:p>
        </p:txBody>
      </p:sp>
      <p:sp>
        <p:nvSpPr>
          <p:cNvPr id="3" name="Subtitle 2"/>
          <p:cNvSpPr>
            <a:spLocks noGrp="1"/>
          </p:cNvSpPr>
          <p:nvPr>
            <p:ph type="subTitle" idx="1"/>
          </p:nvPr>
        </p:nvSpPr>
        <p:spPr>
          <a:xfrm>
            <a:off x="4553989" y="3654750"/>
            <a:ext cx="4314945" cy="618872"/>
          </a:xfrm>
        </p:spPr>
        <p:txBody>
          <a:bodyPr/>
          <a:lstStyle/>
          <a:p>
            <a:r>
              <a:rPr lang="en-US" dirty="0"/>
              <a:t>Sep 2019</a:t>
            </a:r>
          </a:p>
          <a:p>
            <a:r>
              <a:rPr lang="en-US" dirty="0"/>
              <a:t>Jorge Alberto Villa</a:t>
            </a:r>
          </a:p>
          <a:p>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68613" y="2703015"/>
            <a:ext cx="2326255" cy="576836"/>
          </a:xfrm>
          <a:prstGeom prst="rect">
            <a:avLst/>
          </a:prstGeom>
        </p:spPr>
      </p:pic>
      <p:sp>
        <p:nvSpPr>
          <p:cNvPr id="7" name="Title 1">
            <a:extLst>
              <a:ext uri="{FF2B5EF4-FFF2-40B4-BE49-F238E27FC236}">
                <a16:creationId xmlns:a16="http://schemas.microsoft.com/office/drawing/2014/main" id="{6E3952C8-A99F-4B69-8EB5-32304D94F9CB}"/>
              </a:ext>
            </a:extLst>
          </p:cNvPr>
          <p:cNvSpPr txBox="1">
            <a:spLocks/>
          </p:cNvSpPr>
          <p:nvPr/>
        </p:nvSpPr>
        <p:spPr bwMode="auto">
          <a:xfrm>
            <a:off x="4553989" y="2833550"/>
            <a:ext cx="4217871" cy="804859"/>
          </a:xfrm>
          <a:prstGeom prst="rect">
            <a:avLst/>
          </a:prstGeom>
          <a:noFill/>
          <a:ln w="9525" algn="ctr">
            <a:noFill/>
            <a:miter lim="800000"/>
            <a:headEnd/>
            <a:tailEnd/>
          </a:ln>
          <a:effectLst/>
        </p:spPr>
        <p:txBody>
          <a:bodyPr vert="horz" wrap="square" lIns="69677" tIns="34839" rIns="69677" bIns="34839" numCol="1" anchor="b" anchorCtr="0" compatLnSpc="1">
            <a:prstTxWarp prst="textNoShape">
              <a:avLst/>
            </a:prstTxWarp>
          </a:bodyPr>
          <a:lstStyle>
            <a:lvl1pPr algn="l" rtl="0" eaLnBrk="1" fontAlgn="base" hangingPunct="1">
              <a:spcBef>
                <a:spcPct val="0"/>
              </a:spcBef>
              <a:spcAft>
                <a:spcPct val="0"/>
              </a:spcAft>
              <a:defRPr sz="2800" b="1" cap="none">
                <a:solidFill>
                  <a:schemeClr val="bg1"/>
                </a:solidFill>
                <a:latin typeface="Trebuchet MS" panose="020B0603020202020204" pitchFamily="34" charset="0"/>
                <a:ea typeface="+mj-ea"/>
                <a:cs typeface="Trebuchet MS" panose="020B0502040204020203" pitchFamily="34" charset="0"/>
              </a:defRPr>
            </a:lvl1pPr>
            <a:lvl2pPr algn="l" rtl="0" eaLnBrk="1" fontAlgn="base" hangingPunct="1">
              <a:spcBef>
                <a:spcPct val="0"/>
              </a:spcBef>
              <a:spcAft>
                <a:spcPct val="0"/>
              </a:spcAft>
              <a:defRPr sz="2000" b="1">
                <a:solidFill>
                  <a:srgbClr val="404040"/>
                </a:solidFill>
                <a:latin typeface="Trebuchet MS" pitchFamily="34" charset="0"/>
              </a:defRPr>
            </a:lvl2pPr>
            <a:lvl3pPr algn="l" rtl="0" eaLnBrk="1" fontAlgn="base" hangingPunct="1">
              <a:spcBef>
                <a:spcPct val="0"/>
              </a:spcBef>
              <a:spcAft>
                <a:spcPct val="0"/>
              </a:spcAft>
              <a:defRPr sz="2000" b="1">
                <a:solidFill>
                  <a:srgbClr val="404040"/>
                </a:solidFill>
                <a:latin typeface="Trebuchet MS" pitchFamily="34" charset="0"/>
              </a:defRPr>
            </a:lvl3pPr>
            <a:lvl4pPr algn="l" rtl="0" eaLnBrk="1" fontAlgn="base" hangingPunct="1">
              <a:spcBef>
                <a:spcPct val="0"/>
              </a:spcBef>
              <a:spcAft>
                <a:spcPct val="0"/>
              </a:spcAft>
              <a:defRPr sz="2000" b="1">
                <a:solidFill>
                  <a:srgbClr val="404040"/>
                </a:solidFill>
                <a:latin typeface="Trebuchet MS" pitchFamily="34" charset="0"/>
              </a:defRPr>
            </a:lvl4pPr>
            <a:lvl5pPr algn="l" rtl="0" eaLnBrk="1" fontAlgn="base" hangingPunct="1">
              <a:spcBef>
                <a:spcPct val="0"/>
              </a:spcBef>
              <a:spcAft>
                <a:spcPct val="0"/>
              </a:spcAft>
              <a:defRPr sz="2000" b="1">
                <a:solidFill>
                  <a:srgbClr val="404040"/>
                </a:solidFill>
                <a:latin typeface="Trebuchet MS" pitchFamily="34" charset="0"/>
              </a:defRPr>
            </a:lvl5pPr>
            <a:lvl6pPr marL="348389" algn="l" rtl="0" eaLnBrk="1" fontAlgn="base" hangingPunct="1">
              <a:spcBef>
                <a:spcPct val="0"/>
              </a:spcBef>
              <a:spcAft>
                <a:spcPct val="0"/>
              </a:spcAft>
              <a:defRPr sz="2000" b="1">
                <a:solidFill>
                  <a:srgbClr val="404040"/>
                </a:solidFill>
                <a:latin typeface="Trebuchet MS" pitchFamily="34" charset="0"/>
              </a:defRPr>
            </a:lvl6pPr>
            <a:lvl7pPr marL="696777" algn="l" rtl="0" eaLnBrk="1" fontAlgn="base" hangingPunct="1">
              <a:spcBef>
                <a:spcPct val="0"/>
              </a:spcBef>
              <a:spcAft>
                <a:spcPct val="0"/>
              </a:spcAft>
              <a:defRPr sz="2000" b="1">
                <a:solidFill>
                  <a:srgbClr val="404040"/>
                </a:solidFill>
                <a:latin typeface="Trebuchet MS" pitchFamily="34" charset="0"/>
              </a:defRPr>
            </a:lvl7pPr>
            <a:lvl8pPr marL="1045165" algn="l" rtl="0" eaLnBrk="1" fontAlgn="base" hangingPunct="1">
              <a:spcBef>
                <a:spcPct val="0"/>
              </a:spcBef>
              <a:spcAft>
                <a:spcPct val="0"/>
              </a:spcAft>
              <a:defRPr sz="2000" b="1">
                <a:solidFill>
                  <a:srgbClr val="404040"/>
                </a:solidFill>
                <a:latin typeface="Trebuchet MS" pitchFamily="34" charset="0"/>
              </a:defRPr>
            </a:lvl8pPr>
            <a:lvl9pPr marL="1393554" algn="l" rtl="0" eaLnBrk="1" fontAlgn="base" hangingPunct="1">
              <a:spcBef>
                <a:spcPct val="0"/>
              </a:spcBef>
              <a:spcAft>
                <a:spcPct val="0"/>
              </a:spcAft>
              <a:defRPr sz="2000" b="1">
                <a:solidFill>
                  <a:srgbClr val="404040"/>
                </a:solidFill>
                <a:latin typeface="Trebuchet MS" pitchFamily="34" charset="0"/>
              </a:defRPr>
            </a:lvl9pPr>
          </a:lstStyle>
          <a:p>
            <a:r>
              <a:rPr lang="es-ES" dirty="0"/>
              <a:t>Como conectar, controlar y asegurar</a:t>
            </a:r>
            <a:endParaRPr lang="es-CO" dirty="0"/>
          </a:p>
        </p:txBody>
      </p:sp>
    </p:spTree>
    <p:extLst>
      <p:ext uri="{BB962C8B-B14F-4D97-AF65-F5344CB8AC3E}">
        <p14:creationId xmlns:p14="http://schemas.microsoft.com/office/powerpoint/2010/main" val="4226080144"/>
      </p:ext>
    </p:extLst>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cceso</a:t>
            </a:r>
            <a:r>
              <a:rPr lang="en-US" dirty="0"/>
              <a:t> para </a:t>
            </a:r>
            <a:r>
              <a:rPr lang="en-US" dirty="0" err="1"/>
              <a:t>todos</a:t>
            </a:r>
            <a:r>
              <a:rPr lang="en-US" dirty="0"/>
              <a:t>!!!</a:t>
            </a:r>
          </a:p>
        </p:txBody>
      </p:sp>
      <p:sp>
        <p:nvSpPr>
          <p:cNvPr id="3" name="Text Placeholder 2"/>
          <p:cNvSpPr>
            <a:spLocks noGrp="1"/>
          </p:cNvSpPr>
          <p:nvPr>
            <p:ph type="body" sz="quarter" idx="10"/>
          </p:nvPr>
        </p:nvSpPr>
        <p:spPr/>
        <p:txBody>
          <a:bodyPr/>
          <a:lstStyle/>
          <a:p>
            <a:endParaRPr lang="en-US"/>
          </a:p>
        </p:txBody>
      </p:sp>
      <p:pic>
        <p:nvPicPr>
          <p:cNvPr id="1028" name="Picture 4" descr="The Internet of ransomware thing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66390" y="930275"/>
            <a:ext cx="4336116" cy="3814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37808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54BF3C9-4366-4243-8C57-612FF194FB26}"/>
              </a:ext>
            </a:extLst>
          </p:cNvPr>
          <p:cNvSpPr>
            <a:spLocks noGrp="1"/>
          </p:cNvSpPr>
          <p:nvPr>
            <p:ph type="title"/>
          </p:nvPr>
        </p:nvSpPr>
        <p:spPr/>
        <p:txBody>
          <a:bodyPr/>
          <a:lstStyle/>
          <a:p>
            <a:r>
              <a:rPr lang="es-CO" dirty="0"/>
              <a:t>Seguridad</a:t>
            </a:r>
          </a:p>
        </p:txBody>
      </p:sp>
      <p:sp>
        <p:nvSpPr>
          <p:cNvPr id="4" name="CuadroTexto 3">
            <a:extLst>
              <a:ext uri="{FF2B5EF4-FFF2-40B4-BE49-F238E27FC236}">
                <a16:creationId xmlns:a16="http://schemas.microsoft.com/office/drawing/2014/main" id="{8B2BB731-14EB-464F-9BD4-9704FFF8766F}"/>
              </a:ext>
            </a:extLst>
          </p:cNvPr>
          <p:cNvSpPr txBox="1"/>
          <p:nvPr/>
        </p:nvSpPr>
        <p:spPr>
          <a:xfrm>
            <a:off x="552893" y="1270113"/>
            <a:ext cx="3232298" cy="1477328"/>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US" dirty="0"/>
              <a:t>La red de </a:t>
            </a:r>
            <a:r>
              <a:rPr lang="en-US" dirty="0" err="1"/>
              <a:t>una</a:t>
            </a:r>
            <a:r>
              <a:rPr lang="en-US" dirty="0"/>
              <a:t> </a:t>
            </a:r>
            <a:r>
              <a:rPr lang="en-US" dirty="0" err="1"/>
              <a:t>universidad</a:t>
            </a:r>
            <a:r>
              <a:rPr lang="en-US" dirty="0"/>
              <a:t> </a:t>
            </a:r>
            <a:r>
              <a:rPr lang="en-US" dirty="0" err="1"/>
              <a:t>fue</a:t>
            </a:r>
            <a:r>
              <a:rPr lang="en-US" dirty="0"/>
              <a:t> </a:t>
            </a:r>
            <a:r>
              <a:rPr lang="en-US" dirty="0" err="1"/>
              <a:t>atacada</a:t>
            </a:r>
            <a:r>
              <a:rPr lang="en-US" dirty="0"/>
              <a:t> </a:t>
            </a:r>
            <a:r>
              <a:rPr lang="en-US" dirty="0" err="1"/>
              <a:t>por</a:t>
            </a:r>
            <a:r>
              <a:rPr lang="en-US" dirty="0"/>
              <a:t> </a:t>
            </a:r>
            <a:r>
              <a:rPr lang="en-US" dirty="0" err="1"/>
              <a:t>su</a:t>
            </a:r>
            <a:r>
              <a:rPr lang="en-US" dirty="0"/>
              <a:t> </a:t>
            </a:r>
            <a:r>
              <a:rPr lang="en-US" dirty="0" err="1"/>
              <a:t>propio</a:t>
            </a:r>
            <a:r>
              <a:rPr lang="en-US" dirty="0"/>
              <a:t> Sistema de 500 </a:t>
            </a:r>
            <a:r>
              <a:rPr lang="en-US" dirty="0" err="1"/>
              <a:t>dispositivos</a:t>
            </a:r>
            <a:r>
              <a:rPr lang="en-US" dirty="0"/>
              <a:t> IoT, </a:t>
            </a:r>
            <a:r>
              <a:rPr lang="en-US" dirty="0" err="1"/>
              <a:t>incluyendo</a:t>
            </a:r>
            <a:r>
              <a:rPr lang="en-US" dirty="0"/>
              <a:t> </a:t>
            </a:r>
            <a:r>
              <a:rPr lang="en-US" dirty="0" err="1"/>
              <a:t>máquinas</a:t>
            </a:r>
            <a:r>
              <a:rPr lang="en-US" dirty="0"/>
              <a:t> de </a:t>
            </a:r>
            <a:r>
              <a:rPr lang="en-US" dirty="0" err="1"/>
              <a:t>venta</a:t>
            </a:r>
            <a:r>
              <a:rPr lang="en-US" dirty="0"/>
              <a:t> y </a:t>
            </a:r>
            <a:r>
              <a:rPr lang="en-US" dirty="0" err="1"/>
              <a:t>luces</a:t>
            </a:r>
            <a:r>
              <a:rPr lang="en-US" dirty="0"/>
              <a:t> </a:t>
            </a:r>
            <a:r>
              <a:rPr lang="en-US" dirty="0" err="1"/>
              <a:t>inteligentes</a:t>
            </a:r>
            <a:endParaRPr lang="es-CO" dirty="0" err="1">
              <a:solidFill>
                <a:schemeClr val="bg1"/>
              </a:solidFill>
              <a:latin typeface="Trebuchet MS"/>
              <a:cs typeface="Trebuchet MS" panose="020B0502040204020203" pitchFamily="34" charset="0"/>
            </a:endParaRPr>
          </a:p>
        </p:txBody>
      </p:sp>
      <p:sp>
        <p:nvSpPr>
          <p:cNvPr id="5" name="CuadroTexto 4">
            <a:extLst>
              <a:ext uri="{FF2B5EF4-FFF2-40B4-BE49-F238E27FC236}">
                <a16:creationId xmlns:a16="http://schemas.microsoft.com/office/drawing/2014/main" id="{B332F296-F4EF-416A-9005-D3BB5C36DFAA}"/>
              </a:ext>
            </a:extLst>
          </p:cNvPr>
          <p:cNvSpPr txBox="1"/>
          <p:nvPr/>
        </p:nvSpPr>
        <p:spPr>
          <a:xfrm>
            <a:off x="1743741" y="3043542"/>
            <a:ext cx="2817628" cy="1200329"/>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en-US" dirty="0" err="1"/>
              <a:t>Supremacistas</a:t>
            </a:r>
            <a:r>
              <a:rPr lang="en-US" dirty="0"/>
              <a:t> </a:t>
            </a:r>
            <a:r>
              <a:rPr lang="en-US" dirty="0" err="1"/>
              <a:t>blancos</a:t>
            </a:r>
            <a:r>
              <a:rPr lang="en-US" dirty="0"/>
              <a:t> </a:t>
            </a:r>
            <a:r>
              <a:rPr lang="en-US" dirty="0" err="1"/>
              <a:t>en</a:t>
            </a:r>
            <a:r>
              <a:rPr lang="en-US" dirty="0"/>
              <a:t> 2017 </a:t>
            </a:r>
            <a:r>
              <a:rPr lang="en-US" dirty="0" err="1"/>
              <a:t>entraron</a:t>
            </a:r>
            <a:r>
              <a:rPr lang="en-US" dirty="0"/>
              <a:t> a la red de </a:t>
            </a:r>
            <a:r>
              <a:rPr lang="en-US" dirty="0" err="1"/>
              <a:t>impresoras</a:t>
            </a:r>
            <a:r>
              <a:rPr lang="en-US" dirty="0"/>
              <a:t> y fax </a:t>
            </a:r>
            <a:r>
              <a:rPr lang="en-US" dirty="0" err="1"/>
              <a:t>en</a:t>
            </a:r>
            <a:r>
              <a:rPr lang="en-US" dirty="0"/>
              <a:t> un </a:t>
            </a:r>
            <a:r>
              <a:rPr lang="en-US" dirty="0" err="1"/>
              <a:t>número</a:t>
            </a:r>
            <a:r>
              <a:rPr lang="en-US" dirty="0"/>
              <a:t> de </a:t>
            </a:r>
            <a:r>
              <a:rPr lang="en-US" dirty="0" err="1"/>
              <a:t>Universidades</a:t>
            </a:r>
            <a:endParaRPr lang="es-CO" dirty="0" err="1">
              <a:solidFill>
                <a:schemeClr val="bg1"/>
              </a:solidFill>
              <a:latin typeface="Trebuchet MS"/>
              <a:cs typeface="Trebuchet MS" panose="020B0502040204020203" pitchFamily="34" charset="0"/>
            </a:endParaRPr>
          </a:p>
        </p:txBody>
      </p:sp>
      <p:sp>
        <p:nvSpPr>
          <p:cNvPr id="6" name="Rectángulo 5">
            <a:extLst>
              <a:ext uri="{FF2B5EF4-FFF2-40B4-BE49-F238E27FC236}">
                <a16:creationId xmlns:a16="http://schemas.microsoft.com/office/drawing/2014/main" id="{7FBCC4FC-576B-41A5-853E-31A185C75F8D}"/>
              </a:ext>
            </a:extLst>
          </p:cNvPr>
          <p:cNvSpPr/>
          <p:nvPr/>
        </p:nvSpPr>
        <p:spPr>
          <a:xfrm>
            <a:off x="5092995" y="1270113"/>
            <a:ext cx="3147238" cy="1477328"/>
          </a:xfrm>
          <a:prstGeom prst="rect">
            <a:avLst/>
          </a:prstGeom>
        </p:spPr>
        <p:style>
          <a:lnRef idx="2">
            <a:schemeClr val="accent4"/>
          </a:lnRef>
          <a:fillRef idx="1">
            <a:schemeClr val="lt1"/>
          </a:fillRef>
          <a:effectRef idx="0">
            <a:schemeClr val="accent4"/>
          </a:effectRef>
          <a:fontRef idx="minor">
            <a:schemeClr val="dk1"/>
          </a:fontRef>
        </p:style>
        <p:txBody>
          <a:bodyPr wrap="square">
            <a:spAutoFit/>
          </a:bodyPr>
          <a:lstStyle/>
          <a:p>
            <a:r>
              <a:rPr lang="en-US" dirty="0">
                <a:latin typeface="Arial" panose="020B0604020202020204" pitchFamily="34" charset="0"/>
              </a:rPr>
              <a:t>El </a:t>
            </a:r>
            <a:r>
              <a:rPr lang="en-US" dirty="0" err="1">
                <a:latin typeface="Arial" panose="020B0604020202020204" pitchFamily="34" charset="0"/>
              </a:rPr>
              <a:t>softar</a:t>
            </a:r>
            <a:r>
              <a:rPr lang="en-US" dirty="0">
                <a:latin typeface="Arial" panose="020B0604020202020204" pitchFamily="34" charset="0"/>
              </a:rPr>
              <a:t> </a:t>
            </a:r>
            <a:r>
              <a:rPr lang="en-US" dirty="0" err="1">
                <a:latin typeface="Arial" panose="020B0604020202020204" pitchFamily="34" charset="0"/>
              </a:rPr>
              <a:t>Mirai</a:t>
            </a:r>
            <a:r>
              <a:rPr lang="en-US" dirty="0">
                <a:latin typeface="Arial" panose="020B0604020202020204" pitchFamily="34" charset="0"/>
              </a:rPr>
              <a:t> </a:t>
            </a:r>
            <a:r>
              <a:rPr lang="en-US" dirty="0" err="1">
                <a:latin typeface="Arial" panose="020B0604020202020204" pitchFamily="34" charset="0"/>
              </a:rPr>
              <a:t>fue</a:t>
            </a:r>
            <a:r>
              <a:rPr lang="en-US" dirty="0">
                <a:latin typeface="Arial" panose="020B0604020202020204" pitchFamily="34" charset="0"/>
              </a:rPr>
              <a:t> </a:t>
            </a:r>
            <a:r>
              <a:rPr lang="en-US" dirty="0" err="1">
                <a:latin typeface="Arial" panose="020B0604020202020204" pitchFamily="34" charset="0"/>
              </a:rPr>
              <a:t>diseñado</a:t>
            </a:r>
            <a:r>
              <a:rPr lang="en-US" dirty="0">
                <a:latin typeface="Arial" panose="020B0604020202020204" pitchFamily="34" charset="0"/>
              </a:rPr>
              <a:t> para </a:t>
            </a:r>
            <a:r>
              <a:rPr lang="en-US" dirty="0" err="1">
                <a:latin typeface="Arial" panose="020B0604020202020204" pitchFamily="34" charset="0"/>
              </a:rPr>
              <a:t>tomar</a:t>
            </a:r>
            <a:r>
              <a:rPr lang="en-US" dirty="0">
                <a:latin typeface="Arial" panose="020B0604020202020204" pitchFamily="34" charset="0"/>
              </a:rPr>
              <a:t> control de routers con </a:t>
            </a:r>
            <a:r>
              <a:rPr lang="en-US" dirty="0" err="1">
                <a:latin typeface="Arial" panose="020B0604020202020204" pitchFamily="34" charset="0"/>
              </a:rPr>
              <a:t>baja</a:t>
            </a:r>
            <a:r>
              <a:rPr lang="en-US" dirty="0">
                <a:latin typeface="Arial" panose="020B0604020202020204" pitchFamily="34" charset="0"/>
              </a:rPr>
              <a:t> Seguridad, </a:t>
            </a:r>
            <a:r>
              <a:rPr lang="en-US" dirty="0" err="1">
                <a:latin typeface="Arial" panose="020B0604020202020204" pitchFamily="34" charset="0"/>
              </a:rPr>
              <a:t>cámaras</a:t>
            </a:r>
            <a:r>
              <a:rPr lang="en-US" dirty="0">
                <a:latin typeface="Arial" panose="020B0604020202020204" pitchFamily="34" charset="0"/>
              </a:rPr>
              <a:t> de Seguridad y </a:t>
            </a:r>
            <a:r>
              <a:rPr lang="en-US" dirty="0" err="1">
                <a:solidFill>
                  <a:srgbClr val="FF0000"/>
                </a:solidFill>
                <a:latin typeface="Arial" panose="020B0604020202020204" pitchFamily="34" charset="0"/>
              </a:rPr>
              <a:t>monitores</a:t>
            </a:r>
            <a:r>
              <a:rPr lang="en-US" dirty="0">
                <a:solidFill>
                  <a:srgbClr val="FF0000"/>
                </a:solidFill>
                <a:latin typeface="Arial" panose="020B0604020202020204" pitchFamily="34" charset="0"/>
              </a:rPr>
              <a:t> de </a:t>
            </a:r>
            <a:r>
              <a:rPr lang="en-US" dirty="0" err="1">
                <a:solidFill>
                  <a:srgbClr val="FF0000"/>
                </a:solidFill>
                <a:latin typeface="Arial" panose="020B0604020202020204" pitchFamily="34" charset="0"/>
              </a:rPr>
              <a:t>bebés</a:t>
            </a:r>
            <a:r>
              <a:rPr lang="en-US" dirty="0">
                <a:latin typeface="Arial" panose="020B0604020202020204" pitchFamily="34" charset="0"/>
              </a:rPr>
              <a:t>.</a:t>
            </a:r>
            <a:endParaRPr lang="es-CO" dirty="0"/>
          </a:p>
        </p:txBody>
      </p:sp>
      <p:sp>
        <p:nvSpPr>
          <p:cNvPr id="7" name="CuadroTexto 6">
            <a:extLst>
              <a:ext uri="{FF2B5EF4-FFF2-40B4-BE49-F238E27FC236}">
                <a16:creationId xmlns:a16="http://schemas.microsoft.com/office/drawing/2014/main" id="{0B9D60EF-49CD-467F-B982-CBC30948CA53}"/>
              </a:ext>
            </a:extLst>
          </p:cNvPr>
          <p:cNvSpPr txBox="1"/>
          <p:nvPr/>
        </p:nvSpPr>
        <p:spPr>
          <a:xfrm>
            <a:off x="5030022" y="3458375"/>
            <a:ext cx="2817628" cy="923330"/>
          </a:xfrm>
          <a:prstGeom prst="rect">
            <a:avLst/>
          </a:prstGeom>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dirty="0" err="1"/>
              <a:t>Estudiante</a:t>
            </a:r>
            <a:r>
              <a:rPr lang="en-US" dirty="0"/>
              <a:t> de Michigan </a:t>
            </a:r>
            <a:r>
              <a:rPr lang="en-US" dirty="0" err="1"/>
              <a:t>realiza</a:t>
            </a:r>
            <a:r>
              <a:rPr lang="en-US" dirty="0"/>
              <a:t> un </a:t>
            </a:r>
            <a:r>
              <a:rPr lang="en-US" dirty="0" err="1"/>
              <a:t>ataque</a:t>
            </a:r>
            <a:r>
              <a:rPr lang="en-US" dirty="0"/>
              <a:t> DDoS a </a:t>
            </a:r>
            <a:r>
              <a:rPr lang="en-US" dirty="0" err="1"/>
              <a:t>cámaras</a:t>
            </a:r>
            <a:r>
              <a:rPr lang="en-US" dirty="0"/>
              <a:t> de Seguridad.</a:t>
            </a:r>
            <a:endParaRPr lang="es-CO" dirty="0" err="1">
              <a:solidFill>
                <a:schemeClr val="bg1"/>
              </a:solidFill>
              <a:latin typeface="Trebuchet MS"/>
              <a:cs typeface="Trebuchet MS" panose="020B0502040204020203" pitchFamily="34" charset="0"/>
            </a:endParaRPr>
          </a:p>
        </p:txBody>
      </p:sp>
    </p:spTree>
    <p:extLst>
      <p:ext uri="{BB962C8B-B14F-4D97-AF65-F5344CB8AC3E}">
        <p14:creationId xmlns:p14="http://schemas.microsoft.com/office/powerpoint/2010/main" val="41071742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le 13"/>
          <p:cNvSpPr>
            <a:spLocks noGrp="1"/>
          </p:cNvSpPr>
          <p:nvPr>
            <p:ph type="title"/>
          </p:nvPr>
        </p:nvSpPr>
        <p:spPr>
          <a:xfrm>
            <a:off x="224953" y="170260"/>
            <a:ext cx="8673362" cy="763190"/>
          </a:xfrm>
        </p:spPr>
        <p:txBody>
          <a:bodyPr/>
          <a:lstStyle/>
          <a:p>
            <a:r>
              <a:rPr lang="en-US" dirty="0"/>
              <a:t>IoT </a:t>
            </a:r>
            <a:r>
              <a:rPr lang="en-US" dirty="0" err="1"/>
              <a:t>tendrá</a:t>
            </a:r>
            <a:r>
              <a:rPr lang="en-US" dirty="0"/>
              <a:t> un </a:t>
            </a:r>
            <a:r>
              <a:rPr lang="en-US" dirty="0" err="1"/>
              <a:t>papel</a:t>
            </a:r>
            <a:r>
              <a:rPr lang="en-US" dirty="0"/>
              <a:t> </a:t>
            </a:r>
            <a:r>
              <a:rPr lang="en-US" dirty="0" err="1"/>
              <a:t>significativo</a:t>
            </a:r>
            <a:r>
              <a:rPr lang="en-US" dirty="0"/>
              <a:t> </a:t>
            </a:r>
            <a:r>
              <a:rPr lang="en-US" dirty="0" err="1"/>
              <a:t>en</a:t>
            </a:r>
            <a:r>
              <a:rPr lang="en-US" dirty="0"/>
              <a:t> las </a:t>
            </a:r>
            <a:r>
              <a:rPr lang="en-US" dirty="0" err="1"/>
              <a:t>estrategias</a:t>
            </a:r>
            <a:r>
              <a:rPr lang="en-US" dirty="0"/>
              <a:t> y </a:t>
            </a:r>
            <a:r>
              <a:rPr lang="en-US" dirty="0" err="1"/>
              <a:t>decisiones</a:t>
            </a:r>
            <a:r>
              <a:rPr lang="en-US" dirty="0"/>
              <a:t> de </a:t>
            </a:r>
            <a:r>
              <a:rPr lang="en-US" dirty="0" err="1"/>
              <a:t>infraestructura</a:t>
            </a:r>
            <a:r>
              <a:rPr lang="en-US" dirty="0"/>
              <a:t> TIC</a:t>
            </a:r>
            <a:endParaRPr lang="en-US" dirty="0">
              <a:latin typeface="Trebuchet MS"/>
            </a:endParaRPr>
          </a:p>
        </p:txBody>
      </p:sp>
      <p:sp>
        <p:nvSpPr>
          <p:cNvPr id="41" name="Shape 329"/>
          <p:cNvSpPr/>
          <p:nvPr/>
        </p:nvSpPr>
        <p:spPr>
          <a:xfrm>
            <a:off x="2997112" y="4940769"/>
            <a:ext cx="3763196" cy="172804"/>
          </a:xfrm>
          <a:prstGeom prst="rect">
            <a:avLst/>
          </a:prstGeom>
          <a:ln w="12700">
            <a:miter lim="400000"/>
          </a:ln>
          <a:extLst>
            <a:ext uri="{C572A759-6A51-4108-AA02-DFA0A04FC94B}">
              <ma14:wrappingTextBoxFlag xmlns:ma14="http://schemas.microsoft.com/office/mac/drawingml/2011/main" xmlns="" val="1"/>
            </a:ext>
          </a:extLst>
        </p:spPr>
        <p:txBody>
          <a:bodyPr wrap="square" lIns="19050" tIns="19050" rIns="19050" bIns="19050" anchor="t" anchorCtr="0">
            <a:spAutoFit/>
          </a:bodyPr>
          <a:lstStyle/>
          <a:p>
            <a:pPr lvl="0">
              <a:lnSpc>
                <a:spcPct val="120000"/>
              </a:lnSpc>
              <a:defRPr sz="1800"/>
            </a:pPr>
            <a:r>
              <a:rPr lang="en-US" sz="800" dirty="0">
                <a:solidFill>
                  <a:srgbClr val="4F5861"/>
                </a:solidFill>
                <a:latin typeface="Trebuchet MS"/>
                <a:ea typeface="Trebuchet MS" panose="020B0604020202020204" pitchFamily="34" charset="-128"/>
                <a:cs typeface="Trebuchet MS" panose="020B0604020202020204" pitchFamily="34" charset="-128"/>
                <a:sym typeface="Trebuchet MS"/>
              </a:rPr>
              <a:t>Source: IDC’s IoT IT Infrastructure Survey, December 2016</a:t>
            </a:r>
          </a:p>
        </p:txBody>
      </p:sp>
      <p:sp>
        <p:nvSpPr>
          <p:cNvPr id="49" name="Content Placeholder 2"/>
          <p:cNvSpPr txBox="1">
            <a:spLocks/>
          </p:cNvSpPr>
          <p:nvPr/>
        </p:nvSpPr>
        <p:spPr>
          <a:xfrm>
            <a:off x="224953" y="1012188"/>
            <a:ext cx="8192216" cy="433660"/>
          </a:xfrm>
          <a:prstGeom prst="rect">
            <a:avLst/>
          </a:prstGeom>
        </p:spPr>
        <p:txBody>
          <a:bodyPr/>
          <a:lstStyle>
            <a:lvl1pPr marL="180975" indent="-180975" algn="l" rtl="0" eaLnBrk="1" fontAlgn="base" hangingPunct="1">
              <a:spcBef>
                <a:spcPct val="20000"/>
              </a:spcBef>
              <a:spcAft>
                <a:spcPct val="30000"/>
              </a:spcAft>
              <a:buClrTx/>
              <a:buSzPct val="80000"/>
              <a:buFont typeface="Trebuchet MS" panose="05000000000000000000" pitchFamily="2" charset="2"/>
              <a:buChar char=""/>
              <a:defRPr sz="1500">
                <a:solidFill>
                  <a:schemeClr val="tx1"/>
                </a:solidFill>
                <a:latin typeface="Trebuchet MS" panose="020B0603020202020204" pitchFamily="34" charset="0"/>
                <a:ea typeface="+mn-ea"/>
                <a:cs typeface="Trebuchet MS" panose="020B0502040204020203" pitchFamily="34" charset="0"/>
              </a:defRPr>
            </a:lvl1pPr>
            <a:lvl2pPr marL="361950" indent="-180975" algn="l" rtl="0" eaLnBrk="1" fontAlgn="base" hangingPunct="1">
              <a:spcBef>
                <a:spcPct val="20000"/>
              </a:spcBef>
              <a:spcAft>
                <a:spcPts val="0"/>
              </a:spcAft>
              <a:buClrTx/>
              <a:buFont typeface="Trebuchet MS" panose="05000000000000000000" pitchFamily="2" charset="2"/>
              <a:buChar char="§"/>
              <a:defRPr sz="1400">
                <a:solidFill>
                  <a:schemeClr val="tx1"/>
                </a:solidFill>
                <a:latin typeface="Trebuchet MS" panose="020B0603020202020204" pitchFamily="34" charset="0"/>
                <a:cs typeface="Trebuchet MS" panose="020B0502040204020203" pitchFamily="34" charset="0"/>
              </a:defRPr>
            </a:lvl2pPr>
            <a:lvl3pPr marL="538163" indent="-131763" algn="l" rtl="0" eaLnBrk="1" fontAlgn="base" hangingPunct="1">
              <a:spcBef>
                <a:spcPts val="329"/>
              </a:spcBef>
              <a:spcAft>
                <a:spcPts val="0"/>
              </a:spcAft>
              <a:buClrTx/>
              <a:buFont typeface="Trebuchet MS" pitchFamily="34" charset="0"/>
              <a:buChar char="­"/>
              <a:defRPr sz="1200">
                <a:solidFill>
                  <a:schemeClr val="tx1"/>
                </a:solidFill>
                <a:latin typeface="Trebuchet MS" panose="020B0603020202020204" pitchFamily="34" charset="0"/>
                <a:cs typeface="Trebuchet MS" panose="020B0502040204020203" pitchFamily="34" charset="0"/>
              </a:defRPr>
            </a:lvl3pPr>
            <a:lvl4pPr marL="631825" indent="-85725"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4pPr>
            <a:lvl5pPr marL="715963" indent="-84138"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5pPr>
            <a:lvl6pPr marL="1093553"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6pPr>
            <a:lvl7pPr marL="1441942"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7pPr>
            <a:lvl8pPr marL="1790331"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8pPr>
            <a:lvl9pPr marL="2138719"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9pPr>
          </a:lstStyle>
          <a:p>
            <a:pPr marL="0" indent="0">
              <a:buNone/>
            </a:pPr>
            <a:r>
              <a:rPr lang="en-US" sz="1100" dirty="0" err="1">
                <a:solidFill>
                  <a:schemeClr val="tx2"/>
                </a:solidFill>
              </a:rPr>
              <a:t>En</a:t>
            </a:r>
            <a:r>
              <a:rPr lang="en-US" sz="1100" dirty="0">
                <a:solidFill>
                  <a:schemeClr val="tx2"/>
                </a:solidFill>
              </a:rPr>
              <a:t> </a:t>
            </a:r>
            <a:r>
              <a:rPr lang="en-US" sz="1100" dirty="0" err="1">
                <a:solidFill>
                  <a:schemeClr val="tx2"/>
                </a:solidFill>
              </a:rPr>
              <a:t>una</a:t>
            </a:r>
            <a:r>
              <a:rPr lang="en-US" sz="1100" dirty="0">
                <a:solidFill>
                  <a:schemeClr val="tx2"/>
                </a:solidFill>
              </a:rPr>
              <a:t> </a:t>
            </a:r>
            <a:r>
              <a:rPr lang="en-US" sz="1100" dirty="0" err="1">
                <a:solidFill>
                  <a:schemeClr val="tx2"/>
                </a:solidFill>
              </a:rPr>
              <a:t>escala</a:t>
            </a:r>
            <a:r>
              <a:rPr lang="en-US" sz="1100" dirty="0">
                <a:solidFill>
                  <a:schemeClr val="tx2"/>
                </a:solidFill>
              </a:rPr>
              <a:t> del 1 al 5, </a:t>
            </a:r>
            <a:r>
              <a:rPr lang="en-US" sz="1100" dirty="0" err="1">
                <a:solidFill>
                  <a:schemeClr val="tx2"/>
                </a:solidFill>
              </a:rPr>
              <a:t>donde</a:t>
            </a:r>
            <a:r>
              <a:rPr lang="en-US" sz="1100" dirty="0">
                <a:solidFill>
                  <a:schemeClr val="tx2"/>
                </a:solidFill>
              </a:rPr>
              <a:t> 1 </a:t>
            </a:r>
            <a:r>
              <a:rPr lang="en-US" sz="1100" dirty="0" err="1">
                <a:solidFill>
                  <a:schemeClr val="tx2"/>
                </a:solidFill>
              </a:rPr>
              <a:t>es</a:t>
            </a:r>
            <a:r>
              <a:rPr lang="en-US" sz="1100" dirty="0">
                <a:solidFill>
                  <a:schemeClr val="tx2"/>
                </a:solidFill>
              </a:rPr>
              <a:t> “No </a:t>
            </a:r>
            <a:r>
              <a:rPr lang="en-US" sz="1100" dirty="0" err="1">
                <a:solidFill>
                  <a:schemeClr val="tx2"/>
                </a:solidFill>
              </a:rPr>
              <a:t>impacta</a:t>
            </a:r>
            <a:r>
              <a:rPr lang="en-US" sz="1100" dirty="0">
                <a:solidFill>
                  <a:schemeClr val="tx2"/>
                </a:solidFill>
              </a:rPr>
              <a:t>" y 5 </a:t>
            </a:r>
            <a:r>
              <a:rPr lang="en-US" sz="1100" dirty="0" err="1">
                <a:solidFill>
                  <a:schemeClr val="tx2"/>
                </a:solidFill>
              </a:rPr>
              <a:t>indica</a:t>
            </a:r>
            <a:r>
              <a:rPr lang="en-US" sz="1100" dirty="0">
                <a:solidFill>
                  <a:schemeClr val="tx2"/>
                </a:solidFill>
              </a:rPr>
              <a:t> “</a:t>
            </a:r>
            <a:r>
              <a:rPr lang="en-US" sz="1100" dirty="0" err="1">
                <a:solidFill>
                  <a:schemeClr val="tx2"/>
                </a:solidFill>
              </a:rPr>
              <a:t>Impacto</a:t>
            </a:r>
            <a:r>
              <a:rPr lang="en-US" sz="1100" dirty="0">
                <a:solidFill>
                  <a:schemeClr val="tx2"/>
                </a:solidFill>
              </a:rPr>
              <a:t> </a:t>
            </a:r>
            <a:r>
              <a:rPr lang="en-US" sz="1100" dirty="0" err="1">
                <a:solidFill>
                  <a:schemeClr val="tx2"/>
                </a:solidFill>
              </a:rPr>
              <a:t>Significativo</a:t>
            </a:r>
            <a:r>
              <a:rPr lang="en-US" sz="1100" dirty="0">
                <a:solidFill>
                  <a:schemeClr val="tx2"/>
                </a:solidFill>
              </a:rPr>
              <a:t>", </a:t>
            </a:r>
            <a:r>
              <a:rPr lang="en-US" sz="1100" dirty="0" err="1">
                <a:solidFill>
                  <a:schemeClr val="tx2"/>
                </a:solidFill>
              </a:rPr>
              <a:t>por</a:t>
            </a:r>
            <a:r>
              <a:rPr lang="en-US" sz="1100" dirty="0">
                <a:solidFill>
                  <a:schemeClr val="tx2"/>
                </a:solidFill>
              </a:rPr>
              <a:t> favor, </a:t>
            </a:r>
            <a:r>
              <a:rPr lang="en-US" sz="1100" dirty="0" err="1">
                <a:solidFill>
                  <a:schemeClr val="tx2"/>
                </a:solidFill>
              </a:rPr>
              <a:t>estime</a:t>
            </a:r>
            <a:r>
              <a:rPr lang="en-US" sz="1100" dirty="0">
                <a:solidFill>
                  <a:schemeClr val="tx2"/>
                </a:solidFill>
              </a:rPr>
              <a:t> </a:t>
            </a:r>
            <a:r>
              <a:rPr lang="en-US" sz="1100" dirty="0" err="1">
                <a:solidFill>
                  <a:schemeClr val="tx2"/>
                </a:solidFill>
              </a:rPr>
              <a:t>cuál</a:t>
            </a:r>
            <a:r>
              <a:rPr lang="en-US" sz="1100" dirty="0">
                <a:solidFill>
                  <a:schemeClr val="tx2"/>
                </a:solidFill>
              </a:rPr>
              <a:t> </a:t>
            </a:r>
            <a:r>
              <a:rPr lang="en-US" sz="1100" dirty="0" err="1">
                <a:solidFill>
                  <a:schemeClr val="tx2"/>
                </a:solidFill>
              </a:rPr>
              <a:t>es</a:t>
            </a:r>
            <a:r>
              <a:rPr lang="en-US" sz="1100" dirty="0">
                <a:solidFill>
                  <a:schemeClr val="tx2"/>
                </a:solidFill>
              </a:rPr>
              <a:t> el </a:t>
            </a:r>
            <a:r>
              <a:rPr lang="en-US" sz="1100" dirty="0" err="1">
                <a:solidFill>
                  <a:schemeClr val="tx2"/>
                </a:solidFill>
              </a:rPr>
              <a:t>impacto</a:t>
            </a:r>
            <a:r>
              <a:rPr lang="en-US" sz="1100" dirty="0">
                <a:solidFill>
                  <a:schemeClr val="tx2"/>
                </a:solidFill>
              </a:rPr>
              <a:t> que IoT </a:t>
            </a:r>
            <a:r>
              <a:rPr lang="en-US" sz="1100" dirty="0" err="1">
                <a:solidFill>
                  <a:schemeClr val="tx2"/>
                </a:solidFill>
              </a:rPr>
              <a:t>tendrá</a:t>
            </a:r>
            <a:r>
              <a:rPr lang="en-US" sz="1100" dirty="0">
                <a:solidFill>
                  <a:schemeClr val="tx2"/>
                </a:solidFill>
              </a:rPr>
              <a:t> </a:t>
            </a:r>
            <a:r>
              <a:rPr lang="en-US" sz="1100" dirty="0" err="1">
                <a:solidFill>
                  <a:schemeClr val="tx2"/>
                </a:solidFill>
              </a:rPr>
              <a:t>en</a:t>
            </a:r>
            <a:r>
              <a:rPr lang="en-US" sz="1100" dirty="0">
                <a:solidFill>
                  <a:schemeClr val="tx2"/>
                </a:solidFill>
              </a:rPr>
              <a:t> las decisions y </a:t>
            </a:r>
            <a:r>
              <a:rPr lang="en-US" sz="1100" dirty="0" err="1">
                <a:solidFill>
                  <a:schemeClr val="tx2"/>
                </a:solidFill>
              </a:rPr>
              <a:t>estrategias</a:t>
            </a:r>
            <a:r>
              <a:rPr lang="en-US" sz="1100" dirty="0">
                <a:solidFill>
                  <a:schemeClr val="tx2"/>
                </a:solidFill>
              </a:rPr>
              <a:t> de </a:t>
            </a:r>
            <a:r>
              <a:rPr lang="en-US" sz="1100" dirty="0" err="1">
                <a:solidFill>
                  <a:schemeClr val="tx2"/>
                </a:solidFill>
              </a:rPr>
              <a:t>infraestructura</a:t>
            </a:r>
            <a:r>
              <a:rPr lang="en-US" sz="1100" dirty="0">
                <a:solidFill>
                  <a:schemeClr val="tx2"/>
                </a:solidFill>
              </a:rPr>
              <a:t> de TI </a:t>
            </a:r>
            <a:r>
              <a:rPr lang="en-US" sz="1100" dirty="0" err="1">
                <a:solidFill>
                  <a:schemeClr val="tx2"/>
                </a:solidFill>
              </a:rPr>
              <a:t>en</a:t>
            </a:r>
            <a:r>
              <a:rPr lang="en-US" sz="1100" dirty="0">
                <a:solidFill>
                  <a:schemeClr val="tx2"/>
                </a:solidFill>
              </a:rPr>
              <a:t> </a:t>
            </a:r>
            <a:r>
              <a:rPr lang="en-US" sz="1100" dirty="0" err="1">
                <a:solidFill>
                  <a:schemeClr val="tx2"/>
                </a:solidFill>
              </a:rPr>
              <a:t>cada</a:t>
            </a:r>
            <a:r>
              <a:rPr lang="en-US" sz="1100" dirty="0">
                <a:solidFill>
                  <a:schemeClr val="tx2"/>
                </a:solidFill>
              </a:rPr>
              <a:t> </a:t>
            </a:r>
            <a:r>
              <a:rPr lang="en-US" sz="1100" dirty="0" err="1">
                <a:solidFill>
                  <a:schemeClr val="tx2"/>
                </a:solidFill>
              </a:rPr>
              <a:t>dominio</a:t>
            </a:r>
            <a:r>
              <a:rPr lang="en-US" sz="1100" dirty="0">
                <a:solidFill>
                  <a:schemeClr val="tx2"/>
                </a:solidFill>
              </a:rPr>
              <a:t> </a:t>
            </a:r>
            <a:r>
              <a:rPr lang="en-US" sz="1100" dirty="0" err="1">
                <a:solidFill>
                  <a:schemeClr val="tx2"/>
                </a:solidFill>
              </a:rPr>
              <a:t>durante</a:t>
            </a:r>
            <a:r>
              <a:rPr lang="en-US" sz="1100" dirty="0">
                <a:solidFill>
                  <a:schemeClr val="tx2"/>
                </a:solidFill>
              </a:rPr>
              <a:t> </a:t>
            </a:r>
            <a:r>
              <a:rPr lang="en-US" sz="1100" dirty="0" err="1">
                <a:solidFill>
                  <a:schemeClr val="tx2"/>
                </a:solidFill>
              </a:rPr>
              <a:t>los</a:t>
            </a:r>
            <a:r>
              <a:rPr lang="en-US" sz="1100" dirty="0">
                <a:solidFill>
                  <a:schemeClr val="tx2"/>
                </a:solidFill>
              </a:rPr>
              <a:t> </a:t>
            </a:r>
            <a:r>
              <a:rPr lang="en-US" sz="1100" dirty="0" err="1">
                <a:solidFill>
                  <a:schemeClr val="tx2"/>
                </a:solidFill>
              </a:rPr>
              <a:t>próximos</a:t>
            </a:r>
            <a:r>
              <a:rPr lang="en-US" sz="1100" dirty="0">
                <a:solidFill>
                  <a:schemeClr val="tx2"/>
                </a:solidFill>
              </a:rPr>
              <a:t> 24 </a:t>
            </a:r>
            <a:r>
              <a:rPr lang="en-US" sz="1100" dirty="0" err="1">
                <a:solidFill>
                  <a:schemeClr val="tx2"/>
                </a:solidFill>
              </a:rPr>
              <a:t>meses</a:t>
            </a:r>
            <a:endParaRPr lang="en-US" sz="1100" dirty="0">
              <a:solidFill>
                <a:schemeClr val="tx2"/>
              </a:solidFill>
            </a:endParaRPr>
          </a:p>
        </p:txBody>
      </p:sp>
      <p:pic>
        <p:nvPicPr>
          <p:cNvPr id="11" name="Picture 10"/>
          <p:cNvPicPr>
            <a:picLocks noChangeAspect="1"/>
          </p:cNvPicPr>
          <p:nvPr/>
        </p:nvPicPr>
        <p:blipFill>
          <a:blip r:embed="rId3"/>
          <a:stretch>
            <a:fillRect/>
          </a:stretch>
        </p:blipFill>
        <p:spPr>
          <a:xfrm>
            <a:off x="58046" y="1440606"/>
            <a:ext cx="8686800" cy="3193887"/>
          </a:xfrm>
          <a:prstGeom prst="rect">
            <a:avLst/>
          </a:prstGeom>
        </p:spPr>
      </p:pic>
    </p:spTree>
    <p:extLst>
      <p:ext uri="{BB962C8B-B14F-4D97-AF65-F5344CB8AC3E}">
        <p14:creationId xmlns:p14="http://schemas.microsoft.com/office/powerpoint/2010/main" val="2036941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75C69DE-D69F-4F68-879C-438C63590F4C}"/>
              </a:ext>
            </a:extLst>
          </p:cNvPr>
          <p:cNvSpPr>
            <a:spLocks noGrp="1"/>
          </p:cNvSpPr>
          <p:nvPr>
            <p:ph type="title"/>
          </p:nvPr>
        </p:nvSpPr>
        <p:spPr/>
        <p:txBody>
          <a:bodyPr/>
          <a:lstStyle/>
          <a:p>
            <a:r>
              <a:rPr lang="es-CO" dirty="0"/>
              <a:t>Retos</a:t>
            </a:r>
          </a:p>
        </p:txBody>
      </p:sp>
      <p:sp>
        <p:nvSpPr>
          <p:cNvPr id="3" name="Marcador de contenido 2">
            <a:extLst>
              <a:ext uri="{FF2B5EF4-FFF2-40B4-BE49-F238E27FC236}">
                <a16:creationId xmlns:a16="http://schemas.microsoft.com/office/drawing/2014/main" id="{F0386C3A-0EE3-4F2C-88BE-5EF279569EBB}"/>
              </a:ext>
            </a:extLst>
          </p:cNvPr>
          <p:cNvSpPr>
            <a:spLocks noGrp="1"/>
          </p:cNvSpPr>
          <p:nvPr>
            <p:ph sz="half" idx="1"/>
          </p:nvPr>
        </p:nvSpPr>
        <p:spPr/>
        <p:txBody>
          <a:bodyPr/>
          <a:lstStyle/>
          <a:p>
            <a:r>
              <a:rPr lang="es-CO" dirty="0"/>
              <a:t>Desempeño</a:t>
            </a:r>
          </a:p>
          <a:p>
            <a:r>
              <a:rPr lang="es-CO" dirty="0"/>
              <a:t>Operación</a:t>
            </a:r>
          </a:p>
          <a:p>
            <a:r>
              <a:rPr lang="es-CO" dirty="0"/>
              <a:t>Gestión</a:t>
            </a:r>
          </a:p>
          <a:p>
            <a:r>
              <a:rPr lang="es-CO" dirty="0"/>
              <a:t>Seguridad</a:t>
            </a:r>
          </a:p>
        </p:txBody>
      </p:sp>
      <p:sp>
        <p:nvSpPr>
          <p:cNvPr id="4" name="Marcador de contenido 3">
            <a:extLst>
              <a:ext uri="{FF2B5EF4-FFF2-40B4-BE49-F238E27FC236}">
                <a16:creationId xmlns:a16="http://schemas.microsoft.com/office/drawing/2014/main" id="{D4FF5A55-B770-439E-8FF7-E5A3C1923C48}"/>
              </a:ext>
            </a:extLst>
          </p:cNvPr>
          <p:cNvSpPr>
            <a:spLocks noGrp="1"/>
          </p:cNvSpPr>
          <p:nvPr>
            <p:ph sz="half" idx="2"/>
          </p:nvPr>
        </p:nvSpPr>
        <p:spPr/>
        <p:txBody>
          <a:bodyPr/>
          <a:lstStyle/>
          <a:p>
            <a:r>
              <a:rPr lang="es-CO" dirty="0"/>
              <a:t>Proceso simple de activación</a:t>
            </a:r>
          </a:p>
          <a:p>
            <a:r>
              <a:rPr lang="es-CO" dirty="0"/>
              <a:t>Conectividad correcta</a:t>
            </a:r>
          </a:p>
          <a:p>
            <a:r>
              <a:rPr lang="es-CO" dirty="0"/>
              <a:t>Ambiente seguro</a:t>
            </a:r>
          </a:p>
        </p:txBody>
      </p:sp>
    </p:spTree>
    <p:extLst>
      <p:ext uri="{BB962C8B-B14F-4D97-AF65-F5344CB8AC3E}">
        <p14:creationId xmlns:p14="http://schemas.microsoft.com/office/powerpoint/2010/main" val="18753503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Solution</a:t>
            </a:r>
          </a:p>
        </p:txBody>
      </p:sp>
      <p:sp>
        <p:nvSpPr>
          <p:cNvPr id="4" name="Subtitle 3"/>
          <p:cNvSpPr>
            <a:spLocks noGrp="1"/>
          </p:cNvSpPr>
          <p:nvPr>
            <p:ph type="subTitle" idx="1"/>
          </p:nvPr>
        </p:nvSpPr>
        <p:spPr/>
        <p:txBody>
          <a:bodyPr/>
          <a:lstStyle/>
          <a:p>
            <a:endParaRPr 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22"/>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 y="0"/>
            <a:ext cx="9144000" cy="5143500"/>
          </a:xfrm>
          <a:prstGeom prst="rect">
            <a:avLst/>
          </a:prstGeom>
        </p:spPr>
      </p:pic>
      <p:sp>
        <p:nvSpPr>
          <p:cNvPr id="54" name="Rectangle 53"/>
          <p:cNvSpPr/>
          <p:nvPr>
            <p:custDataLst>
              <p:tags r:id="rId2"/>
            </p:custDataLst>
          </p:nvPr>
        </p:nvSpPr>
        <p:spPr>
          <a:xfrm>
            <a:off x="0" y="0"/>
            <a:ext cx="9143999" cy="5153026"/>
          </a:xfrm>
          <a:prstGeom prst="rect">
            <a:avLst/>
          </a:prstGeom>
          <a:gradFill>
            <a:gsLst>
              <a:gs pos="81000">
                <a:schemeClr val="accent1"/>
              </a:gs>
              <a:gs pos="0">
                <a:schemeClr val="accent1">
                  <a:lumMod val="75000"/>
                  <a:alpha val="5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sp>
        <p:nvSpPr>
          <p:cNvPr id="2" name="Title 1"/>
          <p:cNvSpPr>
            <a:spLocks noGrp="1"/>
          </p:cNvSpPr>
          <p:nvPr>
            <p:ph type="title"/>
          </p:nvPr>
        </p:nvSpPr>
        <p:spPr/>
        <p:txBody>
          <a:bodyPr anchor="t"/>
          <a:lstStyle/>
          <a:p>
            <a:r>
              <a:rPr lang="en-US" dirty="0" err="1">
                <a:solidFill>
                  <a:schemeClr val="bg1"/>
                </a:solidFill>
              </a:rPr>
              <a:t>Construya</a:t>
            </a:r>
            <a:r>
              <a:rPr lang="en-US" dirty="0">
                <a:solidFill>
                  <a:schemeClr val="bg1"/>
                </a:solidFill>
              </a:rPr>
              <a:t> la bases </a:t>
            </a:r>
            <a:r>
              <a:rPr lang="en-US" dirty="0" err="1">
                <a:solidFill>
                  <a:schemeClr val="bg1"/>
                </a:solidFill>
              </a:rPr>
              <a:t>correctas</a:t>
            </a:r>
            <a:r>
              <a:rPr lang="en-US" dirty="0">
                <a:solidFill>
                  <a:schemeClr val="bg1"/>
                </a:solidFill>
              </a:rPr>
              <a:t> para </a:t>
            </a:r>
            <a:r>
              <a:rPr lang="en-US" dirty="0" err="1">
                <a:solidFill>
                  <a:schemeClr val="bg1"/>
                </a:solidFill>
              </a:rPr>
              <a:t>su</a:t>
            </a:r>
            <a:r>
              <a:rPr lang="en-US" dirty="0">
                <a:solidFill>
                  <a:schemeClr val="bg1"/>
                </a:solidFill>
              </a:rPr>
              <a:t> </a:t>
            </a:r>
            <a:r>
              <a:rPr lang="en-US" dirty="0" err="1">
                <a:solidFill>
                  <a:schemeClr val="bg1"/>
                </a:solidFill>
              </a:rPr>
              <a:t>transformación</a:t>
            </a:r>
            <a:r>
              <a:rPr lang="en-US" dirty="0">
                <a:solidFill>
                  <a:schemeClr val="bg1"/>
                </a:solidFill>
              </a:rPr>
              <a:t> digital</a:t>
            </a:r>
          </a:p>
        </p:txBody>
      </p:sp>
      <p:sp>
        <p:nvSpPr>
          <p:cNvPr id="44" name="Rectangle 43"/>
          <p:cNvSpPr/>
          <p:nvPr/>
        </p:nvSpPr>
        <p:spPr bwMode="auto">
          <a:xfrm>
            <a:off x="566" y="2"/>
            <a:ext cx="79200" cy="5143498"/>
          </a:xfrm>
          <a:prstGeom prst="rect">
            <a:avLst/>
          </a:prstGeom>
          <a:solidFill>
            <a:schemeClr val="accent1"/>
          </a:solidFill>
          <a:ln w="9525" cap="flat" cmpd="sng" algn="ctr">
            <a:noFill/>
            <a:prstDash val="solid"/>
            <a:round/>
            <a:headEnd type="none" w="med" len="med"/>
            <a:tailEnd type="none" w="med" len="med"/>
          </a:ln>
          <a:effectLst/>
        </p:spPr>
        <p:txBody>
          <a:bodyPr vert="horz" wrap="square" lIns="69686" tIns="34843" rIns="69686" bIns="34843" numCol="1" rtlCol="0" anchor="ctr" anchorCtr="0" compatLnSpc="1">
            <a:prstTxWarp prst="textNoShape">
              <a:avLst/>
            </a:prstTxWarp>
            <a:normAutofit/>
          </a:bodyPr>
          <a:lstStyle/>
          <a:p>
            <a:pPr defTabSz="914286"/>
            <a:endParaRPr lang="en-GB" dirty="0">
              <a:solidFill>
                <a:schemeClr val="bg1"/>
              </a:solidFill>
              <a:latin typeface="Trebuchet MS" panose="020B0603020202020204" pitchFamily="34" charset="0"/>
            </a:endParaRPr>
          </a:p>
        </p:txBody>
      </p:sp>
      <p:cxnSp>
        <p:nvCxnSpPr>
          <p:cNvPr id="41" name="Straight Connector 112"/>
          <p:cNvCxnSpPr/>
          <p:nvPr/>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168" name="Footer Placeholder 2"/>
          <p:cNvSpPr txBox="1">
            <a:spLocks/>
          </p:cNvSpPr>
          <p:nvPr/>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15</a:t>
            </a:fld>
            <a:endParaRPr lang="en-US" sz="1000" noProof="0" dirty="0">
              <a:solidFill>
                <a:schemeClr val="bg1"/>
              </a:solidFill>
              <a:latin typeface="Trebuchet MS" panose="020B0603020202020204" pitchFamily="34" charset="0"/>
              <a:cs typeface="Arial" pitchFamily="34" charset="0"/>
            </a:endParaRPr>
          </a:p>
        </p:txBody>
      </p:sp>
      <p:grpSp>
        <p:nvGrpSpPr>
          <p:cNvPr id="12" name="Group 11"/>
          <p:cNvGrpSpPr/>
          <p:nvPr/>
        </p:nvGrpSpPr>
        <p:grpSpPr>
          <a:xfrm>
            <a:off x="625611" y="1333648"/>
            <a:ext cx="8557882" cy="2839131"/>
            <a:chOff x="740435" y="1653988"/>
            <a:chExt cx="8557882" cy="2839131"/>
          </a:xfrm>
        </p:grpSpPr>
        <p:grpSp>
          <p:nvGrpSpPr>
            <p:cNvPr id="3" name="Group 2"/>
            <p:cNvGrpSpPr/>
            <p:nvPr/>
          </p:nvGrpSpPr>
          <p:grpSpPr>
            <a:xfrm>
              <a:off x="2650632" y="2121525"/>
              <a:ext cx="6647685" cy="1997460"/>
              <a:chOff x="2650632" y="2834213"/>
              <a:chExt cx="6647685" cy="1997460"/>
            </a:xfrm>
          </p:grpSpPr>
          <p:sp>
            <p:nvSpPr>
              <p:cNvPr id="102" name="TextBox 101"/>
              <p:cNvSpPr txBox="1"/>
              <p:nvPr/>
            </p:nvSpPr>
            <p:spPr>
              <a:xfrm>
                <a:off x="6207280" y="2834213"/>
                <a:ext cx="3091037" cy="338554"/>
              </a:xfrm>
              <a:prstGeom prst="rect">
                <a:avLst/>
              </a:prstGeom>
              <a:noFill/>
            </p:spPr>
            <p:txBody>
              <a:bodyPr wrap="square" rtlCol="0">
                <a:spAutoFit/>
              </a:bodyPr>
              <a:lstStyle/>
              <a:p>
                <a:pPr algn="ctr"/>
                <a:r>
                  <a:rPr lang="en-US" sz="1600" dirty="0" err="1">
                    <a:solidFill>
                      <a:schemeClr val="bg1"/>
                    </a:solidFill>
                    <a:latin typeface="Trebuchet MS"/>
                    <a:cs typeface="Trebuchet MS" panose="020B0502040204020203" pitchFamily="34" charset="0"/>
                  </a:rPr>
                  <a:t>Fácil</a:t>
                </a:r>
                <a:r>
                  <a:rPr lang="en-US" sz="1600" dirty="0">
                    <a:solidFill>
                      <a:schemeClr val="bg1"/>
                    </a:solidFill>
                    <a:latin typeface="Trebuchet MS"/>
                    <a:cs typeface="Trebuchet MS" panose="020B0502040204020203" pitchFamily="34" charset="0"/>
                  </a:rPr>
                  <a:t> </a:t>
                </a:r>
                <a:r>
                  <a:rPr lang="en-US" sz="1600" dirty="0" err="1">
                    <a:solidFill>
                      <a:schemeClr val="bg1"/>
                    </a:solidFill>
                    <a:latin typeface="Trebuchet MS"/>
                    <a:cs typeface="Trebuchet MS" panose="020B0502040204020203" pitchFamily="34" charset="0"/>
                  </a:rPr>
                  <a:t>activación</a:t>
                </a:r>
                <a:r>
                  <a:rPr lang="en-US" sz="1600" dirty="0">
                    <a:solidFill>
                      <a:schemeClr val="bg1"/>
                    </a:solidFill>
                    <a:latin typeface="Trebuchet MS"/>
                    <a:cs typeface="Trebuchet MS" panose="020B0502040204020203" pitchFamily="34" charset="0"/>
                  </a:rPr>
                  <a:t> de </a:t>
                </a:r>
                <a:r>
                  <a:rPr lang="en-US" sz="1600" dirty="0" err="1">
                    <a:solidFill>
                      <a:schemeClr val="bg1"/>
                    </a:solidFill>
                    <a:latin typeface="Trebuchet MS"/>
                    <a:cs typeface="Trebuchet MS" panose="020B0502040204020203" pitchFamily="34" charset="0"/>
                  </a:rPr>
                  <a:t>dispositivos</a:t>
                </a:r>
                <a:endParaRPr lang="en-US" sz="1600" dirty="0">
                  <a:solidFill>
                    <a:schemeClr val="bg1"/>
                  </a:solidFill>
                  <a:latin typeface="Trebuchet MS"/>
                  <a:cs typeface="Trebuchet MS" panose="020B0502040204020203" pitchFamily="34" charset="0"/>
                </a:endParaRPr>
              </a:p>
            </p:txBody>
          </p:sp>
          <p:sp>
            <p:nvSpPr>
              <p:cNvPr id="103" name="TextBox 102"/>
              <p:cNvSpPr txBox="1"/>
              <p:nvPr/>
            </p:nvSpPr>
            <p:spPr>
              <a:xfrm>
                <a:off x="6489130" y="3591827"/>
                <a:ext cx="2284600" cy="338554"/>
              </a:xfrm>
              <a:prstGeom prst="rect">
                <a:avLst/>
              </a:prstGeom>
              <a:noFill/>
            </p:spPr>
            <p:txBody>
              <a:bodyPr wrap="none" rtlCol="0">
                <a:spAutoFit/>
              </a:bodyPr>
              <a:lstStyle/>
              <a:p>
                <a:r>
                  <a:rPr lang="en-US" sz="1600" dirty="0" err="1">
                    <a:solidFill>
                      <a:schemeClr val="bg1"/>
                    </a:solidFill>
                    <a:latin typeface="Trebuchet MS"/>
                    <a:cs typeface="Trebuchet MS" panose="020B0502040204020203" pitchFamily="34" charset="0"/>
                  </a:rPr>
                  <a:t>Operaciones</a:t>
                </a:r>
                <a:r>
                  <a:rPr lang="en-US" sz="1600" dirty="0">
                    <a:solidFill>
                      <a:schemeClr val="bg1"/>
                    </a:solidFill>
                    <a:latin typeface="Trebuchet MS"/>
                    <a:cs typeface="Trebuchet MS" panose="020B0502040204020203" pitchFamily="34" charset="0"/>
                  </a:rPr>
                  <a:t> </a:t>
                </a:r>
                <a:r>
                  <a:rPr lang="en-US" sz="1600" dirty="0" err="1">
                    <a:solidFill>
                      <a:schemeClr val="bg1"/>
                    </a:solidFill>
                    <a:latin typeface="Trebuchet MS"/>
                    <a:cs typeface="Trebuchet MS" panose="020B0502040204020203" pitchFamily="34" charset="0"/>
                  </a:rPr>
                  <a:t>Eficientes</a:t>
                </a:r>
                <a:endParaRPr lang="en-US" sz="1600" dirty="0">
                  <a:solidFill>
                    <a:schemeClr val="bg1"/>
                  </a:solidFill>
                  <a:latin typeface="Trebuchet MS"/>
                  <a:cs typeface="Trebuchet MS" panose="020B0502040204020203" pitchFamily="34" charset="0"/>
                </a:endParaRPr>
              </a:p>
            </p:txBody>
          </p:sp>
          <p:sp>
            <p:nvSpPr>
              <p:cNvPr id="104" name="TextBox 103"/>
              <p:cNvSpPr txBox="1"/>
              <p:nvPr/>
            </p:nvSpPr>
            <p:spPr>
              <a:xfrm>
                <a:off x="6265838" y="4225687"/>
                <a:ext cx="2417650" cy="338554"/>
              </a:xfrm>
              <a:prstGeom prst="rect">
                <a:avLst/>
              </a:prstGeom>
              <a:noFill/>
            </p:spPr>
            <p:txBody>
              <a:bodyPr wrap="none" rtlCol="0">
                <a:spAutoFit/>
              </a:bodyPr>
              <a:lstStyle/>
              <a:p>
                <a:r>
                  <a:rPr lang="en-US" sz="1600" dirty="0">
                    <a:solidFill>
                      <a:schemeClr val="bg1"/>
                    </a:solidFill>
                    <a:latin typeface="Trebuchet MS"/>
                    <a:cs typeface="Trebuchet MS" panose="020B0502040204020203" pitchFamily="34" charset="0"/>
                  </a:rPr>
                  <a:t>Seguridad </a:t>
                </a:r>
                <a:r>
                  <a:rPr lang="en-US" sz="1600" dirty="0" err="1">
                    <a:solidFill>
                      <a:schemeClr val="bg1"/>
                    </a:solidFill>
                    <a:latin typeface="Trebuchet MS"/>
                    <a:cs typeface="Trebuchet MS" panose="020B0502040204020203" pitchFamily="34" charset="0"/>
                  </a:rPr>
                  <a:t>incrementada</a:t>
                </a:r>
                <a:endParaRPr lang="en-US" sz="1600" dirty="0">
                  <a:solidFill>
                    <a:schemeClr val="bg1"/>
                  </a:solidFill>
                  <a:latin typeface="Trebuchet MS"/>
                  <a:cs typeface="Trebuchet MS" panose="020B0502040204020203" pitchFamily="34" charset="0"/>
                </a:endParaRPr>
              </a:p>
            </p:txBody>
          </p:sp>
          <p:cxnSp>
            <p:nvCxnSpPr>
              <p:cNvPr id="112" name="Straight Connector 111"/>
              <p:cNvCxnSpPr>
                <a:cxnSpLocks/>
                <a:stCxn id="102" idx="1"/>
              </p:cNvCxnSpPr>
              <p:nvPr/>
            </p:nvCxnSpPr>
            <p:spPr bwMode="auto">
              <a:xfrm flipH="1">
                <a:off x="5695204" y="3003490"/>
                <a:ext cx="512076" cy="530913"/>
              </a:xfrm>
              <a:prstGeom prst="line">
                <a:avLst/>
              </a:prstGeom>
              <a:noFill/>
              <a:ln w="12700" cap="flat" cmpd="sng" algn="ctr">
                <a:solidFill>
                  <a:schemeClr val="bg1"/>
                </a:solidFill>
                <a:prstDash val="solid"/>
                <a:round/>
                <a:headEnd type="none" w="med" len="med"/>
                <a:tailEnd type="none"/>
              </a:ln>
              <a:effectLst/>
            </p:spPr>
          </p:cxnSp>
          <p:cxnSp>
            <p:nvCxnSpPr>
              <p:cNvPr id="113" name="Straight Connector 112"/>
              <p:cNvCxnSpPr>
                <a:stCxn id="104" idx="1"/>
              </p:cNvCxnSpPr>
              <p:nvPr/>
            </p:nvCxnSpPr>
            <p:spPr bwMode="auto">
              <a:xfrm flipH="1" flipV="1">
                <a:off x="5471910" y="4064540"/>
                <a:ext cx="793928" cy="330424"/>
              </a:xfrm>
              <a:prstGeom prst="line">
                <a:avLst/>
              </a:prstGeom>
              <a:noFill/>
              <a:ln w="12700" cap="flat" cmpd="sng" algn="ctr">
                <a:solidFill>
                  <a:schemeClr val="bg1"/>
                </a:solidFill>
                <a:prstDash val="solid"/>
                <a:round/>
                <a:headEnd type="none" w="med" len="med"/>
                <a:tailEnd type="none"/>
              </a:ln>
              <a:effectLst/>
            </p:spPr>
          </p:cxnSp>
          <p:cxnSp>
            <p:nvCxnSpPr>
              <p:cNvPr id="114" name="Straight Connector 113"/>
              <p:cNvCxnSpPr>
                <a:stCxn id="103" idx="1"/>
              </p:cNvCxnSpPr>
              <p:nvPr/>
            </p:nvCxnSpPr>
            <p:spPr bwMode="auto">
              <a:xfrm flipH="1">
                <a:off x="5730622" y="3761104"/>
                <a:ext cx="758508" cy="20713"/>
              </a:xfrm>
              <a:prstGeom prst="line">
                <a:avLst/>
              </a:prstGeom>
              <a:noFill/>
              <a:ln w="12700" cap="flat" cmpd="sng" algn="ctr">
                <a:solidFill>
                  <a:schemeClr val="bg1"/>
                </a:solidFill>
                <a:prstDash val="solid"/>
                <a:round/>
                <a:headEnd type="none" w="med" len="med"/>
                <a:tailEnd type="none"/>
              </a:ln>
              <a:effectLst/>
            </p:spPr>
          </p:cxnSp>
          <p:grpSp>
            <p:nvGrpSpPr>
              <p:cNvPr id="115" name="Group 114"/>
              <p:cNvGrpSpPr/>
              <p:nvPr/>
            </p:nvGrpSpPr>
            <p:grpSpPr>
              <a:xfrm>
                <a:off x="2650632" y="3294727"/>
                <a:ext cx="993849" cy="977820"/>
                <a:chOff x="7035295" y="897926"/>
                <a:chExt cx="2042984" cy="2010033"/>
              </a:xfrm>
            </p:grpSpPr>
            <p:pic>
              <p:nvPicPr>
                <p:cNvPr id="116" name="Imag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10800000" flipH="1" flipV="1">
                  <a:off x="7208515" y="2056683"/>
                  <a:ext cx="1694302" cy="192419"/>
                </a:xfrm>
                <a:prstGeom prst="rect">
                  <a:avLst/>
                </a:prstGeom>
              </p:spPr>
            </p:pic>
            <p:pic>
              <p:nvPicPr>
                <p:cNvPr id="118" name="Image 2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800000" flipH="1" flipV="1">
                  <a:off x="7595003" y="1252548"/>
                  <a:ext cx="819517" cy="600967"/>
                </a:xfrm>
                <a:prstGeom prst="rect">
                  <a:avLst/>
                </a:prstGeom>
              </p:spPr>
            </p:pic>
            <p:sp>
              <p:nvSpPr>
                <p:cNvPr id="119" name="Oval 118"/>
                <p:cNvSpPr/>
                <p:nvPr/>
              </p:nvSpPr>
              <p:spPr>
                <a:xfrm>
                  <a:off x="7035295" y="897926"/>
                  <a:ext cx="2042984" cy="2010033"/>
                </a:xfrm>
                <a:prstGeom prst="ellipse">
                  <a:avLst/>
                </a:prstGeom>
                <a:noFill/>
                <a:ln w="28575">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pSp>
          <p:cxnSp>
            <p:nvCxnSpPr>
              <p:cNvPr id="121" name="Straight Connector 120"/>
              <p:cNvCxnSpPr>
                <a:endCxn id="119" idx="6"/>
              </p:cNvCxnSpPr>
              <p:nvPr/>
            </p:nvCxnSpPr>
            <p:spPr bwMode="auto">
              <a:xfrm flipH="1">
                <a:off x="3644481" y="3783562"/>
                <a:ext cx="1216215" cy="75"/>
              </a:xfrm>
              <a:prstGeom prst="line">
                <a:avLst/>
              </a:prstGeom>
              <a:noFill/>
              <a:ln w="12700" cap="flat" cmpd="sng" algn="ctr">
                <a:solidFill>
                  <a:schemeClr val="bg1"/>
                </a:solidFill>
                <a:prstDash val="dash"/>
                <a:round/>
                <a:headEnd type="none" w="med" len="med"/>
                <a:tailEnd type="none"/>
              </a:ln>
              <a:effectLst/>
            </p:spPr>
          </p:cxnSp>
          <p:sp>
            <p:nvSpPr>
              <p:cNvPr id="122" name="TextBox 121"/>
              <p:cNvSpPr txBox="1"/>
              <p:nvPr/>
            </p:nvSpPr>
            <p:spPr>
              <a:xfrm>
                <a:off x="4125821" y="4493119"/>
                <a:ext cx="1991251" cy="338554"/>
              </a:xfrm>
              <a:prstGeom prst="rect">
                <a:avLst/>
              </a:prstGeom>
              <a:noFill/>
            </p:spPr>
            <p:txBody>
              <a:bodyPr wrap="none" rtlCol="0">
                <a:spAutoFit/>
              </a:bodyPr>
              <a:lstStyle/>
              <a:p>
                <a:r>
                  <a:rPr lang="en-US" sz="1600" b="1" dirty="0" err="1">
                    <a:solidFill>
                      <a:schemeClr val="bg1"/>
                    </a:solidFill>
                    <a:latin typeface="Trebuchet MS"/>
                    <a:cs typeface="Trebuchet MS" panose="020B0502040204020203" pitchFamily="34" charset="0"/>
                  </a:rPr>
                  <a:t>Habilitación</a:t>
                </a:r>
                <a:r>
                  <a:rPr lang="en-US" sz="1600" b="1" dirty="0">
                    <a:solidFill>
                      <a:schemeClr val="bg1"/>
                    </a:solidFill>
                    <a:latin typeface="Trebuchet MS"/>
                    <a:cs typeface="Trebuchet MS" panose="020B0502040204020203" pitchFamily="34" charset="0"/>
                  </a:rPr>
                  <a:t> de IoT</a:t>
                </a:r>
              </a:p>
            </p:txBody>
          </p:sp>
        </p:grpSp>
        <p:grpSp>
          <p:nvGrpSpPr>
            <p:cNvPr id="6" name="Group 5"/>
            <p:cNvGrpSpPr/>
            <p:nvPr/>
          </p:nvGrpSpPr>
          <p:grpSpPr>
            <a:xfrm>
              <a:off x="4373554" y="2343240"/>
              <a:ext cx="1426639" cy="1392380"/>
              <a:chOff x="4373554" y="3055928"/>
              <a:chExt cx="1426639" cy="1392380"/>
            </a:xfrm>
          </p:grpSpPr>
          <p:sp>
            <p:nvSpPr>
              <p:cNvPr id="4" name="Ellipse 3"/>
              <p:cNvSpPr/>
              <p:nvPr/>
            </p:nvSpPr>
            <p:spPr>
              <a:xfrm>
                <a:off x="4407813" y="3055928"/>
                <a:ext cx="1392380" cy="1392380"/>
              </a:xfrm>
              <a:prstGeom prst="ellipse">
                <a:avLst/>
              </a:prstGeom>
              <a:solidFill>
                <a:schemeClr val="accent1">
                  <a:lumMod val="5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fr-FR" dirty="0">
                  <a:latin typeface="Trebuchet MS"/>
                  <a:cs typeface="Trebuchet MS"/>
                </a:endParaRPr>
              </a:p>
            </p:txBody>
          </p:sp>
          <p:grpSp>
            <p:nvGrpSpPr>
              <p:cNvPr id="29" name="Group 109"/>
              <p:cNvGrpSpPr/>
              <p:nvPr/>
            </p:nvGrpSpPr>
            <p:grpSpPr>
              <a:xfrm>
                <a:off x="4672807" y="3332386"/>
                <a:ext cx="871749" cy="858959"/>
                <a:chOff x="2319337" y="5392738"/>
                <a:chExt cx="649289" cy="639763"/>
              </a:xfrm>
              <a:solidFill>
                <a:schemeClr val="bg1"/>
              </a:solidFill>
            </p:grpSpPr>
            <p:sp>
              <p:nvSpPr>
                <p:cNvPr id="31" name="Freeform 110"/>
                <p:cNvSpPr>
                  <a:spLocks/>
                </p:cNvSpPr>
                <p:nvPr/>
              </p:nvSpPr>
              <p:spPr bwMode="auto">
                <a:xfrm>
                  <a:off x="2635250" y="5438775"/>
                  <a:ext cx="19050" cy="550863"/>
                </a:xfrm>
                <a:custGeom>
                  <a:avLst/>
                  <a:gdLst/>
                  <a:ahLst/>
                  <a:cxnLst>
                    <a:cxn ang="0">
                      <a:pos x="0" y="347"/>
                    </a:cxn>
                    <a:cxn ang="0">
                      <a:pos x="0" y="0"/>
                    </a:cxn>
                    <a:cxn ang="0">
                      <a:pos x="12" y="0"/>
                    </a:cxn>
                    <a:cxn ang="0">
                      <a:pos x="12" y="347"/>
                    </a:cxn>
                    <a:cxn ang="0">
                      <a:pos x="0" y="347"/>
                    </a:cxn>
                    <a:cxn ang="0">
                      <a:pos x="0" y="347"/>
                    </a:cxn>
                  </a:cxnLst>
                  <a:rect l="0" t="0" r="r" b="b"/>
                  <a:pathLst>
                    <a:path w="12" h="347">
                      <a:moveTo>
                        <a:pt x="0" y="347"/>
                      </a:moveTo>
                      <a:lnTo>
                        <a:pt x="0" y="0"/>
                      </a:lnTo>
                      <a:lnTo>
                        <a:pt x="12" y="0"/>
                      </a:lnTo>
                      <a:lnTo>
                        <a:pt x="12" y="347"/>
                      </a:lnTo>
                      <a:lnTo>
                        <a:pt x="0" y="347"/>
                      </a:lnTo>
                      <a:lnTo>
                        <a:pt x="0" y="347"/>
                      </a:ln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2" name="Freeform 111"/>
                <p:cNvSpPr>
                  <a:spLocks/>
                </p:cNvSpPr>
                <p:nvPr/>
              </p:nvSpPr>
              <p:spPr bwMode="auto">
                <a:xfrm>
                  <a:off x="2411413" y="5551488"/>
                  <a:ext cx="465138" cy="325438"/>
                </a:xfrm>
                <a:custGeom>
                  <a:avLst/>
                  <a:gdLst/>
                  <a:ahLst/>
                  <a:cxnLst>
                    <a:cxn ang="0">
                      <a:pos x="0" y="196"/>
                    </a:cxn>
                    <a:cxn ang="0">
                      <a:pos x="287" y="0"/>
                    </a:cxn>
                    <a:cxn ang="0">
                      <a:pos x="293" y="9"/>
                    </a:cxn>
                    <a:cxn ang="0">
                      <a:pos x="7" y="205"/>
                    </a:cxn>
                    <a:cxn ang="0">
                      <a:pos x="0" y="196"/>
                    </a:cxn>
                    <a:cxn ang="0">
                      <a:pos x="0" y="196"/>
                    </a:cxn>
                  </a:cxnLst>
                  <a:rect l="0" t="0" r="r" b="b"/>
                  <a:pathLst>
                    <a:path w="293" h="205">
                      <a:moveTo>
                        <a:pt x="0" y="196"/>
                      </a:moveTo>
                      <a:lnTo>
                        <a:pt x="287" y="0"/>
                      </a:lnTo>
                      <a:lnTo>
                        <a:pt x="293" y="9"/>
                      </a:lnTo>
                      <a:lnTo>
                        <a:pt x="7" y="205"/>
                      </a:lnTo>
                      <a:lnTo>
                        <a:pt x="0" y="196"/>
                      </a:lnTo>
                      <a:lnTo>
                        <a:pt x="0" y="196"/>
                      </a:ln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3" name="Freeform 112"/>
                <p:cNvSpPr>
                  <a:spLocks/>
                </p:cNvSpPr>
                <p:nvPr/>
              </p:nvSpPr>
              <p:spPr bwMode="auto">
                <a:xfrm>
                  <a:off x="2395538" y="5578475"/>
                  <a:ext cx="496888" cy="271463"/>
                </a:xfrm>
                <a:custGeom>
                  <a:avLst/>
                  <a:gdLst/>
                  <a:ahLst/>
                  <a:cxnLst>
                    <a:cxn ang="0">
                      <a:pos x="0" y="11"/>
                    </a:cxn>
                    <a:cxn ang="0">
                      <a:pos x="6" y="0"/>
                    </a:cxn>
                    <a:cxn ang="0">
                      <a:pos x="313" y="160"/>
                    </a:cxn>
                    <a:cxn ang="0">
                      <a:pos x="308" y="171"/>
                    </a:cxn>
                    <a:cxn ang="0">
                      <a:pos x="0" y="11"/>
                    </a:cxn>
                    <a:cxn ang="0">
                      <a:pos x="0" y="11"/>
                    </a:cxn>
                  </a:cxnLst>
                  <a:rect l="0" t="0" r="r" b="b"/>
                  <a:pathLst>
                    <a:path w="313" h="171">
                      <a:moveTo>
                        <a:pt x="0" y="11"/>
                      </a:moveTo>
                      <a:lnTo>
                        <a:pt x="6" y="0"/>
                      </a:lnTo>
                      <a:lnTo>
                        <a:pt x="313" y="160"/>
                      </a:lnTo>
                      <a:lnTo>
                        <a:pt x="308" y="171"/>
                      </a:lnTo>
                      <a:lnTo>
                        <a:pt x="0" y="11"/>
                      </a:lnTo>
                      <a:lnTo>
                        <a:pt x="0" y="11"/>
                      </a:ln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4" name="Freeform 113"/>
                <p:cNvSpPr>
                  <a:spLocks/>
                </p:cNvSpPr>
                <p:nvPr/>
              </p:nvSpPr>
              <p:spPr bwMode="auto">
                <a:xfrm>
                  <a:off x="2555875" y="5392738"/>
                  <a:ext cx="179388" cy="92075"/>
                </a:xfrm>
                <a:custGeom>
                  <a:avLst/>
                  <a:gdLst/>
                  <a:ahLst/>
                  <a:cxnLst>
                    <a:cxn ang="0">
                      <a:pos x="181" y="0"/>
                    </a:cxn>
                    <a:cxn ang="0">
                      <a:pos x="188" y="3"/>
                    </a:cxn>
                    <a:cxn ang="0">
                      <a:pos x="188" y="3"/>
                    </a:cxn>
                    <a:cxn ang="0">
                      <a:pos x="191" y="10"/>
                    </a:cxn>
                    <a:cxn ang="0">
                      <a:pos x="191" y="10"/>
                    </a:cxn>
                    <a:cxn ang="0">
                      <a:pos x="191" y="89"/>
                    </a:cxn>
                    <a:cxn ang="0">
                      <a:pos x="188" y="96"/>
                    </a:cxn>
                    <a:cxn ang="0">
                      <a:pos x="188" y="96"/>
                    </a:cxn>
                    <a:cxn ang="0">
                      <a:pos x="181" y="99"/>
                    </a:cxn>
                    <a:cxn ang="0">
                      <a:pos x="181" y="99"/>
                    </a:cxn>
                    <a:cxn ang="0">
                      <a:pos x="9" y="99"/>
                    </a:cxn>
                    <a:cxn ang="0">
                      <a:pos x="9" y="99"/>
                    </a:cxn>
                    <a:cxn ang="0">
                      <a:pos x="2" y="96"/>
                    </a:cxn>
                    <a:cxn ang="0">
                      <a:pos x="2" y="96"/>
                    </a:cxn>
                    <a:cxn ang="0">
                      <a:pos x="0" y="89"/>
                    </a:cxn>
                    <a:cxn ang="0">
                      <a:pos x="0" y="89"/>
                    </a:cxn>
                    <a:cxn ang="0">
                      <a:pos x="0" y="10"/>
                    </a:cxn>
                    <a:cxn ang="0">
                      <a:pos x="2" y="3"/>
                    </a:cxn>
                    <a:cxn ang="0">
                      <a:pos x="2" y="3"/>
                    </a:cxn>
                    <a:cxn ang="0">
                      <a:pos x="9" y="0"/>
                    </a:cxn>
                    <a:cxn ang="0">
                      <a:pos x="9" y="0"/>
                    </a:cxn>
                    <a:cxn ang="0">
                      <a:pos x="181" y="0"/>
                    </a:cxn>
                  </a:cxnLst>
                  <a:rect l="0" t="0" r="r" b="b"/>
                  <a:pathLst>
                    <a:path w="191" h="99">
                      <a:moveTo>
                        <a:pt x="181" y="0"/>
                      </a:moveTo>
                      <a:cubicBezTo>
                        <a:pt x="183" y="0"/>
                        <a:pt x="186" y="1"/>
                        <a:pt x="188" y="3"/>
                      </a:cubicBezTo>
                      <a:cubicBezTo>
                        <a:pt x="188" y="3"/>
                        <a:pt x="188" y="3"/>
                        <a:pt x="188" y="3"/>
                      </a:cubicBezTo>
                      <a:cubicBezTo>
                        <a:pt x="190" y="5"/>
                        <a:pt x="191" y="7"/>
                        <a:pt x="191" y="10"/>
                      </a:cubicBezTo>
                      <a:cubicBezTo>
                        <a:pt x="191" y="10"/>
                        <a:pt x="191" y="10"/>
                        <a:pt x="191" y="10"/>
                      </a:cubicBezTo>
                      <a:cubicBezTo>
                        <a:pt x="191" y="89"/>
                        <a:pt x="191" y="89"/>
                        <a:pt x="191" y="89"/>
                      </a:cubicBezTo>
                      <a:cubicBezTo>
                        <a:pt x="191" y="92"/>
                        <a:pt x="190" y="94"/>
                        <a:pt x="188" y="96"/>
                      </a:cubicBezTo>
                      <a:cubicBezTo>
                        <a:pt x="188" y="96"/>
                        <a:pt x="188" y="96"/>
                        <a:pt x="188" y="96"/>
                      </a:cubicBezTo>
                      <a:cubicBezTo>
                        <a:pt x="186" y="98"/>
                        <a:pt x="184" y="99"/>
                        <a:pt x="181" y="99"/>
                      </a:cubicBezTo>
                      <a:cubicBezTo>
                        <a:pt x="181" y="99"/>
                        <a:pt x="181" y="99"/>
                        <a:pt x="181" y="99"/>
                      </a:cubicBezTo>
                      <a:cubicBezTo>
                        <a:pt x="9" y="99"/>
                        <a:pt x="9" y="99"/>
                        <a:pt x="9" y="99"/>
                      </a:cubicBezTo>
                      <a:cubicBezTo>
                        <a:pt x="9" y="99"/>
                        <a:pt x="9" y="99"/>
                        <a:pt x="9" y="99"/>
                      </a:cubicBezTo>
                      <a:cubicBezTo>
                        <a:pt x="7" y="99"/>
                        <a:pt x="4" y="98"/>
                        <a:pt x="2" y="96"/>
                      </a:cubicBezTo>
                      <a:cubicBezTo>
                        <a:pt x="2" y="96"/>
                        <a:pt x="2" y="96"/>
                        <a:pt x="2" y="96"/>
                      </a:cubicBezTo>
                      <a:cubicBezTo>
                        <a:pt x="1" y="94"/>
                        <a:pt x="0" y="92"/>
                        <a:pt x="0" y="89"/>
                      </a:cubicBezTo>
                      <a:cubicBezTo>
                        <a:pt x="0" y="89"/>
                        <a:pt x="0" y="89"/>
                        <a:pt x="0" y="89"/>
                      </a:cubicBezTo>
                      <a:cubicBezTo>
                        <a:pt x="0" y="10"/>
                        <a:pt x="0" y="10"/>
                        <a:pt x="0" y="10"/>
                      </a:cubicBezTo>
                      <a:cubicBezTo>
                        <a:pt x="0" y="7"/>
                        <a:pt x="1" y="5"/>
                        <a:pt x="2" y="3"/>
                      </a:cubicBezTo>
                      <a:cubicBezTo>
                        <a:pt x="2" y="3"/>
                        <a:pt x="2" y="3"/>
                        <a:pt x="2" y="3"/>
                      </a:cubicBezTo>
                      <a:cubicBezTo>
                        <a:pt x="4" y="1"/>
                        <a:pt x="7" y="0"/>
                        <a:pt x="9" y="0"/>
                      </a:cubicBezTo>
                      <a:cubicBezTo>
                        <a:pt x="9" y="0"/>
                        <a:pt x="9" y="0"/>
                        <a:pt x="9" y="0"/>
                      </a:cubicBezTo>
                      <a:cubicBezTo>
                        <a:pt x="181" y="0"/>
                        <a:pt x="181" y="0"/>
                        <a:pt x="181" y="0"/>
                      </a:cubicBezTo>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5" name="Freeform 114"/>
                <p:cNvSpPr>
                  <a:spLocks/>
                </p:cNvSpPr>
                <p:nvPr/>
              </p:nvSpPr>
              <p:spPr bwMode="auto">
                <a:xfrm>
                  <a:off x="2555875" y="5938838"/>
                  <a:ext cx="179388" cy="93663"/>
                </a:xfrm>
                <a:custGeom>
                  <a:avLst/>
                  <a:gdLst/>
                  <a:ahLst/>
                  <a:cxnLst>
                    <a:cxn ang="0">
                      <a:pos x="10" y="99"/>
                    </a:cxn>
                    <a:cxn ang="0">
                      <a:pos x="2" y="96"/>
                    </a:cxn>
                    <a:cxn ang="0">
                      <a:pos x="2" y="96"/>
                    </a:cxn>
                    <a:cxn ang="0">
                      <a:pos x="0" y="89"/>
                    </a:cxn>
                    <a:cxn ang="0">
                      <a:pos x="0" y="89"/>
                    </a:cxn>
                    <a:cxn ang="0">
                      <a:pos x="0" y="10"/>
                    </a:cxn>
                    <a:cxn ang="0">
                      <a:pos x="2" y="3"/>
                    </a:cxn>
                    <a:cxn ang="0">
                      <a:pos x="2" y="3"/>
                    </a:cxn>
                    <a:cxn ang="0">
                      <a:pos x="10" y="0"/>
                    </a:cxn>
                    <a:cxn ang="0">
                      <a:pos x="10" y="0"/>
                    </a:cxn>
                    <a:cxn ang="0">
                      <a:pos x="181" y="0"/>
                    </a:cxn>
                    <a:cxn ang="0">
                      <a:pos x="188" y="3"/>
                    </a:cxn>
                    <a:cxn ang="0">
                      <a:pos x="188" y="3"/>
                    </a:cxn>
                    <a:cxn ang="0">
                      <a:pos x="191" y="10"/>
                    </a:cxn>
                    <a:cxn ang="0">
                      <a:pos x="191" y="10"/>
                    </a:cxn>
                    <a:cxn ang="0">
                      <a:pos x="191" y="89"/>
                    </a:cxn>
                    <a:cxn ang="0">
                      <a:pos x="188" y="96"/>
                    </a:cxn>
                    <a:cxn ang="0">
                      <a:pos x="188" y="96"/>
                    </a:cxn>
                    <a:cxn ang="0">
                      <a:pos x="181" y="99"/>
                    </a:cxn>
                    <a:cxn ang="0">
                      <a:pos x="181" y="99"/>
                    </a:cxn>
                    <a:cxn ang="0">
                      <a:pos x="10" y="99"/>
                    </a:cxn>
                  </a:cxnLst>
                  <a:rect l="0" t="0" r="r" b="b"/>
                  <a:pathLst>
                    <a:path w="191" h="99">
                      <a:moveTo>
                        <a:pt x="10" y="99"/>
                      </a:moveTo>
                      <a:cubicBezTo>
                        <a:pt x="7" y="99"/>
                        <a:pt x="4" y="98"/>
                        <a:pt x="2" y="96"/>
                      </a:cubicBezTo>
                      <a:cubicBezTo>
                        <a:pt x="2" y="96"/>
                        <a:pt x="2" y="96"/>
                        <a:pt x="2" y="96"/>
                      </a:cubicBezTo>
                      <a:cubicBezTo>
                        <a:pt x="1" y="94"/>
                        <a:pt x="0" y="92"/>
                        <a:pt x="0" y="89"/>
                      </a:cubicBezTo>
                      <a:cubicBezTo>
                        <a:pt x="0" y="89"/>
                        <a:pt x="0" y="89"/>
                        <a:pt x="0" y="89"/>
                      </a:cubicBezTo>
                      <a:cubicBezTo>
                        <a:pt x="0" y="10"/>
                        <a:pt x="0" y="10"/>
                        <a:pt x="0" y="10"/>
                      </a:cubicBezTo>
                      <a:cubicBezTo>
                        <a:pt x="0" y="7"/>
                        <a:pt x="1" y="4"/>
                        <a:pt x="2" y="3"/>
                      </a:cubicBezTo>
                      <a:cubicBezTo>
                        <a:pt x="2" y="3"/>
                        <a:pt x="2" y="3"/>
                        <a:pt x="2" y="3"/>
                      </a:cubicBezTo>
                      <a:cubicBezTo>
                        <a:pt x="4" y="1"/>
                        <a:pt x="7" y="0"/>
                        <a:pt x="10" y="0"/>
                      </a:cubicBezTo>
                      <a:cubicBezTo>
                        <a:pt x="10" y="0"/>
                        <a:pt x="10" y="0"/>
                        <a:pt x="10" y="0"/>
                      </a:cubicBezTo>
                      <a:cubicBezTo>
                        <a:pt x="181" y="0"/>
                        <a:pt x="181" y="0"/>
                        <a:pt x="181" y="0"/>
                      </a:cubicBezTo>
                      <a:cubicBezTo>
                        <a:pt x="183" y="0"/>
                        <a:pt x="186" y="1"/>
                        <a:pt x="188" y="3"/>
                      </a:cubicBezTo>
                      <a:cubicBezTo>
                        <a:pt x="188" y="3"/>
                        <a:pt x="188" y="3"/>
                        <a:pt x="188" y="3"/>
                      </a:cubicBezTo>
                      <a:cubicBezTo>
                        <a:pt x="190" y="4"/>
                        <a:pt x="191" y="7"/>
                        <a:pt x="191" y="10"/>
                      </a:cubicBezTo>
                      <a:cubicBezTo>
                        <a:pt x="191" y="10"/>
                        <a:pt x="191" y="10"/>
                        <a:pt x="191" y="10"/>
                      </a:cubicBezTo>
                      <a:cubicBezTo>
                        <a:pt x="191" y="89"/>
                        <a:pt x="191" y="89"/>
                        <a:pt x="191" y="89"/>
                      </a:cubicBezTo>
                      <a:cubicBezTo>
                        <a:pt x="191" y="92"/>
                        <a:pt x="190" y="94"/>
                        <a:pt x="188" y="96"/>
                      </a:cubicBezTo>
                      <a:cubicBezTo>
                        <a:pt x="188" y="96"/>
                        <a:pt x="188" y="96"/>
                        <a:pt x="188" y="96"/>
                      </a:cubicBezTo>
                      <a:cubicBezTo>
                        <a:pt x="186" y="98"/>
                        <a:pt x="183" y="99"/>
                        <a:pt x="181" y="99"/>
                      </a:cubicBezTo>
                      <a:cubicBezTo>
                        <a:pt x="181" y="99"/>
                        <a:pt x="181" y="99"/>
                        <a:pt x="181" y="99"/>
                      </a:cubicBezTo>
                      <a:cubicBezTo>
                        <a:pt x="10" y="99"/>
                        <a:pt x="10" y="99"/>
                        <a:pt x="10" y="99"/>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6" name="Freeform 115"/>
                <p:cNvSpPr>
                  <a:spLocks/>
                </p:cNvSpPr>
                <p:nvPr/>
              </p:nvSpPr>
              <p:spPr bwMode="auto">
                <a:xfrm>
                  <a:off x="2808288" y="5735638"/>
                  <a:ext cx="160338" cy="198438"/>
                </a:xfrm>
                <a:custGeom>
                  <a:avLst/>
                  <a:gdLst/>
                  <a:ahLst/>
                  <a:cxnLst>
                    <a:cxn ang="0">
                      <a:pos x="78" y="209"/>
                    </a:cxn>
                    <a:cxn ang="0">
                      <a:pos x="7" y="173"/>
                    </a:cxn>
                    <a:cxn ang="0">
                      <a:pos x="3" y="160"/>
                    </a:cxn>
                    <a:cxn ang="0">
                      <a:pos x="3" y="160"/>
                    </a:cxn>
                    <a:cxn ang="0">
                      <a:pos x="80" y="6"/>
                    </a:cxn>
                    <a:cxn ang="0">
                      <a:pos x="93" y="2"/>
                    </a:cxn>
                    <a:cxn ang="0">
                      <a:pos x="93" y="2"/>
                    </a:cxn>
                    <a:cxn ang="0">
                      <a:pos x="164" y="38"/>
                    </a:cxn>
                    <a:cxn ang="0">
                      <a:pos x="169" y="43"/>
                    </a:cxn>
                    <a:cxn ang="0">
                      <a:pos x="169" y="43"/>
                    </a:cxn>
                    <a:cxn ang="0">
                      <a:pos x="169" y="51"/>
                    </a:cxn>
                    <a:cxn ang="0">
                      <a:pos x="169" y="51"/>
                    </a:cxn>
                    <a:cxn ang="0">
                      <a:pos x="92" y="204"/>
                    </a:cxn>
                    <a:cxn ang="0">
                      <a:pos x="86" y="209"/>
                    </a:cxn>
                    <a:cxn ang="0">
                      <a:pos x="86" y="209"/>
                    </a:cxn>
                    <a:cxn ang="0">
                      <a:pos x="83" y="210"/>
                    </a:cxn>
                    <a:cxn ang="0">
                      <a:pos x="83" y="210"/>
                    </a:cxn>
                    <a:cxn ang="0">
                      <a:pos x="78" y="209"/>
                    </a:cxn>
                  </a:cxnLst>
                  <a:rect l="0" t="0" r="r" b="b"/>
                  <a:pathLst>
                    <a:path w="170" h="210">
                      <a:moveTo>
                        <a:pt x="78" y="209"/>
                      </a:moveTo>
                      <a:cubicBezTo>
                        <a:pt x="7" y="173"/>
                        <a:pt x="7" y="173"/>
                        <a:pt x="7" y="173"/>
                      </a:cubicBezTo>
                      <a:cubicBezTo>
                        <a:pt x="2" y="171"/>
                        <a:pt x="0" y="165"/>
                        <a:pt x="3" y="160"/>
                      </a:cubicBezTo>
                      <a:cubicBezTo>
                        <a:pt x="3" y="160"/>
                        <a:pt x="3" y="160"/>
                        <a:pt x="3" y="160"/>
                      </a:cubicBezTo>
                      <a:cubicBezTo>
                        <a:pt x="80" y="6"/>
                        <a:pt x="80" y="6"/>
                        <a:pt x="80" y="6"/>
                      </a:cubicBezTo>
                      <a:cubicBezTo>
                        <a:pt x="82" y="2"/>
                        <a:pt x="88" y="0"/>
                        <a:pt x="93" y="2"/>
                      </a:cubicBezTo>
                      <a:cubicBezTo>
                        <a:pt x="93" y="2"/>
                        <a:pt x="93" y="2"/>
                        <a:pt x="93" y="2"/>
                      </a:cubicBezTo>
                      <a:cubicBezTo>
                        <a:pt x="164" y="38"/>
                        <a:pt x="164" y="38"/>
                        <a:pt x="164" y="38"/>
                      </a:cubicBezTo>
                      <a:cubicBezTo>
                        <a:pt x="166" y="39"/>
                        <a:pt x="168" y="41"/>
                        <a:pt x="169" y="43"/>
                      </a:cubicBezTo>
                      <a:cubicBezTo>
                        <a:pt x="169" y="43"/>
                        <a:pt x="169" y="43"/>
                        <a:pt x="169" y="43"/>
                      </a:cubicBezTo>
                      <a:cubicBezTo>
                        <a:pt x="170" y="46"/>
                        <a:pt x="170" y="49"/>
                        <a:pt x="169" y="51"/>
                      </a:cubicBezTo>
                      <a:cubicBezTo>
                        <a:pt x="169" y="51"/>
                        <a:pt x="169" y="51"/>
                        <a:pt x="169" y="51"/>
                      </a:cubicBezTo>
                      <a:cubicBezTo>
                        <a:pt x="92" y="204"/>
                        <a:pt x="92" y="204"/>
                        <a:pt x="92" y="204"/>
                      </a:cubicBezTo>
                      <a:cubicBezTo>
                        <a:pt x="90" y="207"/>
                        <a:pt x="88" y="208"/>
                        <a:pt x="86" y="209"/>
                      </a:cubicBezTo>
                      <a:cubicBezTo>
                        <a:pt x="86" y="209"/>
                        <a:pt x="86" y="209"/>
                        <a:pt x="86" y="209"/>
                      </a:cubicBezTo>
                      <a:cubicBezTo>
                        <a:pt x="85" y="210"/>
                        <a:pt x="84" y="210"/>
                        <a:pt x="83" y="210"/>
                      </a:cubicBezTo>
                      <a:cubicBezTo>
                        <a:pt x="83" y="210"/>
                        <a:pt x="83" y="210"/>
                        <a:pt x="83" y="210"/>
                      </a:cubicBezTo>
                      <a:cubicBezTo>
                        <a:pt x="81" y="210"/>
                        <a:pt x="80" y="209"/>
                        <a:pt x="78" y="209"/>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7" name="Freeform 116"/>
                <p:cNvSpPr>
                  <a:spLocks/>
                </p:cNvSpPr>
                <p:nvPr/>
              </p:nvSpPr>
              <p:spPr bwMode="auto">
                <a:xfrm>
                  <a:off x="2319337" y="5489575"/>
                  <a:ext cx="160338" cy="198438"/>
                </a:xfrm>
                <a:custGeom>
                  <a:avLst/>
                  <a:gdLst/>
                  <a:ahLst/>
                  <a:cxnLst>
                    <a:cxn ang="0">
                      <a:pos x="164" y="38"/>
                    </a:cxn>
                    <a:cxn ang="0">
                      <a:pos x="169" y="44"/>
                    </a:cxn>
                    <a:cxn ang="0">
                      <a:pos x="169" y="44"/>
                    </a:cxn>
                    <a:cxn ang="0">
                      <a:pos x="169" y="51"/>
                    </a:cxn>
                    <a:cxn ang="0">
                      <a:pos x="169" y="51"/>
                    </a:cxn>
                    <a:cxn ang="0">
                      <a:pos x="92" y="204"/>
                    </a:cxn>
                    <a:cxn ang="0">
                      <a:pos x="86" y="209"/>
                    </a:cxn>
                    <a:cxn ang="0">
                      <a:pos x="86" y="209"/>
                    </a:cxn>
                    <a:cxn ang="0">
                      <a:pos x="83" y="210"/>
                    </a:cxn>
                    <a:cxn ang="0">
                      <a:pos x="83" y="210"/>
                    </a:cxn>
                    <a:cxn ang="0">
                      <a:pos x="78" y="209"/>
                    </a:cxn>
                    <a:cxn ang="0">
                      <a:pos x="78" y="209"/>
                    </a:cxn>
                    <a:cxn ang="0">
                      <a:pos x="7" y="173"/>
                    </a:cxn>
                    <a:cxn ang="0">
                      <a:pos x="3" y="160"/>
                    </a:cxn>
                    <a:cxn ang="0">
                      <a:pos x="3" y="160"/>
                    </a:cxn>
                    <a:cxn ang="0">
                      <a:pos x="80" y="7"/>
                    </a:cxn>
                    <a:cxn ang="0">
                      <a:pos x="93" y="2"/>
                    </a:cxn>
                    <a:cxn ang="0">
                      <a:pos x="93" y="2"/>
                    </a:cxn>
                    <a:cxn ang="0">
                      <a:pos x="164" y="38"/>
                    </a:cxn>
                  </a:cxnLst>
                  <a:rect l="0" t="0" r="r" b="b"/>
                  <a:pathLst>
                    <a:path w="170" h="210">
                      <a:moveTo>
                        <a:pt x="164" y="38"/>
                      </a:moveTo>
                      <a:cubicBezTo>
                        <a:pt x="166" y="39"/>
                        <a:pt x="168" y="41"/>
                        <a:pt x="169" y="44"/>
                      </a:cubicBezTo>
                      <a:cubicBezTo>
                        <a:pt x="169" y="44"/>
                        <a:pt x="169" y="44"/>
                        <a:pt x="169" y="44"/>
                      </a:cubicBezTo>
                      <a:cubicBezTo>
                        <a:pt x="170" y="46"/>
                        <a:pt x="170" y="49"/>
                        <a:pt x="169" y="51"/>
                      </a:cubicBezTo>
                      <a:cubicBezTo>
                        <a:pt x="169" y="51"/>
                        <a:pt x="169" y="51"/>
                        <a:pt x="169" y="51"/>
                      </a:cubicBezTo>
                      <a:cubicBezTo>
                        <a:pt x="92" y="204"/>
                        <a:pt x="92" y="204"/>
                        <a:pt x="92" y="204"/>
                      </a:cubicBezTo>
                      <a:cubicBezTo>
                        <a:pt x="90" y="207"/>
                        <a:pt x="88" y="209"/>
                        <a:pt x="86" y="209"/>
                      </a:cubicBezTo>
                      <a:cubicBezTo>
                        <a:pt x="86" y="209"/>
                        <a:pt x="86" y="209"/>
                        <a:pt x="86" y="209"/>
                      </a:cubicBezTo>
                      <a:cubicBezTo>
                        <a:pt x="85" y="210"/>
                        <a:pt x="84" y="210"/>
                        <a:pt x="83" y="210"/>
                      </a:cubicBezTo>
                      <a:cubicBezTo>
                        <a:pt x="83" y="210"/>
                        <a:pt x="83" y="210"/>
                        <a:pt x="83" y="210"/>
                      </a:cubicBezTo>
                      <a:cubicBezTo>
                        <a:pt x="81" y="210"/>
                        <a:pt x="80" y="210"/>
                        <a:pt x="78" y="209"/>
                      </a:cubicBezTo>
                      <a:cubicBezTo>
                        <a:pt x="78" y="209"/>
                        <a:pt x="78" y="209"/>
                        <a:pt x="78" y="209"/>
                      </a:cubicBezTo>
                      <a:cubicBezTo>
                        <a:pt x="7" y="173"/>
                        <a:pt x="7" y="173"/>
                        <a:pt x="7" y="173"/>
                      </a:cubicBezTo>
                      <a:cubicBezTo>
                        <a:pt x="2" y="171"/>
                        <a:pt x="0" y="165"/>
                        <a:pt x="3" y="160"/>
                      </a:cubicBezTo>
                      <a:cubicBezTo>
                        <a:pt x="3" y="160"/>
                        <a:pt x="3" y="160"/>
                        <a:pt x="3" y="160"/>
                      </a:cubicBezTo>
                      <a:cubicBezTo>
                        <a:pt x="80" y="7"/>
                        <a:pt x="80" y="7"/>
                        <a:pt x="80" y="7"/>
                      </a:cubicBezTo>
                      <a:cubicBezTo>
                        <a:pt x="82" y="2"/>
                        <a:pt x="88" y="0"/>
                        <a:pt x="93" y="2"/>
                      </a:cubicBezTo>
                      <a:cubicBezTo>
                        <a:pt x="93" y="2"/>
                        <a:pt x="93" y="2"/>
                        <a:pt x="93" y="2"/>
                      </a:cubicBezTo>
                      <a:cubicBezTo>
                        <a:pt x="164" y="38"/>
                        <a:pt x="164" y="38"/>
                        <a:pt x="164" y="38"/>
                      </a:cubicBezTo>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8" name="Freeform 117"/>
                <p:cNvSpPr>
                  <a:spLocks/>
                </p:cNvSpPr>
                <p:nvPr/>
              </p:nvSpPr>
              <p:spPr bwMode="auto">
                <a:xfrm>
                  <a:off x="2786063" y="5462588"/>
                  <a:ext cx="171450" cy="195263"/>
                </a:xfrm>
                <a:custGeom>
                  <a:avLst/>
                  <a:gdLst/>
                  <a:ahLst/>
                  <a:cxnLst>
                    <a:cxn ang="0">
                      <a:pos x="180" y="149"/>
                    </a:cxn>
                    <a:cxn ang="0">
                      <a:pos x="182" y="156"/>
                    </a:cxn>
                    <a:cxn ang="0">
                      <a:pos x="182" y="156"/>
                    </a:cxn>
                    <a:cxn ang="0">
                      <a:pos x="177" y="163"/>
                    </a:cxn>
                    <a:cxn ang="0">
                      <a:pos x="177" y="163"/>
                    </a:cxn>
                    <a:cxn ang="0">
                      <a:pos x="111" y="206"/>
                    </a:cxn>
                    <a:cxn ang="0">
                      <a:pos x="106" y="208"/>
                    </a:cxn>
                    <a:cxn ang="0">
                      <a:pos x="106" y="208"/>
                    </a:cxn>
                    <a:cxn ang="0">
                      <a:pos x="104" y="208"/>
                    </a:cxn>
                    <a:cxn ang="0">
                      <a:pos x="104" y="208"/>
                    </a:cxn>
                    <a:cxn ang="0">
                      <a:pos x="97" y="203"/>
                    </a:cxn>
                    <a:cxn ang="0">
                      <a:pos x="97" y="203"/>
                    </a:cxn>
                    <a:cxn ang="0">
                      <a:pos x="3" y="61"/>
                    </a:cxn>
                    <a:cxn ang="0">
                      <a:pos x="5" y="47"/>
                    </a:cxn>
                    <a:cxn ang="0">
                      <a:pos x="5" y="47"/>
                    </a:cxn>
                    <a:cxn ang="0">
                      <a:pos x="72" y="3"/>
                    </a:cxn>
                    <a:cxn ang="0">
                      <a:pos x="85" y="6"/>
                    </a:cxn>
                    <a:cxn ang="0">
                      <a:pos x="85" y="6"/>
                    </a:cxn>
                    <a:cxn ang="0">
                      <a:pos x="180" y="149"/>
                    </a:cxn>
                  </a:cxnLst>
                  <a:rect l="0" t="0" r="r" b="b"/>
                  <a:pathLst>
                    <a:path w="182" h="208">
                      <a:moveTo>
                        <a:pt x="180" y="149"/>
                      </a:moveTo>
                      <a:cubicBezTo>
                        <a:pt x="182" y="151"/>
                        <a:pt x="182" y="154"/>
                        <a:pt x="182" y="156"/>
                      </a:cubicBezTo>
                      <a:cubicBezTo>
                        <a:pt x="182" y="156"/>
                        <a:pt x="182" y="156"/>
                        <a:pt x="182" y="156"/>
                      </a:cubicBezTo>
                      <a:cubicBezTo>
                        <a:pt x="181" y="159"/>
                        <a:pt x="179" y="161"/>
                        <a:pt x="177" y="163"/>
                      </a:cubicBezTo>
                      <a:cubicBezTo>
                        <a:pt x="177" y="163"/>
                        <a:pt x="177" y="163"/>
                        <a:pt x="177" y="163"/>
                      </a:cubicBezTo>
                      <a:cubicBezTo>
                        <a:pt x="111" y="206"/>
                        <a:pt x="111" y="206"/>
                        <a:pt x="111" y="206"/>
                      </a:cubicBezTo>
                      <a:cubicBezTo>
                        <a:pt x="109" y="207"/>
                        <a:pt x="107" y="208"/>
                        <a:pt x="106" y="208"/>
                      </a:cubicBezTo>
                      <a:cubicBezTo>
                        <a:pt x="106" y="208"/>
                        <a:pt x="106" y="208"/>
                        <a:pt x="106" y="208"/>
                      </a:cubicBezTo>
                      <a:cubicBezTo>
                        <a:pt x="105" y="208"/>
                        <a:pt x="104" y="208"/>
                        <a:pt x="104" y="208"/>
                      </a:cubicBezTo>
                      <a:cubicBezTo>
                        <a:pt x="104" y="208"/>
                        <a:pt x="104" y="208"/>
                        <a:pt x="104" y="208"/>
                      </a:cubicBezTo>
                      <a:cubicBezTo>
                        <a:pt x="101" y="207"/>
                        <a:pt x="99" y="206"/>
                        <a:pt x="97" y="203"/>
                      </a:cubicBezTo>
                      <a:cubicBezTo>
                        <a:pt x="97" y="203"/>
                        <a:pt x="97" y="203"/>
                        <a:pt x="97" y="203"/>
                      </a:cubicBezTo>
                      <a:cubicBezTo>
                        <a:pt x="3" y="61"/>
                        <a:pt x="3" y="61"/>
                        <a:pt x="3" y="61"/>
                      </a:cubicBezTo>
                      <a:cubicBezTo>
                        <a:pt x="0" y="56"/>
                        <a:pt x="1" y="50"/>
                        <a:pt x="5" y="47"/>
                      </a:cubicBezTo>
                      <a:cubicBezTo>
                        <a:pt x="5" y="47"/>
                        <a:pt x="5" y="47"/>
                        <a:pt x="5" y="47"/>
                      </a:cubicBezTo>
                      <a:cubicBezTo>
                        <a:pt x="72" y="3"/>
                        <a:pt x="72" y="3"/>
                        <a:pt x="72" y="3"/>
                      </a:cubicBezTo>
                      <a:cubicBezTo>
                        <a:pt x="76" y="0"/>
                        <a:pt x="82" y="1"/>
                        <a:pt x="85" y="6"/>
                      </a:cubicBezTo>
                      <a:cubicBezTo>
                        <a:pt x="85" y="6"/>
                        <a:pt x="85" y="6"/>
                        <a:pt x="85" y="6"/>
                      </a:cubicBezTo>
                      <a:cubicBezTo>
                        <a:pt x="180" y="149"/>
                        <a:pt x="180" y="149"/>
                        <a:pt x="180" y="149"/>
                      </a:cubicBezTo>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9" name="Freeform 118"/>
                <p:cNvSpPr>
                  <a:spLocks/>
                </p:cNvSpPr>
                <p:nvPr/>
              </p:nvSpPr>
              <p:spPr bwMode="auto">
                <a:xfrm>
                  <a:off x="2330450" y="5765800"/>
                  <a:ext cx="171450" cy="195263"/>
                </a:xfrm>
                <a:custGeom>
                  <a:avLst/>
                  <a:gdLst/>
                  <a:ahLst/>
                  <a:cxnLst>
                    <a:cxn ang="0">
                      <a:pos x="104" y="207"/>
                    </a:cxn>
                    <a:cxn ang="0">
                      <a:pos x="98" y="203"/>
                    </a:cxn>
                    <a:cxn ang="0">
                      <a:pos x="98" y="203"/>
                    </a:cxn>
                    <a:cxn ang="0">
                      <a:pos x="3" y="60"/>
                    </a:cxn>
                    <a:cxn ang="0">
                      <a:pos x="6" y="46"/>
                    </a:cxn>
                    <a:cxn ang="0">
                      <a:pos x="6" y="46"/>
                    </a:cxn>
                    <a:cxn ang="0">
                      <a:pos x="72" y="3"/>
                    </a:cxn>
                    <a:cxn ang="0">
                      <a:pos x="86" y="5"/>
                    </a:cxn>
                    <a:cxn ang="0">
                      <a:pos x="86" y="5"/>
                    </a:cxn>
                    <a:cxn ang="0">
                      <a:pos x="181" y="148"/>
                    </a:cxn>
                    <a:cxn ang="0">
                      <a:pos x="182" y="156"/>
                    </a:cxn>
                    <a:cxn ang="0">
                      <a:pos x="182" y="156"/>
                    </a:cxn>
                    <a:cxn ang="0">
                      <a:pos x="178" y="162"/>
                    </a:cxn>
                    <a:cxn ang="0">
                      <a:pos x="178" y="162"/>
                    </a:cxn>
                    <a:cxn ang="0">
                      <a:pos x="112" y="206"/>
                    </a:cxn>
                    <a:cxn ang="0">
                      <a:pos x="106" y="208"/>
                    </a:cxn>
                    <a:cxn ang="0">
                      <a:pos x="106" y="208"/>
                    </a:cxn>
                    <a:cxn ang="0">
                      <a:pos x="104" y="207"/>
                    </a:cxn>
                  </a:cxnLst>
                  <a:rect l="0" t="0" r="r" b="b"/>
                  <a:pathLst>
                    <a:path w="183" h="208">
                      <a:moveTo>
                        <a:pt x="104" y="207"/>
                      </a:moveTo>
                      <a:cubicBezTo>
                        <a:pt x="102" y="207"/>
                        <a:pt x="99" y="205"/>
                        <a:pt x="98" y="203"/>
                      </a:cubicBezTo>
                      <a:cubicBezTo>
                        <a:pt x="98" y="203"/>
                        <a:pt x="98" y="203"/>
                        <a:pt x="98" y="203"/>
                      </a:cubicBezTo>
                      <a:cubicBezTo>
                        <a:pt x="3" y="60"/>
                        <a:pt x="3" y="60"/>
                        <a:pt x="3" y="60"/>
                      </a:cubicBezTo>
                      <a:cubicBezTo>
                        <a:pt x="0" y="56"/>
                        <a:pt x="2" y="49"/>
                        <a:pt x="6" y="46"/>
                      </a:cubicBezTo>
                      <a:cubicBezTo>
                        <a:pt x="6" y="46"/>
                        <a:pt x="6" y="46"/>
                        <a:pt x="6" y="46"/>
                      </a:cubicBezTo>
                      <a:cubicBezTo>
                        <a:pt x="72" y="3"/>
                        <a:pt x="72" y="3"/>
                        <a:pt x="72" y="3"/>
                      </a:cubicBezTo>
                      <a:cubicBezTo>
                        <a:pt x="77" y="0"/>
                        <a:pt x="83" y="1"/>
                        <a:pt x="86" y="5"/>
                      </a:cubicBezTo>
                      <a:cubicBezTo>
                        <a:pt x="86" y="5"/>
                        <a:pt x="86" y="5"/>
                        <a:pt x="86" y="5"/>
                      </a:cubicBezTo>
                      <a:cubicBezTo>
                        <a:pt x="181" y="148"/>
                        <a:pt x="181" y="148"/>
                        <a:pt x="181" y="148"/>
                      </a:cubicBezTo>
                      <a:cubicBezTo>
                        <a:pt x="182" y="150"/>
                        <a:pt x="183" y="153"/>
                        <a:pt x="182" y="156"/>
                      </a:cubicBezTo>
                      <a:cubicBezTo>
                        <a:pt x="182" y="156"/>
                        <a:pt x="182" y="156"/>
                        <a:pt x="182" y="156"/>
                      </a:cubicBezTo>
                      <a:cubicBezTo>
                        <a:pt x="182" y="158"/>
                        <a:pt x="180" y="161"/>
                        <a:pt x="178" y="162"/>
                      </a:cubicBezTo>
                      <a:cubicBezTo>
                        <a:pt x="178" y="162"/>
                        <a:pt x="178" y="162"/>
                        <a:pt x="178" y="162"/>
                      </a:cubicBezTo>
                      <a:cubicBezTo>
                        <a:pt x="112" y="206"/>
                        <a:pt x="112" y="206"/>
                        <a:pt x="112" y="206"/>
                      </a:cubicBezTo>
                      <a:cubicBezTo>
                        <a:pt x="110" y="207"/>
                        <a:pt x="108" y="208"/>
                        <a:pt x="106" y="208"/>
                      </a:cubicBezTo>
                      <a:cubicBezTo>
                        <a:pt x="106" y="208"/>
                        <a:pt x="106" y="208"/>
                        <a:pt x="106" y="208"/>
                      </a:cubicBezTo>
                      <a:cubicBezTo>
                        <a:pt x="106" y="208"/>
                        <a:pt x="105" y="208"/>
                        <a:pt x="104" y="207"/>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40" name="Oval 119"/>
                <p:cNvSpPr>
                  <a:spLocks noChangeArrowheads="1"/>
                </p:cNvSpPr>
                <p:nvPr/>
              </p:nvSpPr>
              <p:spPr bwMode="auto">
                <a:xfrm>
                  <a:off x="2527300" y="5548313"/>
                  <a:ext cx="52388" cy="52388"/>
                </a:xfrm>
                <a:prstGeom prst="ellipse">
                  <a:avLst/>
                </a:pr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42" name="Freeform 120"/>
                <p:cNvSpPr>
                  <a:spLocks/>
                </p:cNvSpPr>
                <p:nvPr/>
              </p:nvSpPr>
              <p:spPr bwMode="auto">
                <a:xfrm>
                  <a:off x="2478088" y="5540375"/>
                  <a:ext cx="334963" cy="336550"/>
                </a:xfrm>
                <a:custGeom>
                  <a:avLst/>
                  <a:gdLst/>
                  <a:ahLst/>
                  <a:cxnLst>
                    <a:cxn ang="0">
                      <a:pos x="178" y="0"/>
                    </a:cxn>
                    <a:cxn ang="0">
                      <a:pos x="144" y="4"/>
                    </a:cxn>
                    <a:cxn ang="0">
                      <a:pos x="149" y="31"/>
                    </a:cxn>
                    <a:cxn ang="0">
                      <a:pos x="78" y="102"/>
                    </a:cxn>
                    <a:cxn ang="0">
                      <a:pos x="28" y="82"/>
                    </a:cxn>
                    <a:cxn ang="0">
                      <a:pos x="0" y="178"/>
                    </a:cxn>
                    <a:cxn ang="0">
                      <a:pos x="178" y="356"/>
                    </a:cxn>
                    <a:cxn ang="0">
                      <a:pos x="356" y="178"/>
                    </a:cxn>
                    <a:cxn ang="0">
                      <a:pos x="178" y="0"/>
                    </a:cxn>
                  </a:cxnLst>
                  <a:rect l="0" t="0" r="r" b="b"/>
                  <a:pathLst>
                    <a:path w="356" h="356">
                      <a:moveTo>
                        <a:pt x="178" y="0"/>
                      </a:moveTo>
                      <a:cubicBezTo>
                        <a:pt x="166" y="0"/>
                        <a:pt x="155" y="2"/>
                        <a:pt x="144" y="4"/>
                      </a:cubicBezTo>
                      <a:cubicBezTo>
                        <a:pt x="147" y="12"/>
                        <a:pt x="149" y="21"/>
                        <a:pt x="149" y="31"/>
                      </a:cubicBezTo>
                      <a:cubicBezTo>
                        <a:pt x="149" y="70"/>
                        <a:pt x="117" y="102"/>
                        <a:pt x="78" y="102"/>
                      </a:cubicBezTo>
                      <a:cubicBezTo>
                        <a:pt x="59" y="102"/>
                        <a:pt x="41" y="95"/>
                        <a:pt x="28" y="82"/>
                      </a:cubicBezTo>
                      <a:cubicBezTo>
                        <a:pt x="10" y="110"/>
                        <a:pt x="0" y="143"/>
                        <a:pt x="0" y="178"/>
                      </a:cubicBezTo>
                      <a:cubicBezTo>
                        <a:pt x="0" y="276"/>
                        <a:pt x="80" y="356"/>
                        <a:pt x="178" y="356"/>
                      </a:cubicBezTo>
                      <a:cubicBezTo>
                        <a:pt x="276" y="356"/>
                        <a:pt x="356" y="276"/>
                        <a:pt x="356" y="178"/>
                      </a:cubicBezTo>
                      <a:cubicBezTo>
                        <a:pt x="356" y="80"/>
                        <a:pt x="276" y="0"/>
                        <a:pt x="178" y="0"/>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grpSp>
          <p:sp>
            <p:nvSpPr>
              <p:cNvPr id="46" name="Freeform 44"/>
              <p:cNvSpPr>
                <a:spLocks/>
              </p:cNvSpPr>
              <p:nvPr/>
            </p:nvSpPr>
            <p:spPr bwMode="auto">
              <a:xfrm rot="14459689">
                <a:off x="4482231" y="3140491"/>
                <a:ext cx="545297" cy="762651"/>
              </a:xfrm>
              <a:custGeom>
                <a:avLst/>
                <a:gdLst>
                  <a:gd name="T0" fmla="*/ 2 w 74"/>
                  <a:gd name="T1" fmla="*/ 1 h 99"/>
                  <a:gd name="T2" fmla="*/ 4 w 74"/>
                  <a:gd name="T3" fmla="*/ 0 h 99"/>
                  <a:gd name="T4" fmla="*/ 63 w 74"/>
                  <a:gd name="T5" fmla="*/ 96 h 99"/>
                  <a:gd name="T6" fmla="*/ 59 w 74"/>
                  <a:gd name="T7" fmla="*/ 99 h 99"/>
                  <a:gd name="T8" fmla="*/ 56 w 74"/>
                  <a:gd name="T9" fmla="*/ 95 h 99"/>
                  <a:gd name="T10" fmla="*/ 3 w 74"/>
                  <a:gd name="T11" fmla="*/ 7 h 99"/>
                  <a:gd name="T12" fmla="*/ 0 w 74"/>
                  <a:gd name="T13" fmla="*/ 3 h 99"/>
                  <a:gd name="T14" fmla="*/ 2 w 74"/>
                  <a:gd name="T15" fmla="*/ 1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99">
                    <a:moveTo>
                      <a:pt x="2" y="1"/>
                    </a:moveTo>
                    <a:cubicBezTo>
                      <a:pt x="3" y="0"/>
                      <a:pt x="4" y="0"/>
                      <a:pt x="4" y="0"/>
                    </a:cubicBezTo>
                    <a:cubicBezTo>
                      <a:pt x="47" y="11"/>
                      <a:pt x="74" y="55"/>
                      <a:pt x="63" y="96"/>
                    </a:cubicBezTo>
                    <a:cubicBezTo>
                      <a:pt x="62" y="98"/>
                      <a:pt x="60" y="99"/>
                      <a:pt x="59" y="99"/>
                    </a:cubicBezTo>
                    <a:cubicBezTo>
                      <a:pt x="57" y="98"/>
                      <a:pt x="56" y="97"/>
                      <a:pt x="56" y="95"/>
                    </a:cubicBezTo>
                    <a:cubicBezTo>
                      <a:pt x="66" y="56"/>
                      <a:pt x="42" y="17"/>
                      <a:pt x="3" y="7"/>
                    </a:cubicBezTo>
                    <a:cubicBezTo>
                      <a:pt x="1" y="6"/>
                      <a:pt x="0" y="5"/>
                      <a:pt x="0" y="3"/>
                    </a:cubicBezTo>
                    <a:cubicBezTo>
                      <a:pt x="1" y="2"/>
                      <a:pt x="1" y="1"/>
                      <a:pt x="2" y="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 name="Freeform 44"/>
              <p:cNvSpPr>
                <a:spLocks/>
              </p:cNvSpPr>
              <p:nvPr/>
            </p:nvSpPr>
            <p:spPr bwMode="auto">
              <a:xfrm rot="7504012">
                <a:off x="4776452" y="3790778"/>
                <a:ext cx="545297" cy="762651"/>
              </a:xfrm>
              <a:custGeom>
                <a:avLst/>
                <a:gdLst>
                  <a:gd name="T0" fmla="*/ 2 w 74"/>
                  <a:gd name="T1" fmla="*/ 1 h 99"/>
                  <a:gd name="T2" fmla="*/ 4 w 74"/>
                  <a:gd name="T3" fmla="*/ 0 h 99"/>
                  <a:gd name="T4" fmla="*/ 63 w 74"/>
                  <a:gd name="T5" fmla="*/ 96 h 99"/>
                  <a:gd name="T6" fmla="*/ 59 w 74"/>
                  <a:gd name="T7" fmla="*/ 99 h 99"/>
                  <a:gd name="T8" fmla="*/ 56 w 74"/>
                  <a:gd name="T9" fmla="*/ 95 h 99"/>
                  <a:gd name="T10" fmla="*/ 3 w 74"/>
                  <a:gd name="T11" fmla="*/ 7 h 99"/>
                  <a:gd name="T12" fmla="*/ 0 w 74"/>
                  <a:gd name="T13" fmla="*/ 3 h 99"/>
                  <a:gd name="T14" fmla="*/ 2 w 74"/>
                  <a:gd name="T15" fmla="*/ 1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99">
                    <a:moveTo>
                      <a:pt x="2" y="1"/>
                    </a:moveTo>
                    <a:cubicBezTo>
                      <a:pt x="3" y="0"/>
                      <a:pt x="4" y="0"/>
                      <a:pt x="4" y="0"/>
                    </a:cubicBezTo>
                    <a:cubicBezTo>
                      <a:pt x="47" y="11"/>
                      <a:pt x="74" y="55"/>
                      <a:pt x="63" y="96"/>
                    </a:cubicBezTo>
                    <a:cubicBezTo>
                      <a:pt x="62" y="98"/>
                      <a:pt x="60" y="99"/>
                      <a:pt x="59" y="99"/>
                    </a:cubicBezTo>
                    <a:cubicBezTo>
                      <a:pt x="57" y="98"/>
                      <a:pt x="56" y="97"/>
                      <a:pt x="56" y="95"/>
                    </a:cubicBezTo>
                    <a:cubicBezTo>
                      <a:pt x="66" y="56"/>
                      <a:pt x="42" y="17"/>
                      <a:pt x="3" y="7"/>
                    </a:cubicBezTo>
                    <a:cubicBezTo>
                      <a:pt x="1" y="6"/>
                      <a:pt x="0" y="5"/>
                      <a:pt x="0" y="3"/>
                    </a:cubicBezTo>
                    <a:cubicBezTo>
                      <a:pt x="1" y="2"/>
                      <a:pt x="1" y="1"/>
                      <a:pt x="2" y="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Freeform 44"/>
              <p:cNvSpPr>
                <a:spLocks/>
              </p:cNvSpPr>
              <p:nvPr/>
            </p:nvSpPr>
            <p:spPr bwMode="auto">
              <a:xfrm rot="754588">
                <a:off x="5236786" y="3268516"/>
                <a:ext cx="545297" cy="762651"/>
              </a:xfrm>
              <a:custGeom>
                <a:avLst/>
                <a:gdLst>
                  <a:gd name="T0" fmla="*/ 2 w 74"/>
                  <a:gd name="T1" fmla="*/ 1 h 99"/>
                  <a:gd name="T2" fmla="*/ 4 w 74"/>
                  <a:gd name="T3" fmla="*/ 0 h 99"/>
                  <a:gd name="T4" fmla="*/ 63 w 74"/>
                  <a:gd name="T5" fmla="*/ 96 h 99"/>
                  <a:gd name="T6" fmla="*/ 59 w 74"/>
                  <a:gd name="T7" fmla="*/ 99 h 99"/>
                  <a:gd name="T8" fmla="*/ 56 w 74"/>
                  <a:gd name="T9" fmla="*/ 95 h 99"/>
                  <a:gd name="T10" fmla="*/ 3 w 74"/>
                  <a:gd name="T11" fmla="*/ 7 h 99"/>
                  <a:gd name="T12" fmla="*/ 0 w 74"/>
                  <a:gd name="T13" fmla="*/ 3 h 99"/>
                  <a:gd name="T14" fmla="*/ 2 w 74"/>
                  <a:gd name="T15" fmla="*/ 1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99">
                    <a:moveTo>
                      <a:pt x="2" y="1"/>
                    </a:moveTo>
                    <a:cubicBezTo>
                      <a:pt x="3" y="0"/>
                      <a:pt x="4" y="0"/>
                      <a:pt x="4" y="0"/>
                    </a:cubicBezTo>
                    <a:cubicBezTo>
                      <a:pt x="47" y="11"/>
                      <a:pt x="74" y="55"/>
                      <a:pt x="63" y="96"/>
                    </a:cubicBezTo>
                    <a:cubicBezTo>
                      <a:pt x="62" y="98"/>
                      <a:pt x="60" y="99"/>
                      <a:pt x="59" y="99"/>
                    </a:cubicBezTo>
                    <a:cubicBezTo>
                      <a:pt x="57" y="98"/>
                      <a:pt x="56" y="97"/>
                      <a:pt x="56" y="95"/>
                    </a:cubicBezTo>
                    <a:cubicBezTo>
                      <a:pt x="66" y="56"/>
                      <a:pt x="42" y="17"/>
                      <a:pt x="3" y="7"/>
                    </a:cubicBezTo>
                    <a:cubicBezTo>
                      <a:pt x="1" y="6"/>
                      <a:pt x="0" y="5"/>
                      <a:pt x="0" y="3"/>
                    </a:cubicBezTo>
                    <a:cubicBezTo>
                      <a:pt x="1" y="2"/>
                      <a:pt x="1" y="1"/>
                      <a:pt x="2" y="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9" name="Rectangle: Rounded Corners 8"/>
            <p:cNvSpPr/>
            <p:nvPr/>
          </p:nvSpPr>
          <p:spPr>
            <a:xfrm>
              <a:off x="779929" y="1653988"/>
              <a:ext cx="954742" cy="2839131"/>
            </a:xfrm>
            <a:prstGeom prst="roundRect">
              <a:avLst/>
            </a:prstGeom>
            <a:noFill/>
            <a:ln w="28575">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cxnSp>
          <p:nvCxnSpPr>
            <p:cNvPr id="52" name="Straight Connector 51"/>
            <p:cNvCxnSpPr>
              <a:stCxn id="119" idx="2"/>
              <a:endCxn id="9" idx="3"/>
            </p:cNvCxnSpPr>
            <p:nvPr/>
          </p:nvCxnSpPr>
          <p:spPr bwMode="auto">
            <a:xfrm flipH="1">
              <a:off x="1734671" y="3070949"/>
              <a:ext cx="915961" cy="2605"/>
            </a:xfrm>
            <a:prstGeom prst="line">
              <a:avLst/>
            </a:prstGeom>
            <a:noFill/>
            <a:ln w="12700" cap="flat" cmpd="sng" algn="ctr">
              <a:solidFill>
                <a:schemeClr val="bg1"/>
              </a:solidFill>
              <a:prstDash val="dash"/>
              <a:round/>
              <a:headEnd type="none" w="med" len="med"/>
              <a:tailEnd type="none"/>
            </a:ln>
            <a:effectLst/>
          </p:spPr>
        </p:cxnSp>
        <p:pic>
          <p:nvPicPr>
            <p:cNvPr id="58" name="Picture 12" descr="https://d3jk01pucauc5.cloudfront.net/catalog/product/cache/1/image/9df78eab33525d08d6e5fb8d27136e95/a/s/asl_homekit_edition_angled_dark_gray.jpg">
              <a:extLst/>
            </p:cNvPr>
            <p:cNvPicPr>
              <a:picLocks noChangeAspect="1" noChangeArrowheads="1"/>
            </p:cNvPicPr>
            <p:nvPr/>
          </p:nvPicPr>
          <p:blipFill>
            <a:blip r:embed="rId7" cstate="screen">
              <a:extLst>
                <a:ext uri="{BEBA8EAE-BF5A-486C-A8C5-ECC9F3942E4B}">
                  <a14:imgProps xmlns:a14="http://schemas.microsoft.com/office/drawing/2010/main">
                    <a14:imgLayer r:embed="rId8">
                      <a14:imgEffect>
                        <a14:backgroundRemoval t="0" b="100000" l="607" r="100000">
                          <a14:backgroundMark x1="83763" y1="49924" x2="83763" y2="49924"/>
                          <a14:backgroundMark x1="84067" y1="35812" x2="84067" y2="35812"/>
                          <a14:backgroundMark x1="83460" y1="39454" x2="83460" y2="39454"/>
                          <a14:backgroundMark x1="83156" y1="33839" x2="83156" y2="33839"/>
                          <a14:backgroundMark x1="81791" y1="30804" x2="81791" y2="30804"/>
                        </a14:backgroundRemoval>
                      </a14:imgEffect>
                    </a14:imgLayer>
                  </a14:imgProps>
                </a:ext>
              </a:extLst>
            </a:blip>
            <a:srcRect/>
            <a:stretch>
              <a:fillRect/>
            </a:stretch>
          </p:blipFill>
          <p:spPr bwMode="auto">
            <a:xfrm>
              <a:off x="995521" y="3916576"/>
              <a:ext cx="516513" cy="516513"/>
            </a:xfrm>
            <a:prstGeom prst="rect">
              <a:avLst/>
            </a:prstGeom>
            <a:noFill/>
          </p:spPr>
        </p:pic>
        <p:pic>
          <p:nvPicPr>
            <p:cNvPr id="59" name="Picture 6" descr="http://www.myboard.de/uploads/pics/SMARTBoard_SB885ix.jpg">
              <a:extLst/>
            </p:cNvPr>
            <p:cNvPicPr>
              <a:picLocks noChangeAspect="1" noChangeArrowheads="1"/>
            </p:cNvPicPr>
            <p:nvPr/>
          </p:nvPicPr>
          <p:blipFill>
            <a:blip r:embed="rId9" cstate="print">
              <a:extLst>
                <a:ext uri="{BEBA8EAE-BF5A-486C-A8C5-ECC9F3942E4B}">
                  <a14:imgProps xmlns:a14="http://schemas.microsoft.com/office/drawing/2010/main">
                    <a14:imgLayer r:embed="rId10">
                      <a14:imgEffect>
                        <a14:backgroundRemoval t="0" b="100000" l="0" r="99338">
                          <a14:backgroundMark x1="68874" y1="98588" x2="68874" y2="98588"/>
                        </a14:backgroundRemoval>
                      </a14:imgEffect>
                    </a14:imgLayer>
                  </a14:imgProps>
                </a:ext>
              </a:extLst>
            </a:blip>
            <a:srcRect/>
            <a:stretch>
              <a:fillRect/>
            </a:stretch>
          </p:blipFill>
          <p:spPr bwMode="auto">
            <a:xfrm>
              <a:off x="887956" y="1800635"/>
              <a:ext cx="731644" cy="687077"/>
            </a:xfrm>
            <a:prstGeom prst="rect">
              <a:avLst/>
            </a:prstGeom>
            <a:noFill/>
          </p:spPr>
        </p:pic>
        <p:pic>
          <p:nvPicPr>
            <p:cNvPr id="60" name="Picture 4" descr="https://www.adafruit.com/includes/templates/adafruit2013/images/little_pi.png">
              <a:extLst/>
            </p:cNvPr>
            <p:cNvPicPr>
              <a:picLocks noChangeAspect="1" noChangeArrowheads="1"/>
            </p:cNvPicPr>
            <p:nvPr/>
          </p:nvPicPr>
          <p:blipFill>
            <a:blip r:embed="rId11" cstate="print"/>
            <a:srcRect/>
            <a:stretch>
              <a:fillRect/>
            </a:stretch>
          </p:blipFill>
          <p:spPr bwMode="auto">
            <a:xfrm>
              <a:off x="962323" y="3415780"/>
              <a:ext cx="514899" cy="429667"/>
            </a:xfrm>
            <a:prstGeom prst="rect">
              <a:avLst/>
            </a:prstGeom>
            <a:noFill/>
          </p:spPr>
        </p:pic>
        <p:pic>
          <p:nvPicPr>
            <p:cNvPr id="22530" name="Picture 2" descr="Image result for surveillance camera"/>
            <p:cNvPicPr>
              <a:picLocks noChangeAspect="1" noChangeArrowheads="1"/>
            </p:cNvPicPr>
            <p:nvPr/>
          </p:nvPicPr>
          <p:blipFill>
            <a:blip r:embed="rId12" cstate="print">
              <a:extLst>
                <a:ext uri="{BEBA8EAE-BF5A-486C-A8C5-ECC9F3942E4B}">
                  <a14:imgProps xmlns:a14="http://schemas.microsoft.com/office/drawing/2010/main">
                    <a14:imgLayer r:embed="rId13">
                      <a14:imgEffect>
                        <a14:backgroundRemoval t="5250" b="96000" l="10000" r="90000"/>
                      </a14:imgEffect>
                    </a14:imgLayer>
                  </a14:imgProps>
                </a:ext>
                <a:ext uri="{28A0092B-C50C-407E-A947-70E740481C1C}">
                  <a14:useLocalDpi xmlns:a14="http://schemas.microsoft.com/office/drawing/2010/main" val="0"/>
                </a:ext>
              </a:extLst>
            </a:blip>
            <a:srcRect/>
            <a:stretch>
              <a:fillRect/>
            </a:stretch>
          </p:blipFill>
          <p:spPr bwMode="auto">
            <a:xfrm>
              <a:off x="740435" y="2694839"/>
              <a:ext cx="974719" cy="649812"/>
            </a:xfrm>
            <a:prstGeom prst="rect">
              <a:avLst/>
            </a:prstGeom>
            <a:noFill/>
            <a:extLst>
              <a:ext uri="{909E8E84-426E-40DD-AFC4-6F175D3DCCD1}">
                <a14:hiddenFill xmlns:a14="http://schemas.microsoft.com/office/drawing/2010/main">
                  <a:solidFill>
                    <a:srgbClr val="FFFFFF"/>
                  </a:solidFill>
                </a14:hiddenFill>
              </a:ext>
            </a:extLst>
          </p:spPr>
        </p:pic>
      </p:grpSp>
    </p:spTree>
    <p:custDataLst>
      <p:tags r:id="rId1"/>
    </p:custDataLst>
    <p:extLst>
      <p:ext uri="{BB962C8B-B14F-4D97-AF65-F5344CB8AC3E}">
        <p14:creationId xmlns:p14="http://schemas.microsoft.com/office/powerpoint/2010/main" val="402639660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9999"/>
        </a:solidFill>
        <a:effectLst/>
      </p:bgPr>
    </p:bg>
    <p:spTree>
      <p:nvGrpSpPr>
        <p:cNvPr id="1" name=""/>
        <p:cNvGrpSpPr/>
        <p:nvPr/>
      </p:nvGrpSpPr>
      <p:grpSpPr>
        <a:xfrm>
          <a:off x="0" y="0"/>
          <a:ext cx="0" cy="0"/>
          <a:chOff x="0" y="0"/>
          <a:chExt cx="0" cy="0"/>
        </a:xfrm>
      </p:grpSpPr>
      <p:pic>
        <p:nvPicPr>
          <p:cNvPr id="31" name="Picture 22">
            <a:extLst>
              <a:ext uri="{FF2B5EF4-FFF2-40B4-BE49-F238E27FC236}">
                <a16:creationId xmlns:a16="http://schemas.microsoft.com/office/drawing/2014/main" id="{7EC7561A-561B-412C-8D01-BAB84B5B970F}"/>
              </a:ext>
            </a:extLst>
          </p:cNvPr>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 y="0"/>
            <a:ext cx="9144000" cy="5143500"/>
          </a:xfrm>
          <a:prstGeom prst="rect">
            <a:avLst/>
          </a:prstGeom>
        </p:spPr>
      </p:pic>
      <p:sp>
        <p:nvSpPr>
          <p:cNvPr id="30" name="Rectangle 53">
            <a:extLst>
              <a:ext uri="{FF2B5EF4-FFF2-40B4-BE49-F238E27FC236}">
                <a16:creationId xmlns:a16="http://schemas.microsoft.com/office/drawing/2014/main" id="{E0AF1804-3ADC-486F-ADB9-DADC717ED23C}"/>
              </a:ext>
            </a:extLst>
          </p:cNvPr>
          <p:cNvSpPr/>
          <p:nvPr>
            <p:custDataLst>
              <p:tags r:id="rId1"/>
            </p:custDataLst>
          </p:nvPr>
        </p:nvSpPr>
        <p:spPr>
          <a:xfrm>
            <a:off x="0" y="0"/>
            <a:ext cx="9143999" cy="5153026"/>
          </a:xfrm>
          <a:prstGeom prst="rect">
            <a:avLst/>
          </a:prstGeom>
          <a:gradFill>
            <a:gsLst>
              <a:gs pos="81000">
                <a:schemeClr val="accent1"/>
              </a:gs>
              <a:gs pos="0">
                <a:schemeClr val="accent1">
                  <a:lumMod val="75000"/>
                  <a:alpha val="5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sp>
        <p:nvSpPr>
          <p:cNvPr id="29" name="Trapèze 28"/>
          <p:cNvSpPr/>
          <p:nvPr/>
        </p:nvSpPr>
        <p:spPr>
          <a:xfrm>
            <a:off x="4188205" y="3124429"/>
            <a:ext cx="2005795" cy="1158860"/>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17" name="Trapèze 16"/>
          <p:cNvSpPr/>
          <p:nvPr/>
        </p:nvSpPr>
        <p:spPr>
          <a:xfrm>
            <a:off x="2620564" y="1656117"/>
            <a:ext cx="3554533" cy="1158860"/>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16" name="Trapèze 15"/>
          <p:cNvSpPr/>
          <p:nvPr/>
        </p:nvSpPr>
        <p:spPr>
          <a:xfrm>
            <a:off x="2603380" y="2957513"/>
            <a:ext cx="2005795" cy="1158860"/>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2" name="Rectangle 1"/>
          <p:cNvSpPr/>
          <p:nvPr/>
        </p:nvSpPr>
        <p:spPr>
          <a:xfrm>
            <a:off x="1" y="4384935"/>
            <a:ext cx="2400650" cy="758565"/>
          </a:xfrm>
          <a:prstGeom prst="rect">
            <a:avLst/>
          </a:prstGeom>
          <a:solidFill>
            <a:srgbClr val="61A7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3" name="ZoneTexte 2"/>
          <p:cNvSpPr txBox="1"/>
          <p:nvPr/>
        </p:nvSpPr>
        <p:spPr>
          <a:xfrm>
            <a:off x="147717" y="4634791"/>
            <a:ext cx="1905910" cy="300082"/>
          </a:xfrm>
          <a:prstGeom prst="rect">
            <a:avLst/>
          </a:prstGeom>
          <a:noFill/>
        </p:spPr>
        <p:txBody>
          <a:bodyPr wrap="square" rtlCol="0">
            <a:spAutoFit/>
          </a:bodyPr>
          <a:lstStyle/>
          <a:p>
            <a:pPr algn="ctr" defTabSz="685800" fontAlgn="auto">
              <a:spcBef>
                <a:spcPts val="0"/>
              </a:spcBef>
              <a:spcAft>
                <a:spcPts val="0"/>
              </a:spcAft>
            </a:pPr>
            <a:r>
              <a:rPr lang="en-US" sz="1350" b="1" dirty="0" err="1">
                <a:solidFill>
                  <a:prstClr val="white"/>
                </a:solidFill>
              </a:rPr>
              <a:t>Borde</a:t>
            </a:r>
            <a:r>
              <a:rPr lang="en-US" sz="1350" b="1" dirty="0">
                <a:solidFill>
                  <a:prstClr val="white"/>
                </a:solidFill>
              </a:rPr>
              <a:t> IoT</a:t>
            </a:r>
          </a:p>
        </p:txBody>
      </p:sp>
      <p:sp>
        <p:nvSpPr>
          <p:cNvPr id="4" name="ZoneTexte 3"/>
          <p:cNvSpPr txBox="1"/>
          <p:nvPr/>
        </p:nvSpPr>
        <p:spPr>
          <a:xfrm>
            <a:off x="403458" y="203635"/>
            <a:ext cx="5257800" cy="415498"/>
          </a:xfrm>
          <a:prstGeom prst="rect">
            <a:avLst/>
          </a:prstGeom>
          <a:noFill/>
        </p:spPr>
        <p:txBody>
          <a:bodyPr wrap="square" rtlCol="0">
            <a:spAutoFit/>
          </a:bodyPr>
          <a:lstStyle/>
          <a:p>
            <a:pPr defTabSz="685800" fontAlgn="auto">
              <a:spcBef>
                <a:spcPts val="0"/>
              </a:spcBef>
              <a:spcAft>
                <a:spcPts val="0"/>
              </a:spcAft>
            </a:pPr>
            <a:r>
              <a:rPr lang="en-US" sz="2100" b="1" dirty="0" err="1">
                <a:solidFill>
                  <a:prstClr val="white"/>
                </a:solidFill>
                <a:latin typeface="Calibri" panose="020F0502020204030204"/>
              </a:rPr>
              <a:t>Componentes</a:t>
            </a:r>
            <a:r>
              <a:rPr lang="en-US" sz="2100" b="1" dirty="0">
                <a:solidFill>
                  <a:prstClr val="white"/>
                </a:solidFill>
                <a:latin typeface="Calibri" panose="020F0502020204030204"/>
              </a:rPr>
              <a:t> de IoT</a:t>
            </a:r>
          </a:p>
        </p:txBody>
      </p:sp>
      <p:pic>
        <p:nvPicPr>
          <p:cNvPr id="6" name="Imag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96652" y="3134024"/>
            <a:ext cx="226800" cy="270000"/>
          </a:xfrm>
          <a:prstGeom prst="rect">
            <a:avLst/>
          </a:prstGeom>
        </p:spPr>
      </p:pic>
      <p:pic>
        <p:nvPicPr>
          <p:cNvPr id="8" name="Imag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36319" y="2168890"/>
            <a:ext cx="453600" cy="540000"/>
          </a:xfrm>
          <a:prstGeom prst="rect">
            <a:avLst/>
          </a:prstGeom>
        </p:spPr>
      </p:pic>
      <p:pic>
        <p:nvPicPr>
          <p:cNvPr id="9" name="Imag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74986" y="3404024"/>
            <a:ext cx="226800" cy="270000"/>
          </a:xfrm>
          <a:prstGeom prst="rect">
            <a:avLst/>
          </a:prstGeom>
        </p:spPr>
      </p:pic>
      <p:pic>
        <p:nvPicPr>
          <p:cNvPr id="10" name="Imag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27965" y="3689098"/>
            <a:ext cx="226800" cy="270000"/>
          </a:xfrm>
          <a:prstGeom prst="rect">
            <a:avLst/>
          </a:prstGeom>
        </p:spPr>
      </p:pic>
      <p:pic>
        <p:nvPicPr>
          <p:cNvPr id="11" name="Image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46663" y="3206924"/>
            <a:ext cx="226800" cy="270000"/>
          </a:xfrm>
          <a:prstGeom prst="rect">
            <a:avLst/>
          </a:prstGeom>
        </p:spPr>
      </p:pic>
      <p:pic>
        <p:nvPicPr>
          <p:cNvPr id="12" name="Image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71031" y="3725548"/>
            <a:ext cx="226800" cy="270000"/>
          </a:xfrm>
          <a:prstGeom prst="rect">
            <a:avLst/>
          </a:prstGeom>
        </p:spPr>
      </p:pic>
      <p:pic>
        <p:nvPicPr>
          <p:cNvPr id="13" name="Image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94812" y="3811234"/>
            <a:ext cx="226800" cy="270000"/>
          </a:xfrm>
          <a:prstGeom prst="rect">
            <a:avLst/>
          </a:prstGeom>
        </p:spPr>
      </p:pic>
      <p:pic>
        <p:nvPicPr>
          <p:cNvPr id="14" name="Imag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623917" y="3324824"/>
            <a:ext cx="226800" cy="270000"/>
          </a:xfrm>
          <a:prstGeom prst="rect">
            <a:avLst/>
          </a:prstGeom>
        </p:spPr>
      </p:pic>
      <p:pic>
        <p:nvPicPr>
          <p:cNvPr id="15" name="Imag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65555" y="3476924"/>
            <a:ext cx="226800" cy="270000"/>
          </a:xfrm>
          <a:prstGeom prst="rect">
            <a:avLst/>
          </a:prstGeom>
        </p:spPr>
      </p:pic>
      <p:sp>
        <p:nvSpPr>
          <p:cNvPr id="19" name="ZoneTexte 18"/>
          <p:cNvSpPr txBox="1"/>
          <p:nvPr/>
        </p:nvSpPr>
        <p:spPr>
          <a:xfrm>
            <a:off x="677901" y="3461486"/>
            <a:ext cx="1814863" cy="507831"/>
          </a:xfrm>
          <a:prstGeom prst="rect">
            <a:avLst/>
          </a:prstGeom>
          <a:noFill/>
        </p:spPr>
        <p:txBody>
          <a:bodyPr wrap="square" rtlCol="0">
            <a:spAutoFit/>
          </a:bodyPr>
          <a:lstStyle/>
          <a:p>
            <a:pPr defTabSz="685800" fontAlgn="auto">
              <a:spcBef>
                <a:spcPts val="0"/>
              </a:spcBef>
              <a:spcAft>
                <a:spcPts val="0"/>
              </a:spcAft>
            </a:pPr>
            <a:r>
              <a:rPr lang="en-US" sz="1350" b="1" dirty="0">
                <a:solidFill>
                  <a:prstClr val="white"/>
                </a:solidFill>
              </a:rPr>
              <a:t>Plano IoT</a:t>
            </a:r>
          </a:p>
          <a:p>
            <a:pPr defTabSz="685800" fontAlgn="auto">
              <a:spcBef>
                <a:spcPts val="0"/>
              </a:spcBef>
              <a:spcAft>
                <a:spcPts val="0"/>
              </a:spcAft>
            </a:pPr>
            <a:r>
              <a:rPr lang="en-US" sz="1350" dirty="0">
                <a:solidFill>
                  <a:prstClr val="white"/>
                </a:solidFill>
              </a:rPr>
              <a:t>(Redes IoT locales)</a:t>
            </a:r>
          </a:p>
        </p:txBody>
      </p:sp>
      <p:sp>
        <p:nvSpPr>
          <p:cNvPr id="20" name="ZoneTexte 19"/>
          <p:cNvSpPr txBox="1"/>
          <p:nvPr/>
        </p:nvSpPr>
        <p:spPr>
          <a:xfrm>
            <a:off x="652875" y="2097047"/>
            <a:ext cx="1814863" cy="300082"/>
          </a:xfrm>
          <a:prstGeom prst="rect">
            <a:avLst/>
          </a:prstGeom>
          <a:noFill/>
        </p:spPr>
        <p:txBody>
          <a:bodyPr wrap="square" rtlCol="0">
            <a:spAutoFit/>
          </a:bodyPr>
          <a:lstStyle/>
          <a:p>
            <a:pPr defTabSz="685800" fontAlgn="auto">
              <a:spcBef>
                <a:spcPts val="0"/>
              </a:spcBef>
              <a:spcAft>
                <a:spcPts val="0"/>
              </a:spcAft>
            </a:pPr>
            <a:r>
              <a:rPr lang="en-US" sz="1350" b="1" dirty="0">
                <a:solidFill>
                  <a:prstClr val="white"/>
                </a:solidFill>
              </a:rPr>
              <a:t>Gateway IoT</a:t>
            </a:r>
          </a:p>
        </p:txBody>
      </p:sp>
      <p:pic>
        <p:nvPicPr>
          <p:cNvPr id="21" name="Imag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19537" y="2147513"/>
            <a:ext cx="453600" cy="540000"/>
          </a:xfrm>
          <a:prstGeom prst="rect">
            <a:avLst/>
          </a:prstGeom>
          <a:noFill/>
        </p:spPr>
      </p:pic>
      <p:pic>
        <p:nvPicPr>
          <p:cNvPr id="22" name="Image 2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19394" y="1750477"/>
            <a:ext cx="453600" cy="540000"/>
          </a:xfrm>
          <a:prstGeom prst="rect">
            <a:avLst/>
          </a:prstGeom>
        </p:spPr>
      </p:pic>
      <p:pic>
        <p:nvPicPr>
          <p:cNvPr id="23" name="Image 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21179" y="1695547"/>
            <a:ext cx="453600" cy="540000"/>
          </a:xfrm>
          <a:prstGeom prst="rect">
            <a:avLst/>
          </a:prstGeom>
        </p:spPr>
      </p:pic>
      <p:sp>
        <p:nvSpPr>
          <p:cNvPr id="25" name="Cube 24"/>
          <p:cNvSpPr/>
          <p:nvPr/>
        </p:nvSpPr>
        <p:spPr>
          <a:xfrm>
            <a:off x="3585288" y="765636"/>
            <a:ext cx="1504631" cy="682219"/>
          </a:xfrm>
          <a:prstGeom prst="cub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24" name="ZoneTexte 23"/>
          <p:cNvSpPr txBox="1"/>
          <p:nvPr/>
        </p:nvSpPr>
        <p:spPr>
          <a:xfrm>
            <a:off x="3951058" y="949769"/>
            <a:ext cx="791588" cy="507831"/>
          </a:xfrm>
          <a:prstGeom prst="rect">
            <a:avLst/>
          </a:prstGeom>
          <a:noFill/>
        </p:spPr>
        <p:txBody>
          <a:bodyPr wrap="square" rtlCol="0">
            <a:spAutoFit/>
          </a:bodyPr>
          <a:lstStyle/>
          <a:p>
            <a:pPr defTabSz="685800" fontAlgn="auto">
              <a:spcBef>
                <a:spcPts val="0"/>
              </a:spcBef>
              <a:spcAft>
                <a:spcPts val="0"/>
              </a:spcAft>
            </a:pPr>
            <a:r>
              <a:rPr lang="en-US" sz="1350" b="1" dirty="0" err="1">
                <a:solidFill>
                  <a:prstClr val="white"/>
                </a:solidFill>
              </a:rPr>
              <a:t>IoT</a:t>
            </a:r>
            <a:r>
              <a:rPr lang="en-US" sz="1350" b="1" dirty="0">
                <a:solidFill>
                  <a:prstClr val="white"/>
                </a:solidFill>
              </a:rPr>
              <a:t> Hub</a:t>
            </a:r>
          </a:p>
        </p:txBody>
      </p:sp>
      <p:sp>
        <p:nvSpPr>
          <p:cNvPr id="26" name="ZoneTexte 25"/>
          <p:cNvSpPr txBox="1"/>
          <p:nvPr/>
        </p:nvSpPr>
        <p:spPr>
          <a:xfrm>
            <a:off x="6132234" y="3134024"/>
            <a:ext cx="2940228" cy="1338828"/>
          </a:xfrm>
          <a:prstGeom prst="rect">
            <a:avLst/>
          </a:prstGeom>
          <a:noFill/>
        </p:spPr>
        <p:txBody>
          <a:bodyPr wrap="square" rtlCol="0">
            <a:spAutoFit/>
          </a:bodyPr>
          <a:lstStyle>
            <a:defPPr>
              <a:defRPr lang="fr-FR"/>
            </a:defPPr>
            <a:lvl1pPr>
              <a:defRPr>
                <a:solidFill>
                  <a:schemeClr val="bg1"/>
                </a:solidFill>
                <a:latin typeface="Trebuchet MS" panose="020B0603020202020204" pitchFamily="34" charset="0"/>
              </a:defRPr>
            </a:lvl1pPr>
          </a:lstStyle>
          <a:p>
            <a:pPr defTabSz="685800" fontAlgn="auto">
              <a:spcBef>
                <a:spcPts val="0"/>
              </a:spcBef>
              <a:spcAft>
                <a:spcPts val="0"/>
              </a:spcAft>
            </a:pPr>
            <a:r>
              <a:rPr lang="en-US" sz="1350" dirty="0" err="1">
                <a:solidFill>
                  <a:prstClr val="white"/>
                </a:solidFill>
              </a:rPr>
              <a:t>Dispositivos</a:t>
            </a:r>
            <a:r>
              <a:rPr lang="en-US" sz="1350" dirty="0">
                <a:solidFill>
                  <a:prstClr val="white"/>
                </a:solidFill>
              </a:rPr>
              <a:t> IoT</a:t>
            </a:r>
          </a:p>
          <a:p>
            <a:pPr marL="214313" indent="-214313" defTabSz="685800" fontAlgn="auto">
              <a:spcBef>
                <a:spcPts val="0"/>
              </a:spcBef>
              <a:spcAft>
                <a:spcPts val="0"/>
              </a:spcAft>
              <a:buFont typeface="Arial" panose="020B0604020202020204" pitchFamily="34" charset="0"/>
              <a:buChar char="•"/>
            </a:pPr>
            <a:r>
              <a:rPr lang="en-US" sz="1350" dirty="0">
                <a:solidFill>
                  <a:prstClr val="white"/>
                </a:solidFill>
              </a:rPr>
              <a:t>Genera </a:t>
            </a:r>
            <a:r>
              <a:rPr lang="en-US" sz="1350" dirty="0" err="1">
                <a:solidFill>
                  <a:prstClr val="white"/>
                </a:solidFill>
              </a:rPr>
              <a:t>una</a:t>
            </a:r>
            <a:r>
              <a:rPr lang="en-US" sz="1350" dirty="0">
                <a:solidFill>
                  <a:prstClr val="white"/>
                </a:solidFill>
              </a:rPr>
              <a:t> gran </a:t>
            </a:r>
            <a:r>
              <a:rPr lang="en-US" sz="1350" dirty="0" err="1">
                <a:solidFill>
                  <a:prstClr val="white"/>
                </a:solidFill>
              </a:rPr>
              <a:t>cantidad</a:t>
            </a:r>
            <a:r>
              <a:rPr lang="en-US" sz="1350" dirty="0">
                <a:solidFill>
                  <a:prstClr val="white"/>
                </a:solidFill>
              </a:rPr>
              <a:t> de </a:t>
            </a:r>
            <a:r>
              <a:rPr lang="en-US" sz="1350" dirty="0" err="1">
                <a:solidFill>
                  <a:prstClr val="white"/>
                </a:solidFill>
              </a:rPr>
              <a:t>datos</a:t>
            </a:r>
            <a:endParaRPr lang="en-US" sz="1350" dirty="0">
              <a:solidFill>
                <a:prstClr val="white"/>
              </a:solidFill>
            </a:endParaRPr>
          </a:p>
          <a:p>
            <a:pPr marL="214313" indent="-214313" defTabSz="685800" fontAlgn="auto">
              <a:spcBef>
                <a:spcPts val="0"/>
              </a:spcBef>
              <a:spcAft>
                <a:spcPts val="0"/>
              </a:spcAft>
              <a:buFont typeface="Arial" panose="020B0604020202020204" pitchFamily="34" charset="0"/>
              <a:buChar char="•"/>
            </a:pPr>
            <a:r>
              <a:rPr lang="en-US" sz="1350" dirty="0">
                <a:solidFill>
                  <a:prstClr val="white"/>
                </a:solidFill>
              </a:rPr>
              <a:t>Sin context </a:t>
            </a:r>
            <a:r>
              <a:rPr lang="en-US" sz="1350" dirty="0" err="1">
                <a:solidFill>
                  <a:prstClr val="white"/>
                </a:solidFill>
              </a:rPr>
              <a:t>en</a:t>
            </a:r>
            <a:r>
              <a:rPr lang="en-US" sz="1350" dirty="0">
                <a:solidFill>
                  <a:prstClr val="white"/>
                </a:solidFill>
              </a:rPr>
              <a:t> la </a:t>
            </a:r>
            <a:r>
              <a:rPr lang="en-US" sz="1350" dirty="0" err="1">
                <a:solidFill>
                  <a:prstClr val="white"/>
                </a:solidFill>
              </a:rPr>
              <a:t>mayoría</a:t>
            </a:r>
            <a:r>
              <a:rPr lang="en-US" sz="1350" dirty="0">
                <a:solidFill>
                  <a:prstClr val="white"/>
                </a:solidFill>
              </a:rPr>
              <a:t> de </a:t>
            </a:r>
            <a:r>
              <a:rPr lang="en-US" sz="1350" dirty="0" err="1">
                <a:solidFill>
                  <a:prstClr val="white"/>
                </a:solidFill>
              </a:rPr>
              <a:t>los</a:t>
            </a:r>
            <a:r>
              <a:rPr lang="en-US" sz="1350" dirty="0">
                <a:solidFill>
                  <a:prstClr val="white"/>
                </a:solidFill>
              </a:rPr>
              <a:t> </a:t>
            </a:r>
            <a:r>
              <a:rPr lang="en-US" sz="1350" dirty="0" err="1">
                <a:solidFill>
                  <a:prstClr val="white"/>
                </a:solidFill>
              </a:rPr>
              <a:t>casos</a:t>
            </a:r>
            <a:endParaRPr lang="en-US" sz="1350" dirty="0">
              <a:solidFill>
                <a:prstClr val="white"/>
              </a:solidFill>
            </a:endParaRPr>
          </a:p>
          <a:p>
            <a:pPr marL="214313" indent="-214313" defTabSz="685800" fontAlgn="auto">
              <a:spcBef>
                <a:spcPts val="0"/>
              </a:spcBef>
              <a:spcAft>
                <a:spcPts val="0"/>
              </a:spcAft>
              <a:buFont typeface="Arial" panose="020B0604020202020204" pitchFamily="34" charset="0"/>
              <a:buChar char="•"/>
            </a:pPr>
            <a:r>
              <a:rPr lang="en-US" sz="1350" dirty="0" err="1">
                <a:solidFill>
                  <a:prstClr val="white"/>
                </a:solidFill>
              </a:rPr>
              <a:t>Varios</a:t>
            </a:r>
            <a:r>
              <a:rPr lang="en-US" sz="1350" dirty="0">
                <a:solidFill>
                  <a:prstClr val="white"/>
                </a:solidFill>
              </a:rPr>
              <a:t> </a:t>
            </a:r>
            <a:r>
              <a:rPr lang="en-US" sz="1350" dirty="0" err="1">
                <a:solidFill>
                  <a:prstClr val="white"/>
                </a:solidFill>
              </a:rPr>
              <a:t>protocolos</a:t>
            </a:r>
            <a:endParaRPr lang="en-US" sz="1350" dirty="0">
              <a:solidFill>
                <a:prstClr val="white"/>
              </a:solidFill>
            </a:endParaRPr>
          </a:p>
        </p:txBody>
      </p:sp>
      <p:sp>
        <p:nvSpPr>
          <p:cNvPr id="27" name="ZoneTexte 26"/>
          <p:cNvSpPr txBox="1"/>
          <p:nvPr/>
        </p:nvSpPr>
        <p:spPr>
          <a:xfrm>
            <a:off x="6212280" y="1688548"/>
            <a:ext cx="2860183" cy="1131079"/>
          </a:xfrm>
          <a:prstGeom prst="rect">
            <a:avLst/>
          </a:prstGeom>
          <a:noFill/>
        </p:spPr>
        <p:txBody>
          <a:bodyPr wrap="square" rtlCol="0">
            <a:spAutoFit/>
          </a:bodyPr>
          <a:lstStyle/>
          <a:p>
            <a:pPr defTabSz="685800" fontAlgn="auto">
              <a:spcBef>
                <a:spcPts val="0"/>
              </a:spcBef>
              <a:spcAft>
                <a:spcPts val="0"/>
              </a:spcAft>
            </a:pPr>
            <a:r>
              <a:rPr lang="en-US" sz="1350" dirty="0">
                <a:solidFill>
                  <a:prstClr val="white"/>
                </a:solidFill>
              </a:rPr>
              <a:t>Gateway </a:t>
            </a:r>
          </a:p>
          <a:p>
            <a:pPr marL="214313" indent="-214313" defTabSz="685800" fontAlgn="auto">
              <a:spcBef>
                <a:spcPts val="0"/>
              </a:spcBef>
              <a:spcAft>
                <a:spcPts val="0"/>
              </a:spcAft>
              <a:buFont typeface="Arial" panose="020B0604020202020204" pitchFamily="34" charset="0"/>
              <a:buChar char="•"/>
            </a:pPr>
            <a:r>
              <a:rPr lang="en-US" sz="1350" dirty="0" err="1">
                <a:solidFill>
                  <a:prstClr val="white"/>
                </a:solidFill>
              </a:rPr>
              <a:t>Gestiona</a:t>
            </a:r>
            <a:r>
              <a:rPr lang="en-US" sz="1350" dirty="0">
                <a:solidFill>
                  <a:prstClr val="white"/>
                </a:solidFill>
              </a:rPr>
              <a:t> el </a:t>
            </a:r>
            <a:r>
              <a:rPr lang="en-US" sz="1350" dirty="0" err="1">
                <a:solidFill>
                  <a:prstClr val="white"/>
                </a:solidFill>
              </a:rPr>
              <a:t>tráfico</a:t>
            </a:r>
            <a:r>
              <a:rPr lang="en-US" sz="1350" dirty="0">
                <a:solidFill>
                  <a:prstClr val="white"/>
                </a:solidFill>
              </a:rPr>
              <a:t> de las </a:t>
            </a:r>
            <a:r>
              <a:rPr lang="en-US" sz="1350" dirty="0" err="1">
                <a:solidFill>
                  <a:prstClr val="white"/>
                </a:solidFill>
              </a:rPr>
              <a:t>redes</a:t>
            </a:r>
            <a:r>
              <a:rPr lang="en-US" sz="1350" dirty="0">
                <a:solidFill>
                  <a:prstClr val="white"/>
                </a:solidFill>
              </a:rPr>
              <a:t> IoT</a:t>
            </a:r>
          </a:p>
          <a:p>
            <a:pPr marL="214313" indent="-214313" defTabSz="685800" fontAlgn="auto">
              <a:spcBef>
                <a:spcPts val="0"/>
              </a:spcBef>
              <a:spcAft>
                <a:spcPts val="0"/>
              </a:spcAft>
              <a:buFont typeface="Arial" panose="020B0604020202020204" pitchFamily="34" charset="0"/>
              <a:buChar char="•"/>
            </a:pPr>
            <a:r>
              <a:rPr lang="en-US" sz="1350" dirty="0" err="1">
                <a:solidFill>
                  <a:prstClr val="white"/>
                </a:solidFill>
              </a:rPr>
              <a:t>Transfiere</a:t>
            </a:r>
            <a:r>
              <a:rPr lang="en-US" sz="1350" dirty="0">
                <a:solidFill>
                  <a:prstClr val="white"/>
                </a:solidFill>
              </a:rPr>
              <a:t> </a:t>
            </a:r>
            <a:r>
              <a:rPr lang="en-US" sz="1350" dirty="0" err="1">
                <a:solidFill>
                  <a:prstClr val="white"/>
                </a:solidFill>
              </a:rPr>
              <a:t>datos</a:t>
            </a:r>
            <a:r>
              <a:rPr lang="en-US" sz="1350" dirty="0">
                <a:solidFill>
                  <a:prstClr val="white"/>
                </a:solidFill>
              </a:rPr>
              <a:t> a la red de backbone</a:t>
            </a:r>
          </a:p>
        </p:txBody>
      </p:sp>
      <p:sp>
        <p:nvSpPr>
          <p:cNvPr id="28" name="ZoneTexte 27"/>
          <p:cNvSpPr txBox="1"/>
          <p:nvPr/>
        </p:nvSpPr>
        <p:spPr>
          <a:xfrm>
            <a:off x="6157913" y="730206"/>
            <a:ext cx="2517383" cy="715581"/>
          </a:xfrm>
          <a:prstGeom prst="rect">
            <a:avLst/>
          </a:prstGeom>
          <a:noFill/>
        </p:spPr>
        <p:txBody>
          <a:bodyPr wrap="square" rtlCol="0">
            <a:spAutoFit/>
          </a:bodyPr>
          <a:lstStyle/>
          <a:p>
            <a:pPr defTabSz="685800" fontAlgn="auto">
              <a:spcBef>
                <a:spcPts val="0"/>
              </a:spcBef>
              <a:spcAft>
                <a:spcPts val="0"/>
              </a:spcAft>
            </a:pPr>
            <a:r>
              <a:rPr lang="en-US" sz="1350" dirty="0" err="1">
                <a:solidFill>
                  <a:prstClr val="white"/>
                </a:solidFill>
              </a:rPr>
              <a:t>Computación</a:t>
            </a:r>
            <a:r>
              <a:rPr lang="en-US" sz="1350" dirty="0">
                <a:solidFill>
                  <a:prstClr val="white"/>
                </a:solidFill>
              </a:rPr>
              <a:t> </a:t>
            </a:r>
            <a:r>
              <a:rPr lang="en-US" sz="1350" dirty="0" err="1">
                <a:solidFill>
                  <a:prstClr val="white"/>
                </a:solidFill>
              </a:rPr>
              <a:t>en</a:t>
            </a:r>
            <a:r>
              <a:rPr lang="en-US" sz="1350" dirty="0">
                <a:solidFill>
                  <a:prstClr val="white"/>
                </a:solidFill>
              </a:rPr>
              <a:t> el </a:t>
            </a:r>
            <a:r>
              <a:rPr lang="en-US" sz="1350" dirty="0" err="1">
                <a:solidFill>
                  <a:prstClr val="white"/>
                </a:solidFill>
              </a:rPr>
              <a:t>borde</a:t>
            </a:r>
            <a:endParaRPr lang="en-US" sz="1350" dirty="0">
              <a:solidFill>
                <a:prstClr val="white"/>
              </a:solidFill>
            </a:endParaRPr>
          </a:p>
          <a:p>
            <a:pPr marL="214313" indent="-214313" defTabSz="685800" fontAlgn="auto">
              <a:spcBef>
                <a:spcPts val="0"/>
              </a:spcBef>
              <a:spcAft>
                <a:spcPts val="0"/>
              </a:spcAft>
              <a:buFont typeface="Arial" panose="020B0604020202020204" pitchFamily="34" charset="0"/>
              <a:buChar char="•"/>
            </a:pPr>
            <a:r>
              <a:rPr lang="en-US" sz="1350" dirty="0">
                <a:solidFill>
                  <a:prstClr val="white"/>
                </a:solidFill>
              </a:rPr>
              <a:t>Reduce </a:t>
            </a:r>
            <a:r>
              <a:rPr lang="en-US" sz="1350" dirty="0" err="1">
                <a:solidFill>
                  <a:prstClr val="white"/>
                </a:solidFill>
              </a:rPr>
              <a:t>tráfico</a:t>
            </a:r>
            <a:r>
              <a:rPr lang="en-US" sz="1350" dirty="0">
                <a:solidFill>
                  <a:prstClr val="white"/>
                </a:solidFill>
              </a:rPr>
              <a:t> de </a:t>
            </a:r>
            <a:r>
              <a:rPr lang="en-US" sz="1350" dirty="0" err="1">
                <a:solidFill>
                  <a:prstClr val="white"/>
                </a:solidFill>
              </a:rPr>
              <a:t>datos</a:t>
            </a:r>
            <a:endParaRPr lang="en-US" sz="1350" dirty="0">
              <a:solidFill>
                <a:prstClr val="white"/>
              </a:solidFill>
            </a:endParaRPr>
          </a:p>
          <a:p>
            <a:pPr marL="214313" indent="-214313" defTabSz="685800" fontAlgn="auto">
              <a:spcBef>
                <a:spcPts val="0"/>
              </a:spcBef>
              <a:spcAft>
                <a:spcPts val="0"/>
              </a:spcAft>
              <a:buFont typeface="Arial" panose="020B0604020202020204" pitchFamily="34" charset="0"/>
              <a:buChar char="•"/>
            </a:pPr>
            <a:r>
              <a:rPr lang="en-US" sz="1350" dirty="0">
                <a:solidFill>
                  <a:prstClr val="white"/>
                </a:solidFill>
              </a:rPr>
              <a:t>Apertura &amp; </a:t>
            </a:r>
            <a:r>
              <a:rPr lang="en-US" sz="1350" dirty="0" err="1">
                <a:solidFill>
                  <a:prstClr val="white"/>
                </a:solidFill>
              </a:rPr>
              <a:t>analítica</a:t>
            </a:r>
            <a:endParaRPr lang="en-US" sz="1350" dirty="0">
              <a:solidFill>
                <a:prstClr val="white"/>
              </a:solidFill>
            </a:endParaRPr>
          </a:p>
        </p:txBody>
      </p:sp>
    </p:spTree>
    <p:extLst>
      <p:ext uri="{BB962C8B-B14F-4D97-AF65-F5344CB8AC3E}">
        <p14:creationId xmlns:p14="http://schemas.microsoft.com/office/powerpoint/2010/main" val="872165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lstStyle/>
          <a:p>
            <a:r>
              <a:rPr lang="en-US" dirty="0" err="1"/>
              <a:t>Fácil</a:t>
            </a:r>
            <a:r>
              <a:rPr lang="en-US" dirty="0"/>
              <a:t> </a:t>
            </a:r>
            <a:r>
              <a:rPr lang="en-US" dirty="0" err="1"/>
              <a:t>activación</a:t>
            </a:r>
            <a:r>
              <a:rPr lang="en-US" dirty="0"/>
              <a:t> de </a:t>
            </a:r>
            <a:r>
              <a:rPr lang="en-US" dirty="0" err="1"/>
              <a:t>dispositivos</a:t>
            </a:r>
            <a:endParaRPr lang="en-US" dirty="0"/>
          </a:p>
        </p:txBody>
      </p:sp>
      <p:sp>
        <p:nvSpPr>
          <p:cNvPr id="3" name="Content Placeholder 2"/>
          <p:cNvSpPr txBox="1">
            <a:spLocks/>
          </p:cNvSpPr>
          <p:nvPr/>
        </p:nvSpPr>
        <p:spPr>
          <a:xfrm>
            <a:off x="215899" y="635999"/>
            <a:ext cx="5146546" cy="262637"/>
          </a:xfrm>
          <a:prstGeom prst="rect">
            <a:avLst/>
          </a:prstGeom>
        </p:spPr>
        <p:txBody>
          <a:bodyPr/>
          <a:lstStyle>
            <a:lvl1pPr marL="180975" indent="-180975" algn="l" rtl="0" eaLnBrk="1" fontAlgn="base" hangingPunct="1">
              <a:spcBef>
                <a:spcPct val="20000"/>
              </a:spcBef>
              <a:spcAft>
                <a:spcPct val="30000"/>
              </a:spcAft>
              <a:buClrTx/>
              <a:buSzPct val="80000"/>
              <a:buFont typeface="Trebuchet MS" panose="05000000000000000000" pitchFamily="2" charset="2"/>
              <a:buChar char=""/>
              <a:defRPr sz="1500">
                <a:solidFill>
                  <a:schemeClr val="tx1"/>
                </a:solidFill>
                <a:latin typeface="Trebuchet MS" panose="020B0603020202020204" pitchFamily="34" charset="0"/>
                <a:ea typeface="+mn-ea"/>
                <a:cs typeface="Trebuchet MS" panose="020B0502040204020203" pitchFamily="34" charset="0"/>
              </a:defRPr>
            </a:lvl1pPr>
            <a:lvl2pPr marL="361950" indent="-180975" algn="l" rtl="0" eaLnBrk="1" fontAlgn="base" hangingPunct="1">
              <a:spcBef>
                <a:spcPct val="20000"/>
              </a:spcBef>
              <a:spcAft>
                <a:spcPts val="0"/>
              </a:spcAft>
              <a:buClrTx/>
              <a:buFont typeface="Trebuchet MS" panose="05000000000000000000" pitchFamily="2" charset="2"/>
              <a:buChar char="§"/>
              <a:defRPr sz="1400">
                <a:solidFill>
                  <a:schemeClr val="tx1"/>
                </a:solidFill>
                <a:latin typeface="Trebuchet MS" panose="020B0603020202020204" pitchFamily="34" charset="0"/>
                <a:cs typeface="Trebuchet MS" panose="020B0502040204020203" pitchFamily="34" charset="0"/>
              </a:defRPr>
            </a:lvl2pPr>
            <a:lvl3pPr marL="538163" indent="-131763" algn="l" rtl="0" eaLnBrk="1" fontAlgn="base" hangingPunct="1">
              <a:spcBef>
                <a:spcPts val="329"/>
              </a:spcBef>
              <a:spcAft>
                <a:spcPts val="0"/>
              </a:spcAft>
              <a:buClrTx/>
              <a:buFont typeface="Trebuchet MS" pitchFamily="34" charset="0"/>
              <a:buChar char="­"/>
              <a:defRPr sz="1200">
                <a:solidFill>
                  <a:schemeClr val="tx1"/>
                </a:solidFill>
                <a:latin typeface="Trebuchet MS" panose="020B0603020202020204" pitchFamily="34" charset="0"/>
                <a:cs typeface="Trebuchet MS" panose="020B0502040204020203" pitchFamily="34" charset="0"/>
              </a:defRPr>
            </a:lvl3pPr>
            <a:lvl4pPr marL="631825" indent="-85725"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4pPr>
            <a:lvl5pPr marL="715963" indent="-84138"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5pPr>
            <a:lvl6pPr marL="1093553"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6pPr>
            <a:lvl7pPr marL="1441942"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7pPr>
            <a:lvl8pPr marL="1790331"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8pPr>
            <a:lvl9pPr marL="2138719"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9pPr>
          </a:lstStyle>
          <a:p>
            <a:pPr marL="0" indent="0">
              <a:buNone/>
            </a:pPr>
            <a:r>
              <a:rPr lang="en-US" sz="1100" dirty="0" err="1">
                <a:solidFill>
                  <a:schemeClr val="tx2"/>
                </a:solidFill>
              </a:rPr>
              <a:t>Detección</a:t>
            </a:r>
            <a:r>
              <a:rPr lang="en-US" sz="1100" dirty="0">
                <a:solidFill>
                  <a:schemeClr val="tx2"/>
                </a:solidFill>
              </a:rPr>
              <a:t> e </a:t>
            </a:r>
            <a:r>
              <a:rPr lang="en-US" sz="1100" dirty="0" err="1">
                <a:solidFill>
                  <a:schemeClr val="tx2"/>
                </a:solidFill>
              </a:rPr>
              <a:t>inventario</a:t>
            </a:r>
            <a:r>
              <a:rPr lang="en-US" sz="1100" dirty="0">
                <a:solidFill>
                  <a:schemeClr val="tx2"/>
                </a:solidFill>
              </a:rPr>
              <a:t> </a:t>
            </a:r>
            <a:r>
              <a:rPr lang="en-US" sz="1100" dirty="0" err="1">
                <a:solidFill>
                  <a:schemeClr val="tx2"/>
                </a:solidFill>
              </a:rPr>
              <a:t>automático</a:t>
            </a:r>
            <a:r>
              <a:rPr lang="en-US" sz="1100" dirty="0">
                <a:solidFill>
                  <a:schemeClr val="tx2"/>
                </a:solidFill>
              </a:rPr>
              <a:t> de </a:t>
            </a:r>
            <a:r>
              <a:rPr lang="en-US" sz="1100" dirty="0" err="1">
                <a:solidFill>
                  <a:schemeClr val="tx2"/>
                </a:solidFill>
              </a:rPr>
              <a:t>dispositivos</a:t>
            </a:r>
            <a:r>
              <a:rPr lang="en-US" sz="1100" dirty="0">
                <a:solidFill>
                  <a:schemeClr val="tx2"/>
                </a:solidFill>
              </a:rPr>
              <a:t>. </a:t>
            </a:r>
          </a:p>
        </p:txBody>
      </p:sp>
      <p:pic>
        <p:nvPicPr>
          <p:cNvPr id="9218" name="Picture 2" descr="Image result for honeywell smart thermostat"/>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481119" y="3277200"/>
            <a:ext cx="973585" cy="973585"/>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p:cNvGrpSpPr/>
          <p:nvPr/>
        </p:nvGrpSpPr>
        <p:grpSpPr>
          <a:xfrm>
            <a:off x="1852237" y="2752914"/>
            <a:ext cx="4422390" cy="2234482"/>
            <a:chOff x="656128" y="1977873"/>
            <a:chExt cx="5637129" cy="2848248"/>
          </a:xfrm>
        </p:grpSpPr>
        <p:grpSp>
          <p:nvGrpSpPr>
            <p:cNvPr id="8" name="Group 7"/>
            <p:cNvGrpSpPr/>
            <p:nvPr/>
          </p:nvGrpSpPr>
          <p:grpSpPr>
            <a:xfrm>
              <a:off x="656128" y="1977873"/>
              <a:ext cx="2486114" cy="2848248"/>
              <a:chOff x="-1445662" y="1781497"/>
              <a:chExt cx="2153409" cy="2467081"/>
            </a:xfrm>
          </p:grpSpPr>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45662" y="1781497"/>
                <a:ext cx="2153409" cy="2467081"/>
              </a:xfrm>
              <a:prstGeom prst="rect">
                <a:avLst/>
              </a:prstGeom>
            </p:spPr>
          </p:pic>
          <p:sp>
            <p:nvSpPr>
              <p:cNvPr id="23" name="Oval 22"/>
              <p:cNvSpPr/>
              <p:nvPr/>
            </p:nvSpPr>
            <p:spPr>
              <a:xfrm>
                <a:off x="-467450" y="2872495"/>
                <a:ext cx="934900" cy="154173"/>
              </a:xfrm>
              <a:prstGeom prst="ellipse">
                <a:avLst/>
              </a:prstGeom>
              <a:noFill/>
              <a:ln>
                <a:solidFill>
                  <a:srgbClr val="FF000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pSp>
        <p:pic>
          <p:nvPicPr>
            <p:cNvPr id="25" name="Picture 24"/>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940180" y="2165101"/>
              <a:ext cx="1637996" cy="2397891"/>
            </a:xfrm>
            <a:prstGeom prst="rect">
              <a:avLst/>
            </a:prstGeom>
          </p:spPr>
        </p:pic>
        <p:pic>
          <p:nvPicPr>
            <p:cNvPr id="24" name="Picture 2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051750" y="3677802"/>
              <a:ext cx="1478052" cy="879592"/>
            </a:xfrm>
            <a:prstGeom prst="rect">
              <a:avLst/>
            </a:prstGeom>
          </p:spPr>
        </p:pic>
        <p:pic>
          <p:nvPicPr>
            <p:cNvPr id="26" name="Picture 2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487001" y="2381966"/>
              <a:ext cx="1806256" cy="1505213"/>
            </a:xfrm>
            <a:prstGeom prst="rect">
              <a:avLst/>
            </a:prstGeom>
          </p:spPr>
        </p:pic>
        <p:sp>
          <p:nvSpPr>
            <p:cNvPr id="28" name="Oval 27"/>
            <p:cNvSpPr/>
            <p:nvPr/>
          </p:nvSpPr>
          <p:spPr>
            <a:xfrm>
              <a:off x="3169138" y="4097426"/>
              <a:ext cx="1079343" cy="177993"/>
            </a:xfrm>
            <a:prstGeom prst="ellipse">
              <a:avLst/>
            </a:prstGeom>
            <a:noFill/>
            <a:ln>
              <a:solidFill>
                <a:srgbClr val="FF000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9" name="Oval 28"/>
            <p:cNvSpPr/>
            <p:nvPr/>
          </p:nvSpPr>
          <p:spPr>
            <a:xfrm>
              <a:off x="4928145" y="2985184"/>
              <a:ext cx="1079343" cy="177993"/>
            </a:xfrm>
            <a:prstGeom prst="ellipse">
              <a:avLst/>
            </a:prstGeom>
            <a:noFill/>
            <a:ln>
              <a:solidFill>
                <a:srgbClr val="FF000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pSp>
      <p:grpSp>
        <p:nvGrpSpPr>
          <p:cNvPr id="30" name="Group 29"/>
          <p:cNvGrpSpPr/>
          <p:nvPr/>
        </p:nvGrpSpPr>
        <p:grpSpPr>
          <a:xfrm>
            <a:off x="865014" y="1184650"/>
            <a:ext cx="1741232" cy="1338146"/>
            <a:chOff x="2329051" y="882051"/>
            <a:chExt cx="2321642" cy="1784194"/>
          </a:xfrm>
        </p:grpSpPr>
        <p:sp>
          <p:nvSpPr>
            <p:cNvPr id="31" name="Rounded Rectangle 280"/>
            <p:cNvSpPr/>
            <p:nvPr/>
          </p:nvSpPr>
          <p:spPr>
            <a:xfrm>
              <a:off x="2329051" y="1073020"/>
              <a:ext cx="2096355" cy="1593225"/>
            </a:xfrm>
            <a:prstGeom prst="roundRect">
              <a:avLst>
                <a:gd name="adj" fmla="val 11943"/>
              </a:avLst>
            </a:prstGeom>
            <a:solidFill>
              <a:schemeClr val="bg1">
                <a:lumMod val="85000"/>
              </a:schemeClr>
            </a:solidFill>
            <a:ln w="28575">
              <a:solidFill>
                <a:schemeClr val="accent6"/>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a:latin typeface="Trebuchet MS"/>
                <a:cs typeface="Trebuchet MS"/>
              </a:endParaRPr>
            </a:p>
          </p:txBody>
        </p:sp>
        <p:sp>
          <p:nvSpPr>
            <p:cNvPr id="32" name="Rounded Rectangle 282"/>
            <p:cNvSpPr/>
            <p:nvPr/>
          </p:nvSpPr>
          <p:spPr>
            <a:xfrm>
              <a:off x="3204602" y="1965544"/>
              <a:ext cx="1093037" cy="577078"/>
            </a:xfrm>
            <a:prstGeom prst="roundRect">
              <a:avLst/>
            </a:prstGeom>
            <a:solidFill>
              <a:schemeClr val="bg1">
                <a:lumMod val="75000"/>
              </a:schemeClr>
            </a:solidFill>
            <a:ln>
              <a:solidFill>
                <a:schemeClr val="accent6"/>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buFont typeface="Wingdings" pitchFamily="2" charset="2"/>
                <a:buChar char="ü"/>
              </a:pPr>
              <a:r>
                <a:rPr lang="en-US" sz="825" dirty="0">
                  <a:latin typeface="Trebuchet MS"/>
                  <a:cs typeface="Trebuchet MS"/>
                </a:rPr>
                <a:t>Container</a:t>
              </a:r>
            </a:p>
            <a:p>
              <a:pPr>
                <a:spcBef>
                  <a:spcPts val="0"/>
                </a:spcBef>
                <a:buFont typeface="Wingdings" pitchFamily="2" charset="2"/>
                <a:buChar char="ü"/>
              </a:pPr>
              <a:r>
                <a:rPr lang="en-US" sz="825" dirty="0">
                  <a:latin typeface="Trebuchet MS"/>
                  <a:cs typeface="Trebuchet MS"/>
                </a:rPr>
                <a:t>Quality</a:t>
              </a:r>
            </a:p>
            <a:p>
              <a:pPr>
                <a:spcBef>
                  <a:spcPts val="0"/>
                </a:spcBef>
                <a:buFont typeface="Wingdings" pitchFamily="2" charset="2"/>
                <a:buChar char="ü"/>
              </a:pPr>
              <a:r>
                <a:rPr lang="en-US" sz="825" dirty="0">
                  <a:latin typeface="Trebuchet MS"/>
                  <a:cs typeface="Trebuchet MS"/>
                </a:rPr>
                <a:t>Security</a:t>
              </a:r>
            </a:p>
          </p:txBody>
        </p:sp>
        <p:sp>
          <p:nvSpPr>
            <p:cNvPr id="33" name="Rectangle 32"/>
            <p:cNvSpPr/>
            <p:nvPr/>
          </p:nvSpPr>
          <p:spPr>
            <a:xfrm>
              <a:off x="2569925" y="1192912"/>
              <a:ext cx="1727714" cy="197123"/>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r>
                <a:rPr lang="en-US" sz="825" b="1" dirty="0">
                  <a:solidFill>
                    <a:schemeClr val="accent6"/>
                  </a:solidFill>
                  <a:latin typeface="Trebuchet MS"/>
                  <a:cs typeface="Trebuchet MS"/>
                </a:rPr>
                <a:t>Surveillance Camera detected</a:t>
              </a:r>
            </a:p>
          </p:txBody>
        </p:sp>
        <p:sp>
          <p:nvSpPr>
            <p:cNvPr id="34" name="Rectangle 33"/>
            <p:cNvSpPr/>
            <p:nvPr/>
          </p:nvSpPr>
          <p:spPr>
            <a:xfrm>
              <a:off x="2333686" y="1844095"/>
              <a:ext cx="779133" cy="187036"/>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Classify</a:t>
              </a:r>
            </a:p>
          </p:txBody>
        </p:sp>
        <p:sp>
          <p:nvSpPr>
            <p:cNvPr id="35" name="Rectangle 34"/>
            <p:cNvSpPr/>
            <p:nvPr/>
          </p:nvSpPr>
          <p:spPr>
            <a:xfrm>
              <a:off x="2333686" y="1524069"/>
              <a:ext cx="1015415" cy="254886"/>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henticate</a:t>
              </a:r>
            </a:p>
          </p:txBody>
        </p:sp>
        <p:sp>
          <p:nvSpPr>
            <p:cNvPr id="36" name="Rectangle 35"/>
            <p:cNvSpPr/>
            <p:nvPr/>
          </p:nvSpPr>
          <p:spPr>
            <a:xfrm>
              <a:off x="2333686" y="2096159"/>
              <a:ext cx="883487" cy="294642"/>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o Provision</a:t>
              </a:r>
            </a:p>
          </p:txBody>
        </p:sp>
        <p:sp>
          <p:nvSpPr>
            <p:cNvPr id="37" name="Freeform 63"/>
            <p:cNvSpPr>
              <a:spLocks noEditPoints="1"/>
            </p:cNvSpPr>
            <p:nvPr/>
          </p:nvSpPr>
          <p:spPr bwMode="auto">
            <a:xfrm>
              <a:off x="3615557" y="1555799"/>
              <a:ext cx="524772" cy="285226"/>
            </a:xfrm>
            <a:custGeom>
              <a:avLst/>
              <a:gdLst>
                <a:gd name="T0" fmla="*/ 258027 w 794"/>
                <a:gd name="T1" fmla="*/ 225462 h 429"/>
                <a:gd name="T2" fmla="*/ 388923 w 794"/>
                <a:gd name="T3" fmla="*/ 392190 h 429"/>
                <a:gd name="T4" fmla="*/ 382331 w 794"/>
                <a:gd name="T5" fmla="*/ 363771 h 429"/>
                <a:gd name="T6" fmla="*/ 382331 w 794"/>
                <a:gd name="T7" fmla="*/ 147782 h 429"/>
                <a:gd name="T8" fmla="*/ 429416 w 794"/>
                <a:gd name="T9" fmla="*/ 90943 h 429"/>
                <a:gd name="T10" fmla="*/ 644125 w 794"/>
                <a:gd name="T11" fmla="*/ 90943 h 429"/>
                <a:gd name="T12" fmla="*/ 420941 w 794"/>
                <a:gd name="T13" fmla="*/ 18946 h 429"/>
                <a:gd name="T14" fmla="*/ 347488 w 794"/>
                <a:gd name="T15" fmla="*/ 2842 h 429"/>
                <a:gd name="T16" fmla="*/ 321121 w 794"/>
                <a:gd name="T17" fmla="*/ 2842 h 429"/>
                <a:gd name="T18" fmla="*/ 324887 w 794"/>
                <a:gd name="T19" fmla="*/ 26525 h 429"/>
                <a:gd name="T20" fmla="*/ 258968 w 794"/>
                <a:gd name="T21" fmla="*/ 92837 h 429"/>
                <a:gd name="T22" fmla="*/ 228834 w 794"/>
                <a:gd name="T23" fmla="*/ 85259 h 429"/>
                <a:gd name="T24" fmla="*/ 228834 w 794"/>
                <a:gd name="T25" fmla="*/ 139256 h 429"/>
                <a:gd name="T26" fmla="*/ 258027 w 794"/>
                <a:gd name="T27" fmla="*/ 225462 h 429"/>
                <a:gd name="T28" fmla="*/ 707219 w 794"/>
                <a:gd name="T29" fmla="*/ 119362 h 429"/>
                <a:gd name="T30" fmla="*/ 451076 w 794"/>
                <a:gd name="T31" fmla="*/ 119362 h 429"/>
                <a:gd name="T32" fmla="*/ 410582 w 794"/>
                <a:gd name="T33" fmla="*/ 167676 h 429"/>
                <a:gd name="T34" fmla="*/ 410582 w 794"/>
                <a:gd name="T35" fmla="*/ 358087 h 429"/>
                <a:gd name="T36" fmla="*/ 451076 w 794"/>
                <a:gd name="T37" fmla="*/ 406400 h 429"/>
                <a:gd name="T38" fmla="*/ 707219 w 794"/>
                <a:gd name="T39" fmla="*/ 406400 h 429"/>
                <a:gd name="T40" fmla="*/ 747712 w 794"/>
                <a:gd name="T41" fmla="*/ 358087 h 429"/>
                <a:gd name="T42" fmla="*/ 747712 w 794"/>
                <a:gd name="T43" fmla="*/ 167676 h 429"/>
                <a:gd name="T44" fmla="*/ 707219 w 794"/>
                <a:gd name="T45" fmla="*/ 119362 h 429"/>
                <a:gd name="T46" fmla="*/ 258027 w 794"/>
                <a:gd name="T47" fmla="*/ 52103 h 429"/>
                <a:gd name="T48" fmla="*/ 284394 w 794"/>
                <a:gd name="T49" fmla="*/ 26525 h 429"/>
                <a:gd name="T50" fmla="*/ 258027 w 794"/>
                <a:gd name="T51" fmla="*/ 0 h 429"/>
                <a:gd name="T52" fmla="*/ 231659 w 794"/>
                <a:gd name="T53" fmla="*/ 26525 h 429"/>
                <a:gd name="T54" fmla="*/ 258027 w 794"/>
                <a:gd name="T55" fmla="*/ 52103 h 429"/>
                <a:gd name="T56" fmla="*/ 75336 w 794"/>
                <a:gd name="T57" fmla="*/ 113678 h 429"/>
                <a:gd name="T58" fmla="*/ 942 w 794"/>
                <a:gd name="T59" fmla="*/ 154413 h 429"/>
                <a:gd name="T60" fmla="*/ 5650 w 794"/>
                <a:gd name="T61" fmla="*/ 181885 h 429"/>
                <a:gd name="T62" fmla="*/ 26368 w 794"/>
                <a:gd name="T63" fmla="*/ 202726 h 429"/>
                <a:gd name="T64" fmla="*/ 96054 w 794"/>
                <a:gd name="T65" fmla="*/ 169570 h 429"/>
                <a:gd name="T66" fmla="*/ 204350 w 794"/>
                <a:gd name="T67" fmla="*/ 159150 h 429"/>
                <a:gd name="T68" fmla="*/ 204350 w 794"/>
                <a:gd name="T69" fmla="*/ 97574 h 429"/>
                <a:gd name="T70" fmla="*/ 75336 w 794"/>
                <a:gd name="T71" fmla="*/ 113678 h 429"/>
                <a:gd name="T72" fmla="*/ 702510 w 794"/>
                <a:gd name="T73" fmla="*/ 263355 h 429"/>
                <a:gd name="T74" fmla="*/ 581031 w 794"/>
                <a:gd name="T75" fmla="*/ 385559 h 429"/>
                <a:gd name="T76" fmla="*/ 459551 w 794"/>
                <a:gd name="T77" fmla="*/ 263355 h 429"/>
                <a:gd name="T78" fmla="*/ 581031 w 794"/>
                <a:gd name="T79" fmla="*/ 141151 h 429"/>
                <a:gd name="T80" fmla="*/ 702510 w 794"/>
                <a:gd name="T81" fmla="*/ 263355 h 4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4"/>
                <a:gd name="T124" fmla="*/ 0 h 429"/>
                <a:gd name="T125" fmla="*/ 794 w 794"/>
                <a:gd name="T126" fmla="*/ 429 h 4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4" h="429">
                  <a:moveTo>
                    <a:pt x="274" y="238"/>
                  </a:moveTo>
                  <a:cubicBezTo>
                    <a:pt x="413" y="414"/>
                    <a:pt x="413" y="414"/>
                    <a:pt x="413" y="414"/>
                  </a:cubicBezTo>
                  <a:cubicBezTo>
                    <a:pt x="409" y="405"/>
                    <a:pt x="406" y="395"/>
                    <a:pt x="406" y="384"/>
                  </a:cubicBezTo>
                  <a:cubicBezTo>
                    <a:pt x="406" y="156"/>
                    <a:pt x="406" y="156"/>
                    <a:pt x="406" y="156"/>
                  </a:cubicBezTo>
                  <a:cubicBezTo>
                    <a:pt x="406" y="123"/>
                    <a:pt x="428" y="96"/>
                    <a:pt x="456" y="96"/>
                  </a:cubicBezTo>
                  <a:cubicBezTo>
                    <a:pt x="684" y="96"/>
                    <a:pt x="684" y="96"/>
                    <a:pt x="684" y="96"/>
                  </a:cubicBezTo>
                  <a:cubicBezTo>
                    <a:pt x="447" y="20"/>
                    <a:pt x="447" y="20"/>
                    <a:pt x="447" y="20"/>
                  </a:cubicBezTo>
                  <a:cubicBezTo>
                    <a:pt x="447" y="20"/>
                    <a:pt x="392" y="3"/>
                    <a:pt x="369" y="3"/>
                  </a:cubicBezTo>
                  <a:cubicBezTo>
                    <a:pt x="341" y="3"/>
                    <a:pt x="341" y="3"/>
                    <a:pt x="341" y="3"/>
                  </a:cubicBezTo>
                  <a:cubicBezTo>
                    <a:pt x="344" y="11"/>
                    <a:pt x="345" y="19"/>
                    <a:pt x="345" y="28"/>
                  </a:cubicBezTo>
                  <a:cubicBezTo>
                    <a:pt x="345" y="67"/>
                    <a:pt x="314" y="98"/>
                    <a:pt x="275" y="98"/>
                  </a:cubicBezTo>
                  <a:cubicBezTo>
                    <a:pt x="263" y="98"/>
                    <a:pt x="252" y="95"/>
                    <a:pt x="243" y="90"/>
                  </a:cubicBezTo>
                  <a:cubicBezTo>
                    <a:pt x="243" y="147"/>
                    <a:pt x="243" y="147"/>
                    <a:pt x="243" y="147"/>
                  </a:cubicBezTo>
                  <a:cubicBezTo>
                    <a:pt x="243" y="206"/>
                    <a:pt x="274" y="238"/>
                    <a:pt x="274" y="238"/>
                  </a:cubicBezTo>
                  <a:close/>
                  <a:moveTo>
                    <a:pt x="751" y="126"/>
                  </a:moveTo>
                  <a:cubicBezTo>
                    <a:pt x="479" y="126"/>
                    <a:pt x="479" y="126"/>
                    <a:pt x="479" y="126"/>
                  </a:cubicBezTo>
                  <a:cubicBezTo>
                    <a:pt x="455" y="126"/>
                    <a:pt x="436" y="149"/>
                    <a:pt x="436" y="177"/>
                  </a:cubicBezTo>
                  <a:cubicBezTo>
                    <a:pt x="436" y="378"/>
                    <a:pt x="436" y="378"/>
                    <a:pt x="436" y="378"/>
                  </a:cubicBezTo>
                  <a:cubicBezTo>
                    <a:pt x="436" y="406"/>
                    <a:pt x="455" y="429"/>
                    <a:pt x="479" y="429"/>
                  </a:cubicBezTo>
                  <a:cubicBezTo>
                    <a:pt x="751" y="429"/>
                    <a:pt x="751" y="429"/>
                    <a:pt x="751" y="429"/>
                  </a:cubicBezTo>
                  <a:cubicBezTo>
                    <a:pt x="775" y="429"/>
                    <a:pt x="794" y="406"/>
                    <a:pt x="794" y="378"/>
                  </a:cubicBezTo>
                  <a:cubicBezTo>
                    <a:pt x="794" y="177"/>
                    <a:pt x="794" y="177"/>
                    <a:pt x="794" y="177"/>
                  </a:cubicBezTo>
                  <a:cubicBezTo>
                    <a:pt x="794" y="149"/>
                    <a:pt x="775" y="126"/>
                    <a:pt x="751" y="126"/>
                  </a:cubicBezTo>
                  <a:close/>
                  <a:moveTo>
                    <a:pt x="274" y="55"/>
                  </a:moveTo>
                  <a:cubicBezTo>
                    <a:pt x="289" y="55"/>
                    <a:pt x="302" y="43"/>
                    <a:pt x="302" y="28"/>
                  </a:cubicBezTo>
                  <a:cubicBezTo>
                    <a:pt x="302" y="13"/>
                    <a:pt x="289" y="0"/>
                    <a:pt x="274" y="0"/>
                  </a:cubicBezTo>
                  <a:cubicBezTo>
                    <a:pt x="259" y="0"/>
                    <a:pt x="246" y="13"/>
                    <a:pt x="246" y="28"/>
                  </a:cubicBezTo>
                  <a:cubicBezTo>
                    <a:pt x="246" y="43"/>
                    <a:pt x="259" y="55"/>
                    <a:pt x="274" y="55"/>
                  </a:cubicBezTo>
                  <a:close/>
                  <a:moveTo>
                    <a:pt x="80" y="120"/>
                  </a:moveTo>
                  <a:cubicBezTo>
                    <a:pt x="25" y="144"/>
                    <a:pt x="1" y="163"/>
                    <a:pt x="1" y="163"/>
                  </a:cubicBezTo>
                  <a:cubicBezTo>
                    <a:pt x="1" y="163"/>
                    <a:pt x="0" y="179"/>
                    <a:pt x="6" y="192"/>
                  </a:cubicBezTo>
                  <a:cubicBezTo>
                    <a:pt x="18" y="214"/>
                    <a:pt x="28" y="214"/>
                    <a:pt x="28" y="214"/>
                  </a:cubicBezTo>
                  <a:cubicBezTo>
                    <a:pt x="28" y="214"/>
                    <a:pt x="75" y="188"/>
                    <a:pt x="102" y="179"/>
                  </a:cubicBezTo>
                  <a:cubicBezTo>
                    <a:pt x="160" y="161"/>
                    <a:pt x="217" y="168"/>
                    <a:pt x="217" y="168"/>
                  </a:cubicBezTo>
                  <a:cubicBezTo>
                    <a:pt x="217" y="103"/>
                    <a:pt x="217" y="103"/>
                    <a:pt x="217" y="103"/>
                  </a:cubicBezTo>
                  <a:cubicBezTo>
                    <a:pt x="217" y="103"/>
                    <a:pt x="135" y="95"/>
                    <a:pt x="80" y="120"/>
                  </a:cubicBezTo>
                  <a:close/>
                  <a:moveTo>
                    <a:pt x="746" y="278"/>
                  </a:moveTo>
                  <a:cubicBezTo>
                    <a:pt x="746" y="349"/>
                    <a:pt x="688" y="407"/>
                    <a:pt x="617" y="407"/>
                  </a:cubicBezTo>
                  <a:cubicBezTo>
                    <a:pt x="546" y="407"/>
                    <a:pt x="488" y="349"/>
                    <a:pt x="488" y="278"/>
                  </a:cubicBezTo>
                  <a:cubicBezTo>
                    <a:pt x="488" y="207"/>
                    <a:pt x="546" y="149"/>
                    <a:pt x="617" y="149"/>
                  </a:cubicBezTo>
                  <a:cubicBezTo>
                    <a:pt x="688" y="149"/>
                    <a:pt x="746" y="207"/>
                    <a:pt x="746" y="278"/>
                  </a:cubicBezTo>
                  <a:close/>
                </a:path>
              </a:pathLst>
            </a:custGeom>
            <a:solidFill>
              <a:schemeClr val="accent6"/>
            </a:solidFill>
            <a:ln w="9525">
              <a:noFill/>
              <a:round/>
              <a:headEnd/>
              <a:tailEnd/>
            </a:ln>
          </p:spPr>
          <p:txBody>
            <a:bodyPr/>
            <a:lstStyle>
              <a:defPPr>
                <a:defRPr lang="en-US"/>
              </a:defPPr>
              <a:lvl1pPr algn="l" rtl="0" fontAlgn="base">
                <a:spcBef>
                  <a:spcPct val="50000"/>
                </a:spcBef>
                <a:spcAft>
                  <a:spcPct val="0"/>
                </a:spcAft>
                <a:defRPr kern="1200">
                  <a:solidFill>
                    <a:schemeClr val="tx1"/>
                  </a:solidFill>
                  <a:latin typeface="Trebuchet MS" pitchFamily="34" charset="0"/>
                  <a:ea typeface="+mn-ea"/>
                  <a:cs typeface="+mn-cs"/>
                </a:defRPr>
              </a:lvl1pPr>
              <a:lvl2pPr marL="348389" algn="l" rtl="0" fontAlgn="base">
                <a:spcBef>
                  <a:spcPct val="50000"/>
                </a:spcBef>
                <a:spcAft>
                  <a:spcPct val="0"/>
                </a:spcAft>
                <a:defRPr kern="1200">
                  <a:solidFill>
                    <a:schemeClr val="tx1"/>
                  </a:solidFill>
                  <a:latin typeface="Trebuchet MS" pitchFamily="34" charset="0"/>
                  <a:ea typeface="+mn-ea"/>
                  <a:cs typeface="+mn-cs"/>
                </a:defRPr>
              </a:lvl2pPr>
              <a:lvl3pPr marL="696777" algn="l" rtl="0" fontAlgn="base">
                <a:spcBef>
                  <a:spcPct val="50000"/>
                </a:spcBef>
                <a:spcAft>
                  <a:spcPct val="0"/>
                </a:spcAft>
                <a:defRPr kern="1200">
                  <a:solidFill>
                    <a:schemeClr val="tx1"/>
                  </a:solidFill>
                  <a:latin typeface="Trebuchet MS" pitchFamily="34" charset="0"/>
                  <a:ea typeface="+mn-ea"/>
                  <a:cs typeface="+mn-cs"/>
                </a:defRPr>
              </a:lvl3pPr>
              <a:lvl4pPr marL="1045165" algn="l" rtl="0" fontAlgn="base">
                <a:spcBef>
                  <a:spcPct val="50000"/>
                </a:spcBef>
                <a:spcAft>
                  <a:spcPct val="0"/>
                </a:spcAft>
                <a:defRPr kern="1200">
                  <a:solidFill>
                    <a:schemeClr val="tx1"/>
                  </a:solidFill>
                  <a:latin typeface="Trebuchet MS" pitchFamily="34" charset="0"/>
                  <a:ea typeface="+mn-ea"/>
                  <a:cs typeface="+mn-cs"/>
                </a:defRPr>
              </a:lvl4pPr>
              <a:lvl5pPr marL="1393554" algn="l" rtl="0" fontAlgn="base">
                <a:spcBef>
                  <a:spcPct val="50000"/>
                </a:spcBef>
                <a:spcAft>
                  <a:spcPct val="0"/>
                </a:spcAft>
                <a:defRPr kern="1200">
                  <a:solidFill>
                    <a:schemeClr val="tx1"/>
                  </a:solidFill>
                  <a:latin typeface="Trebuchet MS" pitchFamily="34" charset="0"/>
                  <a:ea typeface="+mn-ea"/>
                  <a:cs typeface="+mn-cs"/>
                </a:defRPr>
              </a:lvl5pPr>
              <a:lvl6pPr marL="1741943" algn="l" defTabSz="696777" rtl="0" eaLnBrk="1" latinLnBrk="0" hangingPunct="1">
                <a:defRPr kern="1200">
                  <a:solidFill>
                    <a:schemeClr val="tx1"/>
                  </a:solidFill>
                  <a:latin typeface="Trebuchet MS" pitchFamily="34" charset="0"/>
                  <a:ea typeface="+mn-ea"/>
                  <a:cs typeface="+mn-cs"/>
                </a:defRPr>
              </a:lvl6pPr>
              <a:lvl7pPr marL="2090332" algn="l" defTabSz="696777" rtl="0" eaLnBrk="1" latinLnBrk="0" hangingPunct="1">
                <a:defRPr kern="1200">
                  <a:solidFill>
                    <a:schemeClr val="tx1"/>
                  </a:solidFill>
                  <a:latin typeface="Trebuchet MS" pitchFamily="34" charset="0"/>
                  <a:ea typeface="+mn-ea"/>
                  <a:cs typeface="+mn-cs"/>
                </a:defRPr>
              </a:lvl7pPr>
              <a:lvl8pPr marL="2438721" algn="l" defTabSz="696777" rtl="0" eaLnBrk="1" latinLnBrk="0" hangingPunct="1">
                <a:defRPr kern="1200">
                  <a:solidFill>
                    <a:schemeClr val="tx1"/>
                  </a:solidFill>
                  <a:latin typeface="Trebuchet MS" pitchFamily="34" charset="0"/>
                  <a:ea typeface="+mn-ea"/>
                  <a:cs typeface="+mn-cs"/>
                </a:defRPr>
              </a:lvl8pPr>
              <a:lvl9pPr marL="2787109" algn="l" defTabSz="696777" rtl="0" eaLnBrk="1" latinLnBrk="0" hangingPunct="1">
                <a:defRPr kern="1200">
                  <a:solidFill>
                    <a:schemeClr val="tx1"/>
                  </a:solidFill>
                  <a:latin typeface="Trebuchet MS" pitchFamily="34" charset="0"/>
                  <a:ea typeface="+mn-ea"/>
                  <a:cs typeface="+mn-cs"/>
                </a:defRPr>
              </a:lvl9pPr>
            </a:lstStyle>
            <a:p>
              <a:endParaRPr lang="en-US" sz="2100">
                <a:latin typeface="+mn-lt"/>
              </a:endParaRPr>
            </a:p>
          </p:txBody>
        </p:sp>
        <p:pic>
          <p:nvPicPr>
            <p:cNvPr id="38" name="Picture 2"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200119" y="882051"/>
              <a:ext cx="450574" cy="51116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9" name="Group 38"/>
          <p:cNvGrpSpPr/>
          <p:nvPr/>
        </p:nvGrpSpPr>
        <p:grpSpPr>
          <a:xfrm>
            <a:off x="3695267" y="1184650"/>
            <a:ext cx="1741232" cy="1338146"/>
            <a:chOff x="6168707" y="860781"/>
            <a:chExt cx="2321642" cy="1784194"/>
          </a:xfrm>
        </p:grpSpPr>
        <p:sp>
          <p:nvSpPr>
            <p:cNvPr id="40" name="Rounded Rectangle 280"/>
            <p:cNvSpPr/>
            <p:nvPr/>
          </p:nvSpPr>
          <p:spPr>
            <a:xfrm>
              <a:off x="6168707" y="1051750"/>
              <a:ext cx="2096355" cy="1593225"/>
            </a:xfrm>
            <a:prstGeom prst="roundRect">
              <a:avLst>
                <a:gd name="adj" fmla="val 11943"/>
              </a:avLst>
            </a:prstGeom>
            <a:solidFill>
              <a:schemeClr val="bg1">
                <a:lumMod val="85000"/>
              </a:schemeClr>
            </a:solidFill>
            <a:ln w="28575">
              <a:solidFill>
                <a:schemeClr val="accent1"/>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a:latin typeface="Trebuchet MS"/>
                <a:cs typeface="Trebuchet MS"/>
              </a:endParaRPr>
            </a:p>
          </p:txBody>
        </p:sp>
        <p:sp>
          <p:nvSpPr>
            <p:cNvPr id="41" name="Rounded Rectangle 282"/>
            <p:cNvSpPr/>
            <p:nvPr/>
          </p:nvSpPr>
          <p:spPr>
            <a:xfrm>
              <a:off x="7044258" y="1991899"/>
              <a:ext cx="1093037" cy="577078"/>
            </a:xfrm>
            <a:prstGeom prst="roundRect">
              <a:avLst/>
            </a:prstGeom>
            <a:solidFill>
              <a:schemeClr val="bg1">
                <a:lumMod val="75000"/>
              </a:schemeClr>
            </a:solidFill>
            <a:ln>
              <a:solidFill>
                <a:schemeClr val="accent1"/>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buFont typeface="Wingdings" pitchFamily="2" charset="2"/>
                <a:buChar char="ü"/>
              </a:pPr>
              <a:r>
                <a:rPr lang="en-US" sz="825" dirty="0">
                  <a:latin typeface="Trebuchet MS"/>
                  <a:cs typeface="Trebuchet MS"/>
                </a:rPr>
                <a:t>Container</a:t>
              </a:r>
            </a:p>
            <a:p>
              <a:pPr>
                <a:spcBef>
                  <a:spcPts val="0"/>
                </a:spcBef>
                <a:buFont typeface="Wingdings" pitchFamily="2" charset="2"/>
                <a:buChar char="ü"/>
              </a:pPr>
              <a:r>
                <a:rPr lang="en-US" sz="825" dirty="0">
                  <a:latin typeface="Trebuchet MS"/>
                  <a:cs typeface="Trebuchet MS"/>
                </a:rPr>
                <a:t>Quality</a:t>
              </a:r>
            </a:p>
            <a:p>
              <a:pPr>
                <a:spcBef>
                  <a:spcPts val="0"/>
                </a:spcBef>
                <a:buFont typeface="Wingdings" pitchFamily="2" charset="2"/>
                <a:buChar char="ü"/>
              </a:pPr>
              <a:r>
                <a:rPr lang="en-US" sz="825" dirty="0">
                  <a:latin typeface="Trebuchet MS"/>
                  <a:cs typeface="Trebuchet MS"/>
                </a:rPr>
                <a:t>Security</a:t>
              </a:r>
            </a:p>
          </p:txBody>
        </p:sp>
        <p:sp>
          <p:nvSpPr>
            <p:cNvPr id="42" name="Rectangle 41"/>
            <p:cNvSpPr/>
            <p:nvPr/>
          </p:nvSpPr>
          <p:spPr>
            <a:xfrm>
              <a:off x="6409581" y="1171642"/>
              <a:ext cx="1727714" cy="197123"/>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r>
                <a:rPr lang="en-US" sz="825" b="1" dirty="0">
                  <a:solidFill>
                    <a:schemeClr val="accent1"/>
                  </a:solidFill>
                  <a:latin typeface="Trebuchet MS"/>
                  <a:cs typeface="Trebuchet MS"/>
                </a:rPr>
                <a:t>Digital Signage</a:t>
              </a:r>
              <a:br>
                <a:rPr lang="en-US" sz="825" b="1" dirty="0">
                  <a:solidFill>
                    <a:schemeClr val="accent1"/>
                  </a:solidFill>
                  <a:latin typeface="Trebuchet MS"/>
                  <a:cs typeface="Trebuchet MS"/>
                </a:rPr>
              </a:br>
              <a:r>
                <a:rPr lang="en-US" sz="825" b="1" dirty="0">
                  <a:solidFill>
                    <a:schemeClr val="accent1"/>
                  </a:solidFill>
                  <a:latin typeface="Trebuchet MS"/>
                  <a:cs typeface="Trebuchet MS"/>
                </a:rPr>
                <a:t>detected</a:t>
              </a:r>
            </a:p>
          </p:txBody>
        </p:sp>
        <p:sp>
          <p:nvSpPr>
            <p:cNvPr id="43" name="Rectangle 42"/>
            <p:cNvSpPr/>
            <p:nvPr/>
          </p:nvSpPr>
          <p:spPr>
            <a:xfrm>
              <a:off x="6173342" y="1822825"/>
              <a:ext cx="779133" cy="187036"/>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Classify</a:t>
              </a:r>
            </a:p>
          </p:txBody>
        </p:sp>
        <p:sp>
          <p:nvSpPr>
            <p:cNvPr id="44" name="Rectangle 43"/>
            <p:cNvSpPr/>
            <p:nvPr/>
          </p:nvSpPr>
          <p:spPr>
            <a:xfrm>
              <a:off x="6173342" y="1502799"/>
              <a:ext cx="1015415" cy="254886"/>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henticate</a:t>
              </a:r>
            </a:p>
          </p:txBody>
        </p:sp>
        <p:sp>
          <p:nvSpPr>
            <p:cNvPr id="45" name="Rectangle 44"/>
            <p:cNvSpPr/>
            <p:nvPr/>
          </p:nvSpPr>
          <p:spPr>
            <a:xfrm>
              <a:off x="6173342" y="2074889"/>
              <a:ext cx="883487" cy="294642"/>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o Provision</a:t>
              </a:r>
            </a:p>
          </p:txBody>
        </p:sp>
        <p:pic>
          <p:nvPicPr>
            <p:cNvPr id="46" name="Picture 2"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039775" y="860781"/>
              <a:ext cx="450574" cy="511163"/>
            </a:xfrm>
            <a:prstGeom prst="rect">
              <a:avLst/>
            </a:prstGeom>
            <a:noFill/>
            <a:extLst>
              <a:ext uri="{909E8E84-426E-40DD-AFC4-6F175D3DCCD1}">
                <a14:hiddenFill xmlns:a14="http://schemas.microsoft.com/office/drawing/2010/main">
                  <a:solidFill>
                    <a:srgbClr val="FFFFFF"/>
                  </a:solidFill>
                </a14:hiddenFill>
              </a:ext>
            </a:extLst>
          </p:spPr>
        </p:pic>
        <p:grpSp>
          <p:nvGrpSpPr>
            <p:cNvPr id="47" name="Group 327"/>
            <p:cNvGrpSpPr>
              <a:grpSpLocks/>
            </p:cNvGrpSpPr>
            <p:nvPr/>
          </p:nvGrpSpPr>
          <p:grpSpPr bwMode="auto">
            <a:xfrm>
              <a:off x="7631063" y="1521916"/>
              <a:ext cx="522405" cy="471537"/>
              <a:chOff x="5184" y="2057"/>
              <a:chExt cx="250" cy="224"/>
            </a:xfrm>
          </p:grpSpPr>
          <p:sp>
            <p:nvSpPr>
              <p:cNvPr id="48" name="Freeform 328"/>
              <p:cNvSpPr>
                <a:spLocks noChangeArrowheads="1"/>
              </p:cNvSpPr>
              <p:nvPr/>
            </p:nvSpPr>
            <p:spPr bwMode="auto">
              <a:xfrm>
                <a:off x="5184" y="2069"/>
                <a:ext cx="204" cy="99"/>
              </a:xfrm>
              <a:custGeom>
                <a:avLst/>
                <a:gdLst>
                  <a:gd name="T0" fmla="*/ 181 w 904"/>
                  <a:gd name="T1" fmla="*/ 0 h 439"/>
                  <a:gd name="T2" fmla="*/ 23 w 904"/>
                  <a:gd name="T3" fmla="*/ 0 h 439"/>
                  <a:gd name="T4" fmla="*/ 0 w 904"/>
                  <a:gd name="T5" fmla="*/ 19 h 439"/>
                  <a:gd name="T6" fmla="*/ 0 w 904"/>
                  <a:gd name="T7" fmla="*/ 79 h 439"/>
                  <a:gd name="T8" fmla="*/ 23 w 904"/>
                  <a:gd name="T9" fmla="*/ 99 h 439"/>
                  <a:gd name="T10" fmla="*/ 181 w 904"/>
                  <a:gd name="T11" fmla="*/ 99 h 439"/>
                  <a:gd name="T12" fmla="*/ 204 w 904"/>
                  <a:gd name="T13" fmla="*/ 79 h 439"/>
                  <a:gd name="T14" fmla="*/ 204 w 904"/>
                  <a:gd name="T15" fmla="*/ 19 h 439"/>
                  <a:gd name="T16" fmla="*/ 181 w 904"/>
                  <a:gd name="T17" fmla="*/ 0 h 4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4" h="439">
                    <a:moveTo>
                      <a:pt x="801" y="0"/>
                    </a:moveTo>
                    <a:lnTo>
                      <a:pt x="103" y="0"/>
                    </a:lnTo>
                    <a:cubicBezTo>
                      <a:pt x="46" y="0"/>
                      <a:pt x="0" y="38"/>
                      <a:pt x="0" y="86"/>
                    </a:cubicBezTo>
                    <a:lnTo>
                      <a:pt x="0" y="352"/>
                    </a:lnTo>
                    <a:cubicBezTo>
                      <a:pt x="0" y="399"/>
                      <a:pt x="46" y="438"/>
                      <a:pt x="103" y="438"/>
                    </a:cubicBezTo>
                    <a:lnTo>
                      <a:pt x="801" y="438"/>
                    </a:lnTo>
                    <a:cubicBezTo>
                      <a:pt x="858" y="438"/>
                      <a:pt x="903" y="399"/>
                      <a:pt x="903" y="352"/>
                    </a:cubicBezTo>
                    <a:lnTo>
                      <a:pt x="903" y="86"/>
                    </a:lnTo>
                    <a:cubicBezTo>
                      <a:pt x="903" y="38"/>
                      <a:pt x="858" y="0"/>
                      <a:pt x="801" y="0"/>
                    </a:cubicBezTo>
                  </a:path>
                </a:pathLst>
              </a:custGeom>
              <a:solidFill>
                <a:schemeClr val="accent1"/>
              </a:solidFill>
              <a:ln w="9525" cap="flat">
                <a:noFill/>
                <a:bevel/>
                <a:headEnd/>
                <a:tailEnd/>
              </a:ln>
              <a:effectLst/>
            </p:spPr>
            <p:txBody>
              <a:bodyPr wrap="none" anchor="ctr"/>
              <a:lstStyle/>
              <a:p>
                <a:endParaRPr lang="en-US" sz="675">
                  <a:latin typeface="+mn-lt"/>
                </a:endParaRPr>
              </a:p>
            </p:txBody>
          </p:sp>
          <p:sp>
            <p:nvSpPr>
              <p:cNvPr id="49" name="Freeform 329"/>
              <p:cNvSpPr>
                <a:spLocks noChangeArrowheads="1"/>
              </p:cNvSpPr>
              <p:nvPr/>
            </p:nvSpPr>
            <p:spPr bwMode="auto">
              <a:xfrm>
                <a:off x="5399" y="2085"/>
                <a:ext cx="16" cy="16"/>
              </a:xfrm>
              <a:custGeom>
                <a:avLst/>
                <a:gdLst>
                  <a:gd name="T0" fmla="*/ 16 w 77"/>
                  <a:gd name="T1" fmla="*/ 8 h 76"/>
                  <a:gd name="T2" fmla="*/ 8 w 77"/>
                  <a:gd name="T3" fmla="*/ 0 h 76"/>
                  <a:gd name="T4" fmla="*/ 0 w 77"/>
                  <a:gd name="T5" fmla="*/ 8 h 76"/>
                  <a:gd name="T6" fmla="*/ 8 w 77"/>
                  <a:gd name="T7" fmla="*/ 16 h 76"/>
                  <a:gd name="T8" fmla="*/ 16 w 77"/>
                  <a:gd name="T9" fmla="*/ 8 h 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7" h="76">
                    <a:moveTo>
                      <a:pt x="76" y="37"/>
                    </a:moveTo>
                    <a:cubicBezTo>
                      <a:pt x="76" y="17"/>
                      <a:pt x="59" y="0"/>
                      <a:pt x="38" y="0"/>
                    </a:cubicBezTo>
                    <a:cubicBezTo>
                      <a:pt x="17" y="0"/>
                      <a:pt x="0" y="17"/>
                      <a:pt x="0" y="37"/>
                    </a:cubicBezTo>
                    <a:cubicBezTo>
                      <a:pt x="0" y="58"/>
                      <a:pt x="17" y="75"/>
                      <a:pt x="38" y="75"/>
                    </a:cubicBezTo>
                    <a:cubicBezTo>
                      <a:pt x="59" y="75"/>
                      <a:pt x="76" y="58"/>
                      <a:pt x="76" y="37"/>
                    </a:cubicBezTo>
                  </a:path>
                </a:pathLst>
              </a:custGeom>
              <a:solidFill>
                <a:srgbClr val="6D6E71"/>
              </a:solidFill>
              <a:ln w="9525" cap="flat">
                <a:noFill/>
                <a:bevel/>
                <a:headEnd/>
                <a:tailEnd/>
              </a:ln>
              <a:effectLst/>
            </p:spPr>
            <p:txBody>
              <a:bodyPr wrap="none" anchor="ctr"/>
              <a:lstStyle/>
              <a:p>
                <a:endParaRPr lang="en-US" sz="675">
                  <a:latin typeface="+mn-lt"/>
                </a:endParaRPr>
              </a:p>
            </p:txBody>
          </p:sp>
          <p:sp>
            <p:nvSpPr>
              <p:cNvPr id="50" name="Freeform 330"/>
              <p:cNvSpPr>
                <a:spLocks noChangeArrowheads="1"/>
              </p:cNvSpPr>
              <p:nvPr/>
            </p:nvSpPr>
            <p:spPr bwMode="auto">
              <a:xfrm>
                <a:off x="5406" y="2057"/>
                <a:ext cx="28" cy="225"/>
              </a:xfrm>
              <a:custGeom>
                <a:avLst/>
                <a:gdLst>
                  <a:gd name="T0" fmla="*/ 28 w 128"/>
                  <a:gd name="T1" fmla="*/ 216 h 996"/>
                  <a:gd name="T2" fmla="*/ 28 w 128"/>
                  <a:gd name="T3" fmla="*/ 11 h 996"/>
                  <a:gd name="T4" fmla="*/ 14 w 128"/>
                  <a:gd name="T5" fmla="*/ 0 h 996"/>
                  <a:gd name="T6" fmla="*/ 0 w 128"/>
                  <a:gd name="T7" fmla="*/ 11 h 996"/>
                  <a:gd name="T8" fmla="*/ 0 w 128"/>
                  <a:gd name="T9" fmla="*/ 15 h 996"/>
                  <a:gd name="T10" fmla="*/ 1 w 128"/>
                  <a:gd name="T11" fmla="*/ 15 h 996"/>
                  <a:gd name="T12" fmla="*/ 23 w 128"/>
                  <a:gd name="T13" fmla="*/ 37 h 996"/>
                  <a:gd name="T14" fmla="*/ 1 w 128"/>
                  <a:gd name="T15" fmla="*/ 59 h 996"/>
                  <a:gd name="T16" fmla="*/ 0 w 128"/>
                  <a:gd name="T17" fmla="*/ 59 h 996"/>
                  <a:gd name="T18" fmla="*/ 0 w 128"/>
                  <a:gd name="T19" fmla="*/ 216 h 996"/>
                  <a:gd name="T20" fmla="*/ 13 w 128"/>
                  <a:gd name="T21" fmla="*/ 225 h 996"/>
                  <a:gd name="T22" fmla="*/ 28 w 128"/>
                  <a:gd name="T23" fmla="*/ 216 h 9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8" h="996">
                    <a:moveTo>
                      <a:pt x="127" y="956"/>
                    </a:moveTo>
                    <a:lnTo>
                      <a:pt x="127" y="47"/>
                    </a:lnTo>
                    <a:cubicBezTo>
                      <a:pt x="127" y="2"/>
                      <a:pt x="65" y="0"/>
                      <a:pt x="65" y="0"/>
                    </a:cubicBezTo>
                    <a:cubicBezTo>
                      <a:pt x="3" y="0"/>
                      <a:pt x="0" y="47"/>
                      <a:pt x="0" y="47"/>
                    </a:cubicBezTo>
                    <a:lnTo>
                      <a:pt x="0" y="66"/>
                    </a:lnTo>
                    <a:cubicBezTo>
                      <a:pt x="3" y="66"/>
                      <a:pt x="4" y="66"/>
                      <a:pt x="5" y="66"/>
                    </a:cubicBezTo>
                    <a:cubicBezTo>
                      <a:pt x="60" y="66"/>
                      <a:pt x="104" y="109"/>
                      <a:pt x="104" y="163"/>
                    </a:cubicBezTo>
                    <a:cubicBezTo>
                      <a:pt x="104" y="217"/>
                      <a:pt x="60" y="261"/>
                      <a:pt x="5" y="261"/>
                    </a:cubicBezTo>
                    <a:cubicBezTo>
                      <a:pt x="4" y="261"/>
                      <a:pt x="3" y="261"/>
                      <a:pt x="0" y="261"/>
                    </a:cubicBezTo>
                    <a:lnTo>
                      <a:pt x="0" y="957"/>
                    </a:lnTo>
                    <a:cubicBezTo>
                      <a:pt x="0" y="957"/>
                      <a:pt x="3" y="994"/>
                      <a:pt x="61" y="994"/>
                    </a:cubicBezTo>
                    <a:cubicBezTo>
                      <a:pt x="61" y="994"/>
                      <a:pt x="127" y="995"/>
                      <a:pt x="127" y="956"/>
                    </a:cubicBezTo>
                  </a:path>
                </a:pathLst>
              </a:custGeom>
              <a:solidFill>
                <a:schemeClr val="accent1"/>
              </a:solidFill>
              <a:ln w="9525" cap="flat">
                <a:noFill/>
                <a:bevel/>
                <a:headEnd/>
                <a:tailEnd/>
              </a:ln>
              <a:effectLst/>
            </p:spPr>
            <p:txBody>
              <a:bodyPr wrap="none" anchor="ctr"/>
              <a:lstStyle/>
              <a:p>
                <a:endParaRPr lang="en-US" sz="675">
                  <a:latin typeface="+mn-lt"/>
                </a:endParaRPr>
              </a:p>
            </p:txBody>
          </p:sp>
          <p:sp>
            <p:nvSpPr>
              <p:cNvPr id="51" name="Freeform 331"/>
              <p:cNvSpPr>
                <a:spLocks noChangeArrowheads="1"/>
              </p:cNvSpPr>
              <p:nvPr/>
            </p:nvSpPr>
            <p:spPr bwMode="auto">
              <a:xfrm>
                <a:off x="5200" y="2117"/>
                <a:ext cx="172" cy="5"/>
              </a:xfrm>
              <a:custGeom>
                <a:avLst/>
                <a:gdLst>
                  <a:gd name="T0" fmla="*/ 0 w 764"/>
                  <a:gd name="T1" fmla="*/ 5 h 28"/>
                  <a:gd name="T2" fmla="*/ 0 w 764"/>
                  <a:gd name="T3" fmla="*/ 0 h 28"/>
                  <a:gd name="T4" fmla="*/ 172 w 764"/>
                  <a:gd name="T5" fmla="*/ 0 h 28"/>
                  <a:gd name="T6" fmla="*/ 172 w 764"/>
                  <a:gd name="T7" fmla="*/ 5 h 28"/>
                  <a:gd name="T8" fmla="*/ 0 w 764"/>
                  <a:gd name="T9" fmla="*/ 5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64" h="28">
                    <a:moveTo>
                      <a:pt x="0" y="27"/>
                    </a:moveTo>
                    <a:lnTo>
                      <a:pt x="0" y="0"/>
                    </a:lnTo>
                    <a:lnTo>
                      <a:pt x="763" y="0"/>
                    </a:lnTo>
                    <a:lnTo>
                      <a:pt x="763" y="27"/>
                    </a:lnTo>
                    <a:lnTo>
                      <a:pt x="0" y="27"/>
                    </a:lnTo>
                  </a:path>
                </a:pathLst>
              </a:custGeom>
              <a:solidFill>
                <a:srgbClr val="FFFFFF"/>
              </a:solidFill>
              <a:ln w="9525" cap="flat">
                <a:noFill/>
                <a:bevel/>
                <a:headEnd/>
                <a:tailEnd/>
              </a:ln>
              <a:effectLst/>
            </p:spPr>
            <p:txBody>
              <a:bodyPr wrap="none" anchor="ctr"/>
              <a:lstStyle/>
              <a:p>
                <a:endParaRPr lang="en-US" sz="675">
                  <a:latin typeface="+mn-lt"/>
                </a:endParaRPr>
              </a:p>
            </p:txBody>
          </p:sp>
          <p:sp>
            <p:nvSpPr>
              <p:cNvPr id="52" name="Freeform 332"/>
              <p:cNvSpPr>
                <a:spLocks noChangeArrowheads="1"/>
              </p:cNvSpPr>
              <p:nvPr/>
            </p:nvSpPr>
            <p:spPr bwMode="auto">
              <a:xfrm>
                <a:off x="5225" y="2093"/>
                <a:ext cx="5" cy="55"/>
              </a:xfrm>
              <a:custGeom>
                <a:avLst/>
                <a:gdLst>
                  <a:gd name="T0" fmla="*/ 0 w 28"/>
                  <a:gd name="T1" fmla="*/ 55 h 245"/>
                  <a:gd name="T2" fmla="*/ 0 w 28"/>
                  <a:gd name="T3" fmla="*/ 0 h 245"/>
                  <a:gd name="T4" fmla="*/ 5 w 28"/>
                  <a:gd name="T5" fmla="*/ 0 h 245"/>
                  <a:gd name="T6" fmla="*/ 5 w 28"/>
                  <a:gd name="T7" fmla="*/ 55 h 245"/>
                  <a:gd name="T8" fmla="*/ 0 w 28"/>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5">
                    <a:moveTo>
                      <a:pt x="0" y="244"/>
                    </a:moveTo>
                    <a:lnTo>
                      <a:pt x="0" y="0"/>
                    </a:lnTo>
                    <a:lnTo>
                      <a:pt x="27" y="0"/>
                    </a:lnTo>
                    <a:lnTo>
                      <a:pt x="27" y="244"/>
                    </a:lnTo>
                    <a:lnTo>
                      <a:pt x="0" y="244"/>
                    </a:lnTo>
                  </a:path>
                </a:pathLst>
              </a:custGeom>
              <a:solidFill>
                <a:srgbClr val="FFFFFF"/>
              </a:solidFill>
              <a:ln w="9525" cap="flat">
                <a:noFill/>
                <a:bevel/>
                <a:headEnd/>
                <a:tailEnd/>
              </a:ln>
              <a:effectLst/>
            </p:spPr>
            <p:txBody>
              <a:bodyPr wrap="none" anchor="ctr"/>
              <a:lstStyle/>
              <a:p>
                <a:endParaRPr lang="en-US" sz="675">
                  <a:latin typeface="+mn-lt"/>
                </a:endParaRPr>
              </a:p>
            </p:txBody>
          </p:sp>
          <p:sp>
            <p:nvSpPr>
              <p:cNvPr id="53" name="Freeform 333"/>
              <p:cNvSpPr>
                <a:spLocks noChangeArrowheads="1"/>
              </p:cNvSpPr>
              <p:nvPr/>
            </p:nvSpPr>
            <p:spPr bwMode="auto">
              <a:xfrm>
                <a:off x="5254" y="2093"/>
                <a:ext cx="5" cy="55"/>
              </a:xfrm>
              <a:custGeom>
                <a:avLst/>
                <a:gdLst>
                  <a:gd name="T0" fmla="*/ 0 w 28"/>
                  <a:gd name="T1" fmla="*/ 55 h 245"/>
                  <a:gd name="T2" fmla="*/ 0 w 28"/>
                  <a:gd name="T3" fmla="*/ 0 h 245"/>
                  <a:gd name="T4" fmla="*/ 5 w 28"/>
                  <a:gd name="T5" fmla="*/ 0 h 245"/>
                  <a:gd name="T6" fmla="*/ 5 w 28"/>
                  <a:gd name="T7" fmla="*/ 55 h 245"/>
                  <a:gd name="T8" fmla="*/ 0 w 28"/>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5">
                    <a:moveTo>
                      <a:pt x="0" y="244"/>
                    </a:moveTo>
                    <a:lnTo>
                      <a:pt x="0" y="0"/>
                    </a:lnTo>
                    <a:lnTo>
                      <a:pt x="27" y="0"/>
                    </a:lnTo>
                    <a:lnTo>
                      <a:pt x="27" y="244"/>
                    </a:lnTo>
                    <a:lnTo>
                      <a:pt x="0" y="244"/>
                    </a:lnTo>
                  </a:path>
                </a:pathLst>
              </a:custGeom>
              <a:solidFill>
                <a:srgbClr val="FFFFFF"/>
              </a:solidFill>
              <a:ln w="9525" cap="flat">
                <a:noFill/>
                <a:bevel/>
                <a:headEnd/>
                <a:tailEnd/>
              </a:ln>
              <a:effectLst/>
            </p:spPr>
            <p:txBody>
              <a:bodyPr wrap="none" anchor="ctr"/>
              <a:lstStyle/>
              <a:p>
                <a:endParaRPr lang="en-US" sz="675">
                  <a:latin typeface="+mn-lt"/>
                </a:endParaRPr>
              </a:p>
            </p:txBody>
          </p:sp>
          <p:sp>
            <p:nvSpPr>
              <p:cNvPr id="54" name="Freeform 334"/>
              <p:cNvSpPr>
                <a:spLocks noChangeArrowheads="1"/>
              </p:cNvSpPr>
              <p:nvPr/>
            </p:nvSpPr>
            <p:spPr bwMode="auto">
              <a:xfrm>
                <a:off x="5284" y="2094"/>
                <a:ext cx="5" cy="54"/>
              </a:xfrm>
              <a:custGeom>
                <a:avLst/>
                <a:gdLst>
                  <a:gd name="T0" fmla="*/ 0 w 28"/>
                  <a:gd name="T1" fmla="*/ 54 h 243"/>
                  <a:gd name="T2" fmla="*/ 0 w 28"/>
                  <a:gd name="T3" fmla="*/ 0 h 243"/>
                  <a:gd name="T4" fmla="*/ 5 w 28"/>
                  <a:gd name="T5" fmla="*/ 0 h 243"/>
                  <a:gd name="T6" fmla="*/ 5 w 28"/>
                  <a:gd name="T7" fmla="*/ 54 h 243"/>
                  <a:gd name="T8" fmla="*/ 0 w 28"/>
                  <a:gd name="T9" fmla="*/ 54 h 2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3">
                    <a:moveTo>
                      <a:pt x="0" y="242"/>
                    </a:moveTo>
                    <a:lnTo>
                      <a:pt x="0" y="0"/>
                    </a:lnTo>
                    <a:lnTo>
                      <a:pt x="27" y="0"/>
                    </a:lnTo>
                    <a:lnTo>
                      <a:pt x="27" y="242"/>
                    </a:lnTo>
                    <a:lnTo>
                      <a:pt x="0" y="242"/>
                    </a:lnTo>
                  </a:path>
                </a:pathLst>
              </a:custGeom>
              <a:solidFill>
                <a:srgbClr val="FFFFFF"/>
              </a:solidFill>
              <a:ln w="9525" cap="flat">
                <a:noFill/>
                <a:bevel/>
                <a:headEnd/>
                <a:tailEnd/>
              </a:ln>
              <a:effectLst/>
            </p:spPr>
            <p:txBody>
              <a:bodyPr wrap="none" anchor="ctr"/>
              <a:lstStyle/>
              <a:p>
                <a:endParaRPr lang="en-US" sz="675">
                  <a:latin typeface="+mn-lt"/>
                </a:endParaRPr>
              </a:p>
            </p:txBody>
          </p:sp>
          <p:sp>
            <p:nvSpPr>
              <p:cNvPr id="55" name="Freeform 335"/>
              <p:cNvSpPr>
                <a:spLocks noChangeArrowheads="1"/>
              </p:cNvSpPr>
              <p:nvPr/>
            </p:nvSpPr>
            <p:spPr bwMode="auto">
              <a:xfrm>
                <a:off x="5314" y="2094"/>
                <a:ext cx="5" cy="54"/>
              </a:xfrm>
              <a:custGeom>
                <a:avLst/>
                <a:gdLst>
                  <a:gd name="T0" fmla="*/ 3 w 28"/>
                  <a:gd name="T1" fmla="*/ 54 h 244"/>
                  <a:gd name="T2" fmla="*/ 0 w 28"/>
                  <a:gd name="T3" fmla="*/ 54 h 244"/>
                  <a:gd name="T4" fmla="*/ 0 w 28"/>
                  <a:gd name="T5" fmla="*/ 0 h 244"/>
                  <a:gd name="T6" fmla="*/ 5 w 28"/>
                  <a:gd name="T7" fmla="*/ 0 h 244"/>
                  <a:gd name="T8" fmla="*/ 5 w 28"/>
                  <a:gd name="T9" fmla="*/ 54 h 244"/>
                  <a:gd name="T10" fmla="*/ 3 w 28"/>
                  <a:gd name="T11" fmla="*/ 54 h 24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244">
                    <a:moveTo>
                      <a:pt x="14" y="243"/>
                    </a:moveTo>
                    <a:lnTo>
                      <a:pt x="0" y="243"/>
                    </a:lnTo>
                    <a:lnTo>
                      <a:pt x="0" y="0"/>
                    </a:lnTo>
                    <a:lnTo>
                      <a:pt x="27" y="0"/>
                    </a:lnTo>
                    <a:lnTo>
                      <a:pt x="27" y="243"/>
                    </a:lnTo>
                    <a:lnTo>
                      <a:pt x="14" y="243"/>
                    </a:lnTo>
                  </a:path>
                </a:pathLst>
              </a:custGeom>
              <a:solidFill>
                <a:srgbClr val="FFFFFF"/>
              </a:solidFill>
              <a:ln w="9525" cap="flat">
                <a:noFill/>
                <a:bevel/>
                <a:headEnd/>
                <a:tailEnd/>
              </a:ln>
              <a:effectLst/>
            </p:spPr>
            <p:txBody>
              <a:bodyPr wrap="none" anchor="ctr"/>
              <a:lstStyle/>
              <a:p>
                <a:endParaRPr lang="en-US" sz="675">
                  <a:latin typeface="+mn-lt"/>
                </a:endParaRPr>
              </a:p>
            </p:txBody>
          </p:sp>
          <p:sp>
            <p:nvSpPr>
              <p:cNvPr id="56" name="Freeform 336"/>
              <p:cNvSpPr>
                <a:spLocks noChangeArrowheads="1"/>
              </p:cNvSpPr>
              <p:nvPr/>
            </p:nvSpPr>
            <p:spPr bwMode="auto">
              <a:xfrm>
                <a:off x="5342" y="2093"/>
                <a:ext cx="6" cy="55"/>
              </a:xfrm>
              <a:custGeom>
                <a:avLst/>
                <a:gdLst>
                  <a:gd name="T0" fmla="*/ 0 w 29"/>
                  <a:gd name="T1" fmla="*/ 55 h 245"/>
                  <a:gd name="T2" fmla="*/ 0 w 29"/>
                  <a:gd name="T3" fmla="*/ 0 h 245"/>
                  <a:gd name="T4" fmla="*/ 6 w 29"/>
                  <a:gd name="T5" fmla="*/ 0 h 245"/>
                  <a:gd name="T6" fmla="*/ 6 w 29"/>
                  <a:gd name="T7" fmla="*/ 55 h 245"/>
                  <a:gd name="T8" fmla="*/ 0 w 29"/>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 h="245">
                    <a:moveTo>
                      <a:pt x="0" y="244"/>
                    </a:moveTo>
                    <a:lnTo>
                      <a:pt x="0" y="0"/>
                    </a:lnTo>
                    <a:lnTo>
                      <a:pt x="28" y="0"/>
                    </a:lnTo>
                    <a:lnTo>
                      <a:pt x="28" y="244"/>
                    </a:lnTo>
                    <a:lnTo>
                      <a:pt x="0" y="244"/>
                    </a:lnTo>
                  </a:path>
                </a:pathLst>
              </a:custGeom>
              <a:solidFill>
                <a:srgbClr val="FFFFFF"/>
              </a:solidFill>
              <a:ln w="9525" cap="flat">
                <a:noFill/>
                <a:bevel/>
                <a:headEnd/>
                <a:tailEnd/>
              </a:ln>
              <a:effectLst/>
            </p:spPr>
            <p:txBody>
              <a:bodyPr wrap="none" anchor="ctr"/>
              <a:lstStyle/>
              <a:p>
                <a:endParaRPr lang="en-US" sz="675">
                  <a:latin typeface="+mn-lt"/>
                </a:endParaRPr>
              </a:p>
            </p:txBody>
          </p:sp>
          <p:sp>
            <p:nvSpPr>
              <p:cNvPr id="57" name="Freeform 337"/>
              <p:cNvSpPr>
                <a:spLocks noChangeArrowheads="1"/>
              </p:cNvSpPr>
              <p:nvPr/>
            </p:nvSpPr>
            <p:spPr bwMode="auto">
              <a:xfrm>
                <a:off x="5195" y="2089"/>
                <a:ext cx="182" cy="62"/>
              </a:xfrm>
              <a:custGeom>
                <a:avLst/>
                <a:gdLst>
                  <a:gd name="T0" fmla="*/ 0 w 809"/>
                  <a:gd name="T1" fmla="*/ 62 h 278"/>
                  <a:gd name="T2" fmla="*/ 0 w 809"/>
                  <a:gd name="T3" fmla="*/ 0 h 278"/>
                  <a:gd name="T4" fmla="*/ 182 w 809"/>
                  <a:gd name="T5" fmla="*/ 0 h 278"/>
                  <a:gd name="T6" fmla="*/ 182 w 809"/>
                  <a:gd name="T7" fmla="*/ 59 h 278"/>
                  <a:gd name="T8" fmla="*/ 182 w 809"/>
                  <a:gd name="T9" fmla="*/ 62 h 278"/>
                  <a:gd name="T10" fmla="*/ 0 w 809"/>
                  <a:gd name="T11" fmla="*/ 62 h 278"/>
                  <a:gd name="T12" fmla="*/ 6 w 809"/>
                  <a:gd name="T13" fmla="*/ 56 h 278"/>
                  <a:gd name="T14" fmla="*/ 175 w 809"/>
                  <a:gd name="T15" fmla="*/ 56 h 278"/>
                  <a:gd name="T16" fmla="*/ 175 w 809"/>
                  <a:gd name="T17" fmla="*/ 6 h 278"/>
                  <a:gd name="T18" fmla="*/ 6 w 809"/>
                  <a:gd name="T19" fmla="*/ 6 h 278"/>
                  <a:gd name="T20" fmla="*/ 6 w 809"/>
                  <a:gd name="T21" fmla="*/ 56 h 2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9" h="278">
                    <a:moveTo>
                      <a:pt x="0" y="277"/>
                    </a:moveTo>
                    <a:lnTo>
                      <a:pt x="0" y="0"/>
                    </a:lnTo>
                    <a:lnTo>
                      <a:pt x="808" y="0"/>
                    </a:lnTo>
                    <a:lnTo>
                      <a:pt x="808" y="263"/>
                    </a:lnTo>
                    <a:lnTo>
                      <a:pt x="808" y="277"/>
                    </a:lnTo>
                    <a:lnTo>
                      <a:pt x="0" y="277"/>
                    </a:lnTo>
                    <a:close/>
                    <a:moveTo>
                      <a:pt x="27" y="249"/>
                    </a:moveTo>
                    <a:lnTo>
                      <a:pt x="780" y="249"/>
                    </a:lnTo>
                    <a:lnTo>
                      <a:pt x="780" y="27"/>
                    </a:lnTo>
                    <a:lnTo>
                      <a:pt x="27" y="27"/>
                    </a:lnTo>
                    <a:lnTo>
                      <a:pt x="27" y="249"/>
                    </a:lnTo>
                    <a:close/>
                  </a:path>
                </a:pathLst>
              </a:custGeom>
              <a:solidFill>
                <a:srgbClr val="FFFFFF"/>
              </a:solidFill>
              <a:ln w="9525" cap="flat">
                <a:noFill/>
                <a:bevel/>
                <a:headEnd/>
                <a:tailEnd/>
              </a:ln>
              <a:effectLst/>
            </p:spPr>
            <p:txBody>
              <a:bodyPr wrap="none" anchor="ctr"/>
              <a:lstStyle/>
              <a:p>
                <a:endParaRPr lang="en-US" sz="675">
                  <a:latin typeface="+mn-lt"/>
                </a:endParaRPr>
              </a:p>
            </p:txBody>
          </p:sp>
          <p:sp>
            <p:nvSpPr>
              <p:cNvPr id="58" name="Freeform 338"/>
              <p:cNvSpPr>
                <a:spLocks noChangeArrowheads="1"/>
              </p:cNvSpPr>
              <p:nvPr/>
            </p:nvSpPr>
            <p:spPr bwMode="auto">
              <a:xfrm>
                <a:off x="5230" y="2094"/>
                <a:ext cx="24" cy="23"/>
              </a:xfrm>
              <a:custGeom>
                <a:avLst/>
                <a:gdLst>
                  <a:gd name="T0" fmla="*/ 12 w 111"/>
                  <a:gd name="T1" fmla="*/ 23 h 108"/>
                  <a:gd name="T2" fmla="*/ 0 w 111"/>
                  <a:gd name="T3" fmla="*/ 23 h 108"/>
                  <a:gd name="T4" fmla="*/ 0 w 111"/>
                  <a:gd name="T5" fmla="*/ 0 h 108"/>
                  <a:gd name="T6" fmla="*/ 24 w 111"/>
                  <a:gd name="T7" fmla="*/ 0 h 108"/>
                  <a:gd name="T8" fmla="*/ 24 w 111"/>
                  <a:gd name="T9" fmla="*/ 23 h 108"/>
                  <a:gd name="T10" fmla="*/ 12 w 111"/>
                  <a:gd name="T11" fmla="*/ 23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8">
                    <a:moveTo>
                      <a:pt x="54" y="107"/>
                    </a:moveTo>
                    <a:lnTo>
                      <a:pt x="0" y="107"/>
                    </a:lnTo>
                    <a:lnTo>
                      <a:pt x="0" y="0"/>
                    </a:lnTo>
                    <a:lnTo>
                      <a:pt x="110" y="0"/>
                    </a:lnTo>
                    <a:lnTo>
                      <a:pt x="110" y="107"/>
                    </a:lnTo>
                    <a:lnTo>
                      <a:pt x="54" y="107"/>
                    </a:lnTo>
                  </a:path>
                </a:pathLst>
              </a:custGeom>
              <a:solidFill>
                <a:srgbClr val="FFFFFF"/>
              </a:solidFill>
              <a:ln w="9525" cap="flat">
                <a:noFill/>
                <a:bevel/>
                <a:headEnd/>
                <a:tailEnd/>
              </a:ln>
              <a:effectLst/>
            </p:spPr>
            <p:txBody>
              <a:bodyPr wrap="none" anchor="ctr"/>
              <a:lstStyle/>
              <a:p>
                <a:endParaRPr lang="en-US" sz="675">
                  <a:latin typeface="+mn-lt"/>
                </a:endParaRPr>
              </a:p>
            </p:txBody>
          </p:sp>
          <p:sp>
            <p:nvSpPr>
              <p:cNvPr id="59" name="Freeform 339"/>
              <p:cNvSpPr>
                <a:spLocks noChangeArrowheads="1"/>
              </p:cNvSpPr>
              <p:nvPr/>
            </p:nvSpPr>
            <p:spPr bwMode="auto">
              <a:xfrm>
                <a:off x="5290" y="2094"/>
                <a:ext cx="24" cy="23"/>
              </a:xfrm>
              <a:custGeom>
                <a:avLst/>
                <a:gdLst>
                  <a:gd name="T0" fmla="*/ 12 w 111"/>
                  <a:gd name="T1" fmla="*/ 23 h 108"/>
                  <a:gd name="T2" fmla="*/ 0 w 111"/>
                  <a:gd name="T3" fmla="*/ 23 h 108"/>
                  <a:gd name="T4" fmla="*/ 0 w 111"/>
                  <a:gd name="T5" fmla="*/ 0 h 108"/>
                  <a:gd name="T6" fmla="*/ 24 w 111"/>
                  <a:gd name="T7" fmla="*/ 0 h 108"/>
                  <a:gd name="T8" fmla="*/ 24 w 111"/>
                  <a:gd name="T9" fmla="*/ 23 h 108"/>
                  <a:gd name="T10" fmla="*/ 12 w 111"/>
                  <a:gd name="T11" fmla="*/ 23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8">
                    <a:moveTo>
                      <a:pt x="55" y="107"/>
                    </a:moveTo>
                    <a:lnTo>
                      <a:pt x="0" y="107"/>
                    </a:lnTo>
                    <a:lnTo>
                      <a:pt x="0" y="0"/>
                    </a:lnTo>
                    <a:lnTo>
                      <a:pt x="110" y="0"/>
                    </a:lnTo>
                    <a:lnTo>
                      <a:pt x="110" y="107"/>
                    </a:lnTo>
                    <a:lnTo>
                      <a:pt x="55" y="107"/>
                    </a:lnTo>
                  </a:path>
                </a:pathLst>
              </a:custGeom>
              <a:solidFill>
                <a:srgbClr val="FFFFFF"/>
              </a:solidFill>
              <a:ln w="9525" cap="flat">
                <a:noFill/>
                <a:bevel/>
                <a:headEnd/>
                <a:tailEnd/>
              </a:ln>
              <a:effectLst/>
            </p:spPr>
            <p:txBody>
              <a:bodyPr wrap="none" anchor="ctr"/>
              <a:lstStyle/>
              <a:p>
                <a:endParaRPr lang="en-US" sz="675">
                  <a:latin typeface="+mn-lt"/>
                </a:endParaRPr>
              </a:p>
            </p:txBody>
          </p:sp>
          <p:sp>
            <p:nvSpPr>
              <p:cNvPr id="60" name="Freeform 340"/>
              <p:cNvSpPr>
                <a:spLocks noChangeArrowheads="1"/>
              </p:cNvSpPr>
              <p:nvPr/>
            </p:nvSpPr>
            <p:spPr bwMode="auto">
              <a:xfrm>
                <a:off x="5319" y="2122"/>
                <a:ext cx="24" cy="23"/>
              </a:xfrm>
              <a:custGeom>
                <a:avLst/>
                <a:gdLst>
                  <a:gd name="T0" fmla="*/ 12 w 111"/>
                  <a:gd name="T1" fmla="*/ 23 h 107"/>
                  <a:gd name="T2" fmla="*/ 0 w 111"/>
                  <a:gd name="T3" fmla="*/ 23 h 107"/>
                  <a:gd name="T4" fmla="*/ 0 w 111"/>
                  <a:gd name="T5" fmla="*/ 0 h 107"/>
                  <a:gd name="T6" fmla="*/ 24 w 111"/>
                  <a:gd name="T7" fmla="*/ 0 h 107"/>
                  <a:gd name="T8" fmla="*/ 24 w 111"/>
                  <a:gd name="T9" fmla="*/ 23 h 107"/>
                  <a:gd name="T10" fmla="*/ 12 w 111"/>
                  <a:gd name="T11" fmla="*/ 23 h 1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7">
                    <a:moveTo>
                      <a:pt x="54" y="106"/>
                    </a:moveTo>
                    <a:lnTo>
                      <a:pt x="0" y="106"/>
                    </a:lnTo>
                    <a:lnTo>
                      <a:pt x="0" y="0"/>
                    </a:lnTo>
                    <a:lnTo>
                      <a:pt x="110" y="0"/>
                    </a:lnTo>
                    <a:lnTo>
                      <a:pt x="110" y="106"/>
                    </a:lnTo>
                    <a:lnTo>
                      <a:pt x="54" y="106"/>
                    </a:lnTo>
                  </a:path>
                </a:pathLst>
              </a:custGeom>
              <a:solidFill>
                <a:srgbClr val="FFFFFF"/>
              </a:solidFill>
              <a:ln w="9525" cap="flat">
                <a:noFill/>
                <a:bevel/>
                <a:headEnd/>
                <a:tailEnd/>
              </a:ln>
              <a:effectLst/>
            </p:spPr>
            <p:txBody>
              <a:bodyPr wrap="none" anchor="ctr"/>
              <a:lstStyle/>
              <a:p>
                <a:endParaRPr lang="en-US" sz="675">
                  <a:latin typeface="+mn-lt"/>
                </a:endParaRPr>
              </a:p>
            </p:txBody>
          </p:sp>
        </p:grpSp>
      </p:grpSp>
      <p:grpSp>
        <p:nvGrpSpPr>
          <p:cNvPr id="61" name="Group 60"/>
          <p:cNvGrpSpPr/>
          <p:nvPr/>
        </p:nvGrpSpPr>
        <p:grpSpPr>
          <a:xfrm>
            <a:off x="6334391" y="1184650"/>
            <a:ext cx="1741232" cy="1338146"/>
            <a:chOff x="4200119" y="3961480"/>
            <a:chExt cx="2321642" cy="1784194"/>
          </a:xfrm>
        </p:grpSpPr>
        <p:sp>
          <p:nvSpPr>
            <p:cNvPr id="62" name="Rounded Rectangle 280"/>
            <p:cNvSpPr/>
            <p:nvPr/>
          </p:nvSpPr>
          <p:spPr>
            <a:xfrm>
              <a:off x="4200119" y="4152449"/>
              <a:ext cx="2096355" cy="1593225"/>
            </a:xfrm>
            <a:prstGeom prst="roundRect">
              <a:avLst>
                <a:gd name="adj" fmla="val 11943"/>
              </a:avLst>
            </a:prstGeom>
            <a:solidFill>
              <a:schemeClr val="bg1">
                <a:lumMod val="85000"/>
              </a:schemeClr>
            </a:solidFill>
            <a:ln w="28575">
              <a:solidFill>
                <a:schemeClr val="accent3"/>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dirty="0">
                <a:latin typeface="Trebuchet MS"/>
                <a:cs typeface="Trebuchet MS"/>
              </a:endParaRPr>
            </a:p>
          </p:txBody>
        </p:sp>
        <p:sp>
          <p:nvSpPr>
            <p:cNvPr id="63" name="Rounded Rectangle 282"/>
            <p:cNvSpPr/>
            <p:nvPr/>
          </p:nvSpPr>
          <p:spPr>
            <a:xfrm>
              <a:off x="5075670" y="5092598"/>
              <a:ext cx="1093037" cy="577078"/>
            </a:xfrm>
            <a:prstGeom prst="roundRect">
              <a:avLst/>
            </a:prstGeom>
            <a:solidFill>
              <a:schemeClr val="bg1">
                <a:lumMod val="75000"/>
              </a:schemeClr>
            </a:solidFill>
            <a:ln>
              <a:solidFill>
                <a:schemeClr val="accent3"/>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buFont typeface="Wingdings" pitchFamily="2" charset="2"/>
                <a:buChar char="ü"/>
              </a:pPr>
              <a:r>
                <a:rPr lang="en-US" sz="825" dirty="0">
                  <a:latin typeface="Trebuchet MS"/>
                  <a:cs typeface="Trebuchet MS"/>
                </a:rPr>
                <a:t>Container</a:t>
              </a:r>
            </a:p>
            <a:p>
              <a:pPr>
                <a:spcBef>
                  <a:spcPts val="0"/>
                </a:spcBef>
                <a:buFont typeface="Wingdings" pitchFamily="2" charset="2"/>
                <a:buChar char="ü"/>
              </a:pPr>
              <a:r>
                <a:rPr lang="en-US" sz="825" dirty="0">
                  <a:latin typeface="Trebuchet MS"/>
                  <a:cs typeface="Trebuchet MS"/>
                </a:rPr>
                <a:t>Quality</a:t>
              </a:r>
            </a:p>
            <a:p>
              <a:pPr>
                <a:spcBef>
                  <a:spcPts val="0"/>
                </a:spcBef>
                <a:buFont typeface="Wingdings" pitchFamily="2" charset="2"/>
                <a:buChar char="ü"/>
              </a:pPr>
              <a:r>
                <a:rPr lang="en-US" sz="825" dirty="0">
                  <a:latin typeface="Trebuchet MS"/>
                  <a:cs typeface="Trebuchet MS"/>
                </a:rPr>
                <a:t>Security</a:t>
              </a:r>
            </a:p>
          </p:txBody>
        </p:sp>
        <p:sp>
          <p:nvSpPr>
            <p:cNvPr id="64" name="Rectangle 63"/>
            <p:cNvSpPr/>
            <p:nvPr/>
          </p:nvSpPr>
          <p:spPr>
            <a:xfrm>
              <a:off x="4440993" y="4272341"/>
              <a:ext cx="1727714" cy="197123"/>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r>
                <a:rPr lang="en-US" sz="825" b="1" dirty="0">
                  <a:solidFill>
                    <a:schemeClr val="accent3"/>
                  </a:solidFill>
                  <a:latin typeface="Trebuchet MS"/>
                  <a:cs typeface="Trebuchet MS"/>
                </a:rPr>
                <a:t>Door lock</a:t>
              </a:r>
              <a:br>
                <a:rPr lang="en-US" sz="825" b="1" dirty="0">
                  <a:solidFill>
                    <a:schemeClr val="accent3"/>
                  </a:solidFill>
                  <a:latin typeface="Trebuchet MS"/>
                  <a:cs typeface="Trebuchet MS"/>
                </a:rPr>
              </a:br>
              <a:r>
                <a:rPr lang="en-US" sz="825" b="1" dirty="0">
                  <a:solidFill>
                    <a:schemeClr val="accent3"/>
                  </a:solidFill>
                  <a:latin typeface="Trebuchet MS"/>
                  <a:cs typeface="Trebuchet MS"/>
                </a:rPr>
                <a:t>detected</a:t>
              </a:r>
            </a:p>
          </p:txBody>
        </p:sp>
        <p:sp>
          <p:nvSpPr>
            <p:cNvPr id="65" name="Rectangle 64"/>
            <p:cNvSpPr/>
            <p:nvPr/>
          </p:nvSpPr>
          <p:spPr>
            <a:xfrm>
              <a:off x="4204754" y="4923524"/>
              <a:ext cx="779133" cy="187036"/>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Classify</a:t>
              </a:r>
            </a:p>
          </p:txBody>
        </p:sp>
        <p:sp>
          <p:nvSpPr>
            <p:cNvPr id="66" name="Rectangle 65"/>
            <p:cNvSpPr/>
            <p:nvPr/>
          </p:nvSpPr>
          <p:spPr>
            <a:xfrm>
              <a:off x="4204754" y="4603498"/>
              <a:ext cx="1015415" cy="254886"/>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henticate</a:t>
              </a:r>
            </a:p>
          </p:txBody>
        </p:sp>
        <p:sp>
          <p:nvSpPr>
            <p:cNvPr id="67" name="Rectangle 66"/>
            <p:cNvSpPr/>
            <p:nvPr/>
          </p:nvSpPr>
          <p:spPr>
            <a:xfrm>
              <a:off x="4204754" y="5175588"/>
              <a:ext cx="883487" cy="294642"/>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o Provision</a:t>
              </a:r>
            </a:p>
          </p:txBody>
        </p:sp>
        <p:pic>
          <p:nvPicPr>
            <p:cNvPr id="68" name="Picture 2"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71187" y="3961480"/>
              <a:ext cx="450574" cy="511163"/>
            </a:xfrm>
            <a:prstGeom prst="rect">
              <a:avLst/>
            </a:prstGeom>
            <a:noFill/>
            <a:extLst>
              <a:ext uri="{909E8E84-426E-40DD-AFC4-6F175D3DCCD1}">
                <a14:hiddenFill xmlns:a14="http://schemas.microsoft.com/office/drawing/2010/main">
                  <a:solidFill>
                    <a:srgbClr val="FFFFFF"/>
                  </a:solidFill>
                </a14:hiddenFill>
              </a:ext>
            </a:extLst>
          </p:spPr>
        </p:pic>
        <p:grpSp>
          <p:nvGrpSpPr>
            <p:cNvPr id="69" name="Group 351"/>
            <p:cNvGrpSpPr/>
            <p:nvPr/>
          </p:nvGrpSpPr>
          <p:grpSpPr>
            <a:xfrm>
              <a:off x="5676607" y="4552549"/>
              <a:ext cx="443839" cy="422942"/>
              <a:chOff x="4705771" y="2257424"/>
              <a:chExt cx="439809" cy="419101"/>
            </a:xfrm>
          </p:grpSpPr>
          <p:sp>
            <p:nvSpPr>
              <p:cNvPr id="70" name="Oval 69"/>
              <p:cNvSpPr/>
              <p:nvPr/>
            </p:nvSpPr>
            <p:spPr>
              <a:xfrm>
                <a:off x="4762501" y="2476501"/>
                <a:ext cx="152400" cy="152400"/>
              </a:xfrm>
              <a:prstGeom prst="ellipse">
                <a:avLst/>
              </a:prstGeom>
              <a:solidFill>
                <a:schemeClr val="accent3"/>
              </a:solid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a:latin typeface="Trebuchet MS"/>
                  <a:cs typeface="Trebuchet MS"/>
                </a:endParaRPr>
              </a:p>
            </p:txBody>
          </p:sp>
          <p:sp>
            <p:nvSpPr>
              <p:cNvPr id="71" name="Rounded Rectangle 302"/>
              <p:cNvSpPr/>
              <p:nvPr/>
            </p:nvSpPr>
            <p:spPr>
              <a:xfrm>
                <a:off x="4791077" y="2499474"/>
                <a:ext cx="354503" cy="106351"/>
              </a:xfrm>
              <a:prstGeom prst="roundRect">
                <a:avLst>
                  <a:gd name="adj" fmla="val 50000"/>
                </a:avLst>
              </a:prstGeom>
              <a:solidFill>
                <a:schemeClr val="accent3"/>
              </a:solid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a:latin typeface="Trebuchet MS"/>
                  <a:cs typeface="Trebuchet MS"/>
                </a:endParaRPr>
              </a:p>
            </p:txBody>
          </p:sp>
          <p:sp>
            <p:nvSpPr>
              <p:cNvPr id="72" name="Rounded Rectangle 303"/>
              <p:cNvSpPr/>
              <p:nvPr/>
            </p:nvSpPr>
            <p:spPr>
              <a:xfrm>
                <a:off x="4705771" y="2257424"/>
                <a:ext cx="256959" cy="419101"/>
              </a:xfrm>
              <a:prstGeom prst="roundRect">
                <a:avLst/>
              </a:prstGeom>
              <a:noFill/>
              <a:ln w="38100">
                <a:solidFill>
                  <a:schemeClr val="accent3"/>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a:latin typeface="Trebuchet MS"/>
                  <a:cs typeface="Trebuchet MS"/>
                </a:endParaRPr>
              </a:p>
            </p:txBody>
          </p:sp>
          <p:sp>
            <p:nvSpPr>
              <p:cNvPr id="73" name="Rounded Rectangle 304"/>
              <p:cNvSpPr/>
              <p:nvPr/>
            </p:nvSpPr>
            <p:spPr>
              <a:xfrm>
                <a:off x="4764176" y="2333621"/>
                <a:ext cx="133351" cy="114299"/>
              </a:xfrm>
              <a:prstGeom prst="roundRect">
                <a:avLst/>
              </a:prstGeom>
              <a:solidFill>
                <a:schemeClr val="accent3"/>
              </a:solid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a:latin typeface="Trebuchet MS"/>
                  <a:cs typeface="Trebuchet MS"/>
                </a:endParaRPr>
              </a:p>
            </p:txBody>
          </p:sp>
        </p:grpSp>
      </p:grpSp>
    </p:spTree>
    <p:extLst>
      <p:ext uri="{BB962C8B-B14F-4D97-AF65-F5344CB8AC3E}">
        <p14:creationId xmlns:p14="http://schemas.microsoft.com/office/powerpoint/2010/main" val="21617247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224953" y="170260"/>
            <a:ext cx="8673362" cy="422523"/>
          </a:xfrm>
        </p:spPr>
        <p:txBody>
          <a:bodyPr/>
          <a:lstStyle/>
          <a:p>
            <a:r>
              <a:rPr lang="en-US" dirty="0" err="1"/>
              <a:t>Habilitación</a:t>
            </a:r>
            <a:r>
              <a:rPr lang="en-US" dirty="0"/>
              <a:t> de IoT</a:t>
            </a:r>
          </a:p>
        </p:txBody>
      </p:sp>
      <p:sp>
        <p:nvSpPr>
          <p:cNvPr id="130" name="Content Placeholder 2"/>
          <p:cNvSpPr txBox="1">
            <a:spLocks/>
          </p:cNvSpPr>
          <p:nvPr/>
        </p:nvSpPr>
        <p:spPr>
          <a:xfrm>
            <a:off x="224953" y="594462"/>
            <a:ext cx="5554896" cy="262637"/>
          </a:xfrm>
          <a:prstGeom prst="rect">
            <a:avLst/>
          </a:prstGeom>
        </p:spPr>
        <p:txBody>
          <a:bodyPr/>
          <a:lstStyle>
            <a:lvl1pPr marL="180975" indent="-180975" algn="l" rtl="0" eaLnBrk="1" fontAlgn="base" hangingPunct="1">
              <a:spcBef>
                <a:spcPct val="20000"/>
              </a:spcBef>
              <a:spcAft>
                <a:spcPct val="30000"/>
              </a:spcAft>
              <a:buClrTx/>
              <a:buSzPct val="80000"/>
              <a:buFont typeface="Trebuchet MS" panose="05000000000000000000" pitchFamily="2" charset="2"/>
              <a:buChar char=""/>
              <a:defRPr sz="1500">
                <a:solidFill>
                  <a:schemeClr val="tx1"/>
                </a:solidFill>
                <a:latin typeface="Trebuchet MS" panose="020B0603020202020204" pitchFamily="34" charset="0"/>
                <a:ea typeface="+mn-ea"/>
                <a:cs typeface="Trebuchet MS" panose="020B0502040204020203" pitchFamily="34" charset="0"/>
              </a:defRPr>
            </a:lvl1pPr>
            <a:lvl2pPr marL="361950" indent="-180975" algn="l" rtl="0" eaLnBrk="1" fontAlgn="base" hangingPunct="1">
              <a:spcBef>
                <a:spcPct val="20000"/>
              </a:spcBef>
              <a:spcAft>
                <a:spcPts val="0"/>
              </a:spcAft>
              <a:buClrTx/>
              <a:buFont typeface="Trebuchet MS" panose="05000000000000000000" pitchFamily="2" charset="2"/>
              <a:buChar char="§"/>
              <a:defRPr sz="1400">
                <a:solidFill>
                  <a:schemeClr val="tx1"/>
                </a:solidFill>
                <a:latin typeface="Trebuchet MS" panose="020B0603020202020204" pitchFamily="34" charset="0"/>
                <a:cs typeface="Trebuchet MS" panose="020B0502040204020203" pitchFamily="34" charset="0"/>
              </a:defRPr>
            </a:lvl2pPr>
            <a:lvl3pPr marL="538163" indent="-131763" algn="l" rtl="0" eaLnBrk="1" fontAlgn="base" hangingPunct="1">
              <a:spcBef>
                <a:spcPts val="329"/>
              </a:spcBef>
              <a:spcAft>
                <a:spcPts val="0"/>
              </a:spcAft>
              <a:buClrTx/>
              <a:buFont typeface="Trebuchet MS" pitchFamily="34" charset="0"/>
              <a:buChar char="­"/>
              <a:defRPr sz="1200">
                <a:solidFill>
                  <a:schemeClr val="tx1"/>
                </a:solidFill>
                <a:latin typeface="Trebuchet MS" panose="020B0603020202020204" pitchFamily="34" charset="0"/>
                <a:cs typeface="Trebuchet MS" panose="020B0502040204020203" pitchFamily="34" charset="0"/>
              </a:defRPr>
            </a:lvl3pPr>
            <a:lvl4pPr marL="631825" indent="-85725"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4pPr>
            <a:lvl5pPr marL="715963" indent="-84138"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5pPr>
            <a:lvl6pPr marL="1093553"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6pPr>
            <a:lvl7pPr marL="1441942"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7pPr>
            <a:lvl8pPr marL="1790331"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8pPr>
            <a:lvl9pPr marL="2138719"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9pPr>
          </a:lstStyle>
          <a:p>
            <a:pPr marL="0" indent="0">
              <a:buNone/>
            </a:pPr>
            <a:r>
              <a:rPr lang="en-US" sz="1100" dirty="0" err="1">
                <a:solidFill>
                  <a:schemeClr val="tx2"/>
                </a:solidFill>
              </a:rPr>
              <a:t>Segmentación</a:t>
            </a:r>
            <a:r>
              <a:rPr lang="en-US" sz="1100" dirty="0">
                <a:solidFill>
                  <a:schemeClr val="tx2"/>
                </a:solidFill>
              </a:rPr>
              <a:t> de red par </a:t>
            </a:r>
            <a:r>
              <a:rPr lang="en-US" sz="1100" dirty="0" err="1">
                <a:solidFill>
                  <a:schemeClr val="tx2"/>
                </a:solidFill>
              </a:rPr>
              <a:t>operaciones</a:t>
            </a:r>
            <a:r>
              <a:rPr lang="en-US" sz="1100" dirty="0">
                <a:solidFill>
                  <a:schemeClr val="tx2"/>
                </a:solidFill>
              </a:rPr>
              <a:t> </a:t>
            </a:r>
            <a:r>
              <a:rPr lang="en-US" sz="1100" dirty="0" err="1">
                <a:solidFill>
                  <a:schemeClr val="tx2"/>
                </a:solidFill>
              </a:rPr>
              <a:t>eficientes</a:t>
            </a:r>
            <a:r>
              <a:rPr lang="en-US" sz="1100" dirty="0">
                <a:solidFill>
                  <a:schemeClr val="tx2"/>
                </a:solidFill>
              </a:rPr>
              <a:t> y mayor Seguridad</a:t>
            </a:r>
          </a:p>
        </p:txBody>
      </p:sp>
      <p:sp>
        <p:nvSpPr>
          <p:cNvPr id="4" name="Cloud 3"/>
          <p:cNvSpPr/>
          <p:nvPr/>
        </p:nvSpPr>
        <p:spPr>
          <a:xfrm>
            <a:off x="1283368" y="3621635"/>
            <a:ext cx="6145227" cy="955964"/>
          </a:xfrm>
          <a:prstGeom prst="cloud">
            <a:avLst/>
          </a:prstGeom>
          <a:solidFill>
            <a:schemeClr val="accent3">
              <a:lumMod val="20000"/>
              <a:lumOff val="8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5" name="TextBox 14"/>
          <p:cNvSpPr txBox="1"/>
          <p:nvPr/>
        </p:nvSpPr>
        <p:spPr>
          <a:xfrm>
            <a:off x="1498864" y="4411977"/>
            <a:ext cx="1005845" cy="253916"/>
          </a:xfrm>
          <a:prstGeom prst="rect">
            <a:avLst/>
          </a:prstGeom>
          <a:noFill/>
        </p:spPr>
        <p:txBody>
          <a:bodyPr wrap="square" rtlCol="0">
            <a:spAutoFit/>
          </a:bodyPr>
          <a:lstStyle/>
          <a:p>
            <a:pPr algn="ctr"/>
            <a:r>
              <a:rPr lang="en-US" sz="1050" dirty="0" err="1">
                <a:latin typeface="+mn-lt"/>
                <a:cs typeface="Calibri" pitchFamily="34" charset="0"/>
              </a:rPr>
              <a:t>Polideportivo</a:t>
            </a:r>
            <a:endParaRPr lang="en-US" sz="1050" dirty="0">
              <a:latin typeface="+mn-lt"/>
              <a:cs typeface="Calibri" pitchFamily="34" charset="0"/>
            </a:endParaRPr>
          </a:p>
        </p:txBody>
      </p:sp>
      <p:sp>
        <p:nvSpPr>
          <p:cNvPr id="16" name="TextBox 15"/>
          <p:cNvSpPr txBox="1"/>
          <p:nvPr/>
        </p:nvSpPr>
        <p:spPr>
          <a:xfrm>
            <a:off x="2728467" y="4270896"/>
            <a:ext cx="1005845" cy="253916"/>
          </a:xfrm>
          <a:prstGeom prst="rect">
            <a:avLst/>
          </a:prstGeom>
          <a:noFill/>
        </p:spPr>
        <p:txBody>
          <a:bodyPr wrap="square" rtlCol="0">
            <a:spAutoFit/>
          </a:bodyPr>
          <a:lstStyle/>
          <a:p>
            <a:pPr algn="ctr"/>
            <a:r>
              <a:rPr lang="en-US" sz="1050" dirty="0" err="1">
                <a:latin typeface="+mn-lt"/>
                <a:cs typeface="Calibri" pitchFamily="34" charset="0"/>
              </a:rPr>
              <a:t>Biblioteca</a:t>
            </a:r>
            <a:endParaRPr lang="en-US" sz="1050" dirty="0">
              <a:latin typeface="+mn-lt"/>
              <a:cs typeface="Calibri" pitchFamily="34" charset="0"/>
            </a:endParaRPr>
          </a:p>
        </p:txBody>
      </p:sp>
      <p:sp>
        <p:nvSpPr>
          <p:cNvPr id="18" name="Freeform 98"/>
          <p:cNvSpPr>
            <a:spLocks noEditPoints="1"/>
          </p:cNvSpPr>
          <p:nvPr/>
        </p:nvSpPr>
        <p:spPr bwMode="auto">
          <a:xfrm>
            <a:off x="4715817" y="3645249"/>
            <a:ext cx="655123" cy="452585"/>
          </a:xfrm>
          <a:custGeom>
            <a:avLst/>
            <a:gdLst/>
            <a:ahLst/>
            <a:cxnLst>
              <a:cxn ang="0">
                <a:pos x="101" y="0"/>
              </a:cxn>
              <a:cxn ang="0">
                <a:pos x="42" y="113"/>
              </a:cxn>
              <a:cxn ang="0">
                <a:pos x="0" y="567"/>
              </a:cxn>
              <a:cxn ang="0">
                <a:pos x="47" y="609"/>
              </a:cxn>
              <a:cxn ang="0">
                <a:pos x="87" y="216"/>
              </a:cxn>
              <a:cxn ang="0">
                <a:pos x="835" y="246"/>
              </a:cxn>
              <a:cxn ang="0">
                <a:pos x="841" y="609"/>
              </a:cxn>
              <a:cxn ang="0">
                <a:pos x="883" y="41"/>
              </a:cxn>
              <a:cxn ang="0">
                <a:pos x="780" y="244"/>
              </a:cxn>
              <a:cxn ang="0">
                <a:pos x="76" y="279"/>
              </a:cxn>
              <a:cxn ang="0">
                <a:pos x="101" y="609"/>
              </a:cxn>
              <a:cxn ang="0">
                <a:pos x="806" y="583"/>
              </a:cxn>
              <a:cxn ang="0">
                <a:pos x="780" y="244"/>
              </a:cxn>
              <a:cxn ang="0">
                <a:pos x="70" y="40"/>
              </a:cxn>
              <a:cxn ang="0">
                <a:pos x="15" y="40"/>
              </a:cxn>
              <a:cxn ang="0">
                <a:pos x="241" y="389"/>
              </a:cxn>
              <a:cxn ang="0">
                <a:pos x="191" y="322"/>
              </a:cxn>
              <a:cxn ang="0">
                <a:pos x="241" y="389"/>
              </a:cxn>
              <a:cxn ang="0">
                <a:pos x="270" y="172"/>
              </a:cxn>
              <a:cxn ang="0">
                <a:pos x="320" y="105"/>
              </a:cxn>
              <a:cxn ang="0">
                <a:pos x="454" y="172"/>
              </a:cxn>
              <a:cxn ang="0">
                <a:pos x="405" y="105"/>
              </a:cxn>
              <a:cxn ang="0">
                <a:pos x="454" y="172"/>
              </a:cxn>
              <a:cxn ang="0">
                <a:pos x="679" y="172"/>
              </a:cxn>
              <a:cxn ang="0">
                <a:pos x="728" y="105"/>
              </a:cxn>
              <a:cxn ang="0">
                <a:pos x="241" y="505"/>
              </a:cxn>
              <a:cxn ang="0">
                <a:pos x="191" y="437"/>
              </a:cxn>
              <a:cxn ang="0">
                <a:pos x="241" y="505"/>
              </a:cxn>
              <a:cxn ang="0">
                <a:pos x="303" y="389"/>
              </a:cxn>
              <a:cxn ang="0">
                <a:pos x="352" y="322"/>
              </a:cxn>
              <a:cxn ang="0">
                <a:pos x="464" y="389"/>
              </a:cxn>
              <a:cxn ang="0">
                <a:pos x="414" y="322"/>
              </a:cxn>
              <a:cxn ang="0">
                <a:pos x="464" y="389"/>
              </a:cxn>
              <a:cxn ang="0">
                <a:pos x="526" y="505"/>
              </a:cxn>
              <a:cxn ang="0">
                <a:pos x="575" y="437"/>
              </a:cxn>
              <a:cxn ang="0">
                <a:pos x="687" y="505"/>
              </a:cxn>
              <a:cxn ang="0">
                <a:pos x="637" y="437"/>
              </a:cxn>
              <a:cxn ang="0">
                <a:pos x="687" y="505"/>
              </a:cxn>
            </a:cxnLst>
            <a:rect l="0" t="0" r="r" b="b"/>
            <a:pathLst>
              <a:path w="883" h="609">
                <a:moveTo>
                  <a:pt x="848" y="0"/>
                </a:moveTo>
                <a:cubicBezTo>
                  <a:pt x="101" y="0"/>
                  <a:pt x="101" y="0"/>
                  <a:pt x="101" y="0"/>
                </a:cubicBezTo>
                <a:cubicBezTo>
                  <a:pt x="109" y="11"/>
                  <a:pt x="114" y="26"/>
                  <a:pt x="114" y="41"/>
                </a:cubicBezTo>
                <a:cubicBezTo>
                  <a:pt x="114" y="81"/>
                  <a:pt x="82" y="113"/>
                  <a:pt x="42" y="113"/>
                </a:cubicBezTo>
                <a:cubicBezTo>
                  <a:pt x="26" y="113"/>
                  <a:pt x="12" y="107"/>
                  <a:pt x="0" y="99"/>
                </a:cubicBezTo>
                <a:cubicBezTo>
                  <a:pt x="0" y="567"/>
                  <a:pt x="0" y="567"/>
                  <a:pt x="0" y="567"/>
                </a:cubicBezTo>
                <a:cubicBezTo>
                  <a:pt x="0" y="590"/>
                  <a:pt x="19" y="609"/>
                  <a:pt x="41" y="609"/>
                </a:cubicBezTo>
                <a:cubicBezTo>
                  <a:pt x="47" y="609"/>
                  <a:pt x="47" y="609"/>
                  <a:pt x="47" y="609"/>
                </a:cubicBezTo>
                <a:cubicBezTo>
                  <a:pt x="47" y="257"/>
                  <a:pt x="47" y="257"/>
                  <a:pt x="47" y="257"/>
                </a:cubicBezTo>
                <a:cubicBezTo>
                  <a:pt x="49" y="227"/>
                  <a:pt x="54" y="216"/>
                  <a:pt x="87" y="216"/>
                </a:cubicBezTo>
                <a:cubicBezTo>
                  <a:pt x="806" y="216"/>
                  <a:pt x="806" y="216"/>
                  <a:pt x="806" y="216"/>
                </a:cubicBezTo>
                <a:cubicBezTo>
                  <a:pt x="822" y="216"/>
                  <a:pt x="835" y="229"/>
                  <a:pt x="835" y="246"/>
                </a:cubicBezTo>
                <a:cubicBezTo>
                  <a:pt x="835" y="609"/>
                  <a:pt x="835" y="609"/>
                  <a:pt x="835" y="609"/>
                </a:cubicBezTo>
                <a:cubicBezTo>
                  <a:pt x="841" y="609"/>
                  <a:pt x="841" y="609"/>
                  <a:pt x="841" y="609"/>
                </a:cubicBezTo>
                <a:cubicBezTo>
                  <a:pt x="864" y="609"/>
                  <a:pt x="883" y="590"/>
                  <a:pt x="883" y="567"/>
                </a:cubicBezTo>
                <a:cubicBezTo>
                  <a:pt x="883" y="41"/>
                  <a:pt x="883" y="41"/>
                  <a:pt x="883" y="41"/>
                </a:cubicBezTo>
                <a:cubicBezTo>
                  <a:pt x="883" y="18"/>
                  <a:pt x="871" y="0"/>
                  <a:pt x="848" y="0"/>
                </a:cubicBezTo>
                <a:close/>
                <a:moveTo>
                  <a:pt x="780" y="244"/>
                </a:moveTo>
                <a:cubicBezTo>
                  <a:pt x="110" y="244"/>
                  <a:pt x="110" y="244"/>
                  <a:pt x="110" y="244"/>
                </a:cubicBezTo>
                <a:cubicBezTo>
                  <a:pt x="82" y="245"/>
                  <a:pt x="77" y="254"/>
                  <a:pt x="76" y="279"/>
                </a:cubicBezTo>
                <a:cubicBezTo>
                  <a:pt x="76" y="583"/>
                  <a:pt x="76" y="583"/>
                  <a:pt x="76" y="583"/>
                </a:cubicBezTo>
                <a:cubicBezTo>
                  <a:pt x="76" y="597"/>
                  <a:pt x="87" y="609"/>
                  <a:pt x="101" y="609"/>
                </a:cubicBezTo>
                <a:cubicBezTo>
                  <a:pt x="780" y="609"/>
                  <a:pt x="780" y="609"/>
                  <a:pt x="780" y="609"/>
                </a:cubicBezTo>
                <a:cubicBezTo>
                  <a:pt x="794" y="609"/>
                  <a:pt x="806" y="597"/>
                  <a:pt x="806" y="583"/>
                </a:cubicBezTo>
                <a:cubicBezTo>
                  <a:pt x="806" y="270"/>
                  <a:pt x="806" y="270"/>
                  <a:pt x="806" y="270"/>
                </a:cubicBezTo>
                <a:cubicBezTo>
                  <a:pt x="806" y="256"/>
                  <a:pt x="794" y="244"/>
                  <a:pt x="780" y="244"/>
                </a:cubicBezTo>
                <a:close/>
                <a:moveTo>
                  <a:pt x="43" y="68"/>
                </a:moveTo>
                <a:cubicBezTo>
                  <a:pt x="58" y="68"/>
                  <a:pt x="70" y="55"/>
                  <a:pt x="70" y="40"/>
                </a:cubicBezTo>
                <a:cubicBezTo>
                  <a:pt x="70" y="25"/>
                  <a:pt x="58" y="13"/>
                  <a:pt x="43" y="13"/>
                </a:cubicBezTo>
                <a:cubicBezTo>
                  <a:pt x="27" y="13"/>
                  <a:pt x="15" y="25"/>
                  <a:pt x="15" y="40"/>
                </a:cubicBezTo>
                <a:cubicBezTo>
                  <a:pt x="15" y="55"/>
                  <a:pt x="27" y="68"/>
                  <a:pt x="43" y="68"/>
                </a:cubicBezTo>
                <a:close/>
                <a:moveTo>
                  <a:pt x="241" y="389"/>
                </a:moveTo>
                <a:cubicBezTo>
                  <a:pt x="191" y="389"/>
                  <a:pt x="191" y="389"/>
                  <a:pt x="191" y="389"/>
                </a:cubicBezTo>
                <a:cubicBezTo>
                  <a:pt x="191" y="322"/>
                  <a:pt x="191" y="322"/>
                  <a:pt x="191" y="322"/>
                </a:cubicBezTo>
                <a:cubicBezTo>
                  <a:pt x="241" y="322"/>
                  <a:pt x="241" y="322"/>
                  <a:pt x="241" y="322"/>
                </a:cubicBezTo>
                <a:lnTo>
                  <a:pt x="241" y="389"/>
                </a:lnTo>
                <a:close/>
                <a:moveTo>
                  <a:pt x="320" y="172"/>
                </a:moveTo>
                <a:cubicBezTo>
                  <a:pt x="270" y="172"/>
                  <a:pt x="270" y="172"/>
                  <a:pt x="270" y="172"/>
                </a:cubicBezTo>
                <a:cubicBezTo>
                  <a:pt x="270" y="105"/>
                  <a:pt x="270" y="105"/>
                  <a:pt x="270" y="105"/>
                </a:cubicBezTo>
                <a:cubicBezTo>
                  <a:pt x="320" y="105"/>
                  <a:pt x="320" y="105"/>
                  <a:pt x="320" y="105"/>
                </a:cubicBezTo>
                <a:lnTo>
                  <a:pt x="320" y="172"/>
                </a:lnTo>
                <a:close/>
                <a:moveTo>
                  <a:pt x="454" y="172"/>
                </a:moveTo>
                <a:cubicBezTo>
                  <a:pt x="405" y="172"/>
                  <a:pt x="405" y="172"/>
                  <a:pt x="405" y="172"/>
                </a:cubicBezTo>
                <a:cubicBezTo>
                  <a:pt x="405" y="105"/>
                  <a:pt x="405" y="105"/>
                  <a:pt x="405" y="105"/>
                </a:cubicBezTo>
                <a:cubicBezTo>
                  <a:pt x="454" y="105"/>
                  <a:pt x="454" y="105"/>
                  <a:pt x="454" y="105"/>
                </a:cubicBezTo>
                <a:lnTo>
                  <a:pt x="454" y="172"/>
                </a:lnTo>
                <a:close/>
                <a:moveTo>
                  <a:pt x="728" y="172"/>
                </a:moveTo>
                <a:cubicBezTo>
                  <a:pt x="679" y="172"/>
                  <a:pt x="679" y="172"/>
                  <a:pt x="679" y="172"/>
                </a:cubicBezTo>
                <a:cubicBezTo>
                  <a:pt x="679" y="105"/>
                  <a:pt x="679" y="105"/>
                  <a:pt x="679" y="105"/>
                </a:cubicBezTo>
                <a:cubicBezTo>
                  <a:pt x="728" y="105"/>
                  <a:pt x="728" y="105"/>
                  <a:pt x="728" y="105"/>
                </a:cubicBezTo>
                <a:lnTo>
                  <a:pt x="728" y="172"/>
                </a:lnTo>
                <a:close/>
                <a:moveTo>
                  <a:pt x="241" y="505"/>
                </a:moveTo>
                <a:cubicBezTo>
                  <a:pt x="191" y="505"/>
                  <a:pt x="191" y="505"/>
                  <a:pt x="191" y="505"/>
                </a:cubicBezTo>
                <a:cubicBezTo>
                  <a:pt x="191" y="437"/>
                  <a:pt x="191" y="437"/>
                  <a:pt x="191" y="437"/>
                </a:cubicBezTo>
                <a:cubicBezTo>
                  <a:pt x="241" y="437"/>
                  <a:pt x="241" y="437"/>
                  <a:pt x="241" y="437"/>
                </a:cubicBezTo>
                <a:lnTo>
                  <a:pt x="241" y="505"/>
                </a:lnTo>
                <a:close/>
                <a:moveTo>
                  <a:pt x="352" y="389"/>
                </a:moveTo>
                <a:cubicBezTo>
                  <a:pt x="303" y="389"/>
                  <a:pt x="303" y="389"/>
                  <a:pt x="303" y="389"/>
                </a:cubicBezTo>
                <a:cubicBezTo>
                  <a:pt x="303" y="322"/>
                  <a:pt x="303" y="322"/>
                  <a:pt x="303" y="322"/>
                </a:cubicBezTo>
                <a:cubicBezTo>
                  <a:pt x="352" y="322"/>
                  <a:pt x="352" y="322"/>
                  <a:pt x="352" y="322"/>
                </a:cubicBezTo>
                <a:lnTo>
                  <a:pt x="352" y="389"/>
                </a:lnTo>
                <a:close/>
                <a:moveTo>
                  <a:pt x="464" y="389"/>
                </a:moveTo>
                <a:cubicBezTo>
                  <a:pt x="414" y="389"/>
                  <a:pt x="414" y="389"/>
                  <a:pt x="414" y="389"/>
                </a:cubicBezTo>
                <a:cubicBezTo>
                  <a:pt x="414" y="322"/>
                  <a:pt x="414" y="322"/>
                  <a:pt x="414" y="322"/>
                </a:cubicBezTo>
                <a:cubicBezTo>
                  <a:pt x="464" y="322"/>
                  <a:pt x="464" y="322"/>
                  <a:pt x="464" y="322"/>
                </a:cubicBezTo>
                <a:lnTo>
                  <a:pt x="464" y="389"/>
                </a:lnTo>
                <a:close/>
                <a:moveTo>
                  <a:pt x="575" y="505"/>
                </a:moveTo>
                <a:cubicBezTo>
                  <a:pt x="526" y="505"/>
                  <a:pt x="526" y="505"/>
                  <a:pt x="526" y="505"/>
                </a:cubicBezTo>
                <a:cubicBezTo>
                  <a:pt x="526" y="437"/>
                  <a:pt x="526" y="437"/>
                  <a:pt x="526" y="437"/>
                </a:cubicBezTo>
                <a:cubicBezTo>
                  <a:pt x="575" y="437"/>
                  <a:pt x="575" y="437"/>
                  <a:pt x="575" y="437"/>
                </a:cubicBezTo>
                <a:lnTo>
                  <a:pt x="575" y="505"/>
                </a:lnTo>
                <a:close/>
                <a:moveTo>
                  <a:pt x="687" y="505"/>
                </a:moveTo>
                <a:cubicBezTo>
                  <a:pt x="637" y="505"/>
                  <a:pt x="637" y="505"/>
                  <a:pt x="637" y="505"/>
                </a:cubicBezTo>
                <a:cubicBezTo>
                  <a:pt x="637" y="437"/>
                  <a:pt x="637" y="437"/>
                  <a:pt x="637" y="437"/>
                </a:cubicBezTo>
                <a:cubicBezTo>
                  <a:pt x="687" y="437"/>
                  <a:pt x="687" y="437"/>
                  <a:pt x="687" y="437"/>
                </a:cubicBezTo>
                <a:lnTo>
                  <a:pt x="687" y="505"/>
                </a:lnTo>
                <a:close/>
              </a:path>
            </a:pathLst>
          </a:custGeom>
          <a:solidFill>
            <a:schemeClr val="tx2"/>
          </a:solidFill>
          <a:ln w="9525">
            <a:noFill/>
            <a:round/>
            <a:headEnd/>
            <a:tailEnd/>
          </a:ln>
        </p:spPr>
        <p:txBody>
          <a:bodyPr wrap="square" lIns="0" tIns="0" rIns="0" bIns="0">
            <a:noAutofit/>
          </a:bodyPr>
          <a:lstStyle/>
          <a:p>
            <a:endParaRPr lang="en-US" sz="2800">
              <a:latin typeface="+mn-lt"/>
            </a:endParaRPr>
          </a:p>
        </p:txBody>
      </p:sp>
      <p:sp>
        <p:nvSpPr>
          <p:cNvPr id="19" name="Freeform 74"/>
          <p:cNvSpPr>
            <a:spLocks noEditPoints="1"/>
          </p:cNvSpPr>
          <p:nvPr/>
        </p:nvSpPr>
        <p:spPr bwMode="auto">
          <a:xfrm>
            <a:off x="6448633" y="3983548"/>
            <a:ext cx="545102" cy="326311"/>
          </a:xfrm>
          <a:custGeom>
            <a:avLst/>
            <a:gdLst/>
            <a:ahLst/>
            <a:cxnLst>
              <a:cxn ang="0">
                <a:pos x="2" y="35"/>
              </a:cxn>
              <a:cxn ang="0">
                <a:pos x="30" y="62"/>
              </a:cxn>
              <a:cxn ang="0">
                <a:pos x="57" y="35"/>
              </a:cxn>
              <a:cxn ang="0">
                <a:pos x="30" y="7"/>
              </a:cxn>
              <a:cxn ang="0">
                <a:pos x="2" y="35"/>
              </a:cxn>
              <a:cxn ang="0">
                <a:pos x="707" y="0"/>
              </a:cxn>
              <a:cxn ang="0">
                <a:pos x="90" y="0"/>
              </a:cxn>
              <a:cxn ang="0">
                <a:pos x="103" y="40"/>
              </a:cxn>
              <a:cxn ang="0">
                <a:pos x="31" y="111"/>
              </a:cxn>
              <a:cxn ang="0">
                <a:pos x="0" y="104"/>
              </a:cxn>
              <a:cxn ang="0">
                <a:pos x="0" y="405"/>
              </a:cxn>
              <a:cxn ang="0">
                <a:pos x="33" y="438"/>
              </a:cxn>
              <a:cxn ang="0">
                <a:pos x="702" y="438"/>
              </a:cxn>
              <a:cxn ang="0">
                <a:pos x="735" y="405"/>
              </a:cxn>
              <a:cxn ang="0">
                <a:pos x="735" y="33"/>
              </a:cxn>
              <a:cxn ang="0">
                <a:pos x="707" y="0"/>
              </a:cxn>
              <a:cxn ang="0">
                <a:pos x="692" y="205"/>
              </a:cxn>
              <a:cxn ang="0">
                <a:pos x="643" y="205"/>
              </a:cxn>
              <a:cxn ang="0">
                <a:pos x="643" y="114"/>
              </a:cxn>
              <a:cxn ang="0">
                <a:pos x="692" y="114"/>
              </a:cxn>
              <a:cxn ang="0">
                <a:pos x="692" y="205"/>
              </a:cxn>
              <a:cxn ang="0">
                <a:pos x="172" y="346"/>
              </a:cxn>
              <a:cxn ang="0">
                <a:pos x="124" y="346"/>
              </a:cxn>
              <a:cxn ang="0">
                <a:pos x="124" y="255"/>
              </a:cxn>
              <a:cxn ang="0">
                <a:pos x="172" y="255"/>
              </a:cxn>
              <a:cxn ang="0">
                <a:pos x="172" y="346"/>
              </a:cxn>
              <a:cxn ang="0">
                <a:pos x="614" y="346"/>
              </a:cxn>
              <a:cxn ang="0">
                <a:pos x="566" y="346"/>
              </a:cxn>
              <a:cxn ang="0">
                <a:pos x="566" y="255"/>
              </a:cxn>
              <a:cxn ang="0">
                <a:pos x="614" y="255"/>
              </a:cxn>
              <a:cxn ang="0">
                <a:pos x="614" y="346"/>
              </a:cxn>
              <a:cxn ang="0">
                <a:pos x="316" y="205"/>
              </a:cxn>
              <a:cxn ang="0">
                <a:pos x="267" y="205"/>
              </a:cxn>
              <a:cxn ang="0">
                <a:pos x="267" y="114"/>
              </a:cxn>
              <a:cxn ang="0">
                <a:pos x="316" y="114"/>
              </a:cxn>
              <a:cxn ang="0">
                <a:pos x="316" y="205"/>
              </a:cxn>
              <a:cxn ang="0">
                <a:pos x="471" y="205"/>
              </a:cxn>
              <a:cxn ang="0">
                <a:pos x="422" y="205"/>
              </a:cxn>
              <a:cxn ang="0">
                <a:pos x="422" y="114"/>
              </a:cxn>
              <a:cxn ang="0">
                <a:pos x="471" y="114"/>
              </a:cxn>
              <a:cxn ang="0">
                <a:pos x="471" y="205"/>
              </a:cxn>
              <a:cxn ang="0">
                <a:pos x="427" y="406"/>
              </a:cxn>
              <a:cxn ang="0">
                <a:pos x="305" y="406"/>
              </a:cxn>
              <a:cxn ang="0">
                <a:pos x="305" y="261"/>
              </a:cxn>
              <a:cxn ang="0">
                <a:pos x="427" y="261"/>
              </a:cxn>
              <a:cxn ang="0">
                <a:pos x="427" y="406"/>
              </a:cxn>
            </a:cxnLst>
            <a:rect l="0" t="0" r="r" b="b"/>
            <a:pathLst>
              <a:path w="735" h="438">
                <a:moveTo>
                  <a:pt x="2" y="35"/>
                </a:moveTo>
                <a:cubicBezTo>
                  <a:pt x="2" y="50"/>
                  <a:pt x="15" y="62"/>
                  <a:pt x="30" y="62"/>
                </a:cubicBezTo>
                <a:cubicBezTo>
                  <a:pt x="45" y="62"/>
                  <a:pt x="57" y="50"/>
                  <a:pt x="57" y="35"/>
                </a:cubicBezTo>
                <a:cubicBezTo>
                  <a:pt x="57" y="20"/>
                  <a:pt x="45" y="7"/>
                  <a:pt x="30" y="7"/>
                </a:cubicBezTo>
                <a:cubicBezTo>
                  <a:pt x="15" y="7"/>
                  <a:pt x="2" y="20"/>
                  <a:pt x="2" y="35"/>
                </a:cubicBezTo>
                <a:close/>
                <a:moveTo>
                  <a:pt x="707" y="0"/>
                </a:moveTo>
                <a:cubicBezTo>
                  <a:pt x="90" y="0"/>
                  <a:pt x="90" y="0"/>
                  <a:pt x="90" y="0"/>
                </a:cubicBezTo>
                <a:cubicBezTo>
                  <a:pt x="98" y="11"/>
                  <a:pt x="103" y="25"/>
                  <a:pt x="103" y="40"/>
                </a:cubicBezTo>
                <a:cubicBezTo>
                  <a:pt x="103" y="79"/>
                  <a:pt x="71" y="111"/>
                  <a:pt x="31" y="111"/>
                </a:cubicBezTo>
                <a:cubicBezTo>
                  <a:pt x="20" y="111"/>
                  <a:pt x="9" y="108"/>
                  <a:pt x="0" y="104"/>
                </a:cubicBezTo>
                <a:cubicBezTo>
                  <a:pt x="0" y="405"/>
                  <a:pt x="0" y="405"/>
                  <a:pt x="0" y="405"/>
                </a:cubicBezTo>
                <a:cubicBezTo>
                  <a:pt x="0" y="423"/>
                  <a:pt x="14" y="438"/>
                  <a:pt x="33" y="438"/>
                </a:cubicBezTo>
                <a:cubicBezTo>
                  <a:pt x="702" y="438"/>
                  <a:pt x="702" y="438"/>
                  <a:pt x="702" y="438"/>
                </a:cubicBezTo>
                <a:cubicBezTo>
                  <a:pt x="720" y="438"/>
                  <a:pt x="735" y="423"/>
                  <a:pt x="735" y="405"/>
                </a:cubicBezTo>
                <a:cubicBezTo>
                  <a:pt x="735" y="33"/>
                  <a:pt x="735" y="33"/>
                  <a:pt x="735" y="33"/>
                </a:cubicBezTo>
                <a:cubicBezTo>
                  <a:pt x="735" y="15"/>
                  <a:pt x="726" y="0"/>
                  <a:pt x="707" y="0"/>
                </a:cubicBezTo>
                <a:close/>
                <a:moveTo>
                  <a:pt x="692" y="205"/>
                </a:moveTo>
                <a:cubicBezTo>
                  <a:pt x="643" y="205"/>
                  <a:pt x="643" y="205"/>
                  <a:pt x="643" y="205"/>
                </a:cubicBezTo>
                <a:cubicBezTo>
                  <a:pt x="643" y="114"/>
                  <a:pt x="643" y="114"/>
                  <a:pt x="643" y="114"/>
                </a:cubicBezTo>
                <a:cubicBezTo>
                  <a:pt x="692" y="114"/>
                  <a:pt x="692" y="114"/>
                  <a:pt x="692" y="114"/>
                </a:cubicBezTo>
                <a:lnTo>
                  <a:pt x="692" y="205"/>
                </a:lnTo>
                <a:close/>
                <a:moveTo>
                  <a:pt x="172" y="346"/>
                </a:moveTo>
                <a:cubicBezTo>
                  <a:pt x="124" y="346"/>
                  <a:pt x="124" y="346"/>
                  <a:pt x="124" y="346"/>
                </a:cubicBezTo>
                <a:cubicBezTo>
                  <a:pt x="124" y="255"/>
                  <a:pt x="124" y="255"/>
                  <a:pt x="124" y="255"/>
                </a:cubicBezTo>
                <a:cubicBezTo>
                  <a:pt x="172" y="255"/>
                  <a:pt x="172" y="255"/>
                  <a:pt x="172" y="255"/>
                </a:cubicBezTo>
                <a:lnTo>
                  <a:pt x="172" y="346"/>
                </a:lnTo>
                <a:close/>
                <a:moveTo>
                  <a:pt x="614" y="346"/>
                </a:moveTo>
                <a:cubicBezTo>
                  <a:pt x="566" y="346"/>
                  <a:pt x="566" y="346"/>
                  <a:pt x="566" y="346"/>
                </a:cubicBezTo>
                <a:cubicBezTo>
                  <a:pt x="566" y="255"/>
                  <a:pt x="566" y="255"/>
                  <a:pt x="566" y="255"/>
                </a:cubicBezTo>
                <a:cubicBezTo>
                  <a:pt x="614" y="255"/>
                  <a:pt x="614" y="255"/>
                  <a:pt x="614" y="255"/>
                </a:cubicBezTo>
                <a:lnTo>
                  <a:pt x="614" y="346"/>
                </a:lnTo>
                <a:close/>
                <a:moveTo>
                  <a:pt x="316" y="205"/>
                </a:moveTo>
                <a:cubicBezTo>
                  <a:pt x="267" y="205"/>
                  <a:pt x="267" y="205"/>
                  <a:pt x="267" y="205"/>
                </a:cubicBezTo>
                <a:cubicBezTo>
                  <a:pt x="267" y="114"/>
                  <a:pt x="267" y="114"/>
                  <a:pt x="267" y="114"/>
                </a:cubicBezTo>
                <a:cubicBezTo>
                  <a:pt x="316" y="114"/>
                  <a:pt x="316" y="114"/>
                  <a:pt x="316" y="114"/>
                </a:cubicBezTo>
                <a:lnTo>
                  <a:pt x="316" y="205"/>
                </a:lnTo>
                <a:close/>
                <a:moveTo>
                  <a:pt x="471" y="205"/>
                </a:moveTo>
                <a:cubicBezTo>
                  <a:pt x="422" y="205"/>
                  <a:pt x="422" y="205"/>
                  <a:pt x="422" y="205"/>
                </a:cubicBezTo>
                <a:cubicBezTo>
                  <a:pt x="422" y="114"/>
                  <a:pt x="422" y="114"/>
                  <a:pt x="422" y="114"/>
                </a:cubicBezTo>
                <a:cubicBezTo>
                  <a:pt x="471" y="114"/>
                  <a:pt x="471" y="114"/>
                  <a:pt x="471" y="114"/>
                </a:cubicBezTo>
                <a:lnTo>
                  <a:pt x="471" y="205"/>
                </a:lnTo>
                <a:close/>
                <a:moveTo>
                  <a:pt x="427" y="406"/>
                </a:moveTo>
                <a:cubicBezTo>
                  <a:pt x="305" y="406"/>
                  <a:pt x="305" y="406"/>
                  <a:pt x="305" y="406"/>
                </a:cubicBezTo>
                <a:cubicBezTo>
                  <a:pt x="305" y="261"/>
                  <a:pt x="305" y="261"/>
                  <a:pt x="305" y="261"/>
                </a:cubicBezTo>
                <a:cubicBezTo>
                  <a:pt x="427" y="261"/>
                  <a:pt x="427" y="261"/>
                  <a:pt x="427" y="261"/>
                </a:cubicBezTo>
                <a:lnTo>
                  <a:pt x="427" y="406"/>
                </a:lnTo>
                <a:close/>
              </a:path>
            </a:pathLst>
          </a:custGeom>
          <a:solidFill>
            <a:schemeClr val="tx2"/>
          </a:solidFill>
          <a:ln w="9525">
            <a:noFill/>
            <a:round/>
            <a:headEnd/>
            <a:tailEnd/>
          </a:ln>
        </p:spPr>
        <p:txBody>
          <a:bodyPr wrap="square" lIns="0" tIns="0" rIns="0" bIns="0">
            <a:noAutofit/>
          </a:bodyPr>
          <a:lstStyle/>
          <a:p>
            <a:endParaRPr lang="en-US" sz="2800">
              <a:latin typeface="+mn-lt"/>
            </a:endParaRPr>
          </a:p>
        </p:txBody>
      </p:sp>
      <p:grpSp>
        <p:nvGrpSpPr>
          <p:cNvPr id="20" name="Group 422"/>
          <p:cNvGrpSpPr/>
          <p:nvPr/>
        </p:nvGrpSpPr>
        <p:grpSpPr>
          <a:xfrm>
            <a:off x="1602962" y="3973903"/>
            <a:ext cx="800150" cy="347566"/>
            <a:chOff x="1250950" y="4832350"/>
            <a:chExt cx="1016000" cy="441326"/>
          </a:xfrm>
          <a:solidFill>
            <a:schemeClr val="tx2"/>
          </a:solidFill>
        </p:grpSpPr>
        <p:sp>
          <p:nvSpPr>
            <p:cNvPr id="21" name="Freeform 5"/>
            <p:cNvSpPr>
              <a:spLocks/>
            </p:cNvSpPr>
            <p:nvPr/>
          </p:nvSpPr>
          <p:spPr bwMode="auto">
            <a:xfrm>
              <a:off x="1273175" y="4908550"/>
              <a:ext cx="57150" cy="53975"/>
            </a:xfrm>
            <a:custGeom>
              <a:avLst/>
              <a:gdLst>
                <a:gd name="T0" fmla="*/ 9 w 20"/>
                <a:gd name="T1" fmla="*/ 19 h 19"/>
                <a:gd name="T2" fmla="*/ 19 w 20"/>
                <a:gd name="T3" fmla="*/ 11 h 19"/>
                <a:gd name="T4" fmla="*/ 11 w 20"/>
                <a:gd name="T5" fmla="*/ 1 h 19"/>
                <a:gd name="T6" fmla="*/ 1 w 20"/>
                <a:gd name="T7" fmla="*/ 9 h 19"/>
                <a:gd name="T8" fmla="*/ 9 w 20"/>
                <a:gd name="T9" fmla="*/ 19 h 19"/>
              </a:gdLst>
              <a:ahLst/>
              <a:cxnLst>
                <a:cxn ang="0">
                  <a:pos x="T0" y="T1"/>
                </a:cxn>
                <a:cxn ang="0">
                  <a:pos x="T2" y="T3"/>
                </a:cxn>
                <a:cxn ang="0">
                  <a:pos x="T4" y="T5"/>
                </a:cxn>
                <a:cxn ang="0">
                  <a:pos x="T6" y="T7"/>
                </a:cxn>
                <a:cxn ang="0">
                  <a:pos x="T8" y="T9"/>
                </a:cxn>
              </a:cxnLst>
              <a:rect l="0" t="0" r="r" b="b"/>
              <a:pathLst>
                <a:path w="20" h="19">
                  <a:moveTo>
                    <a:pt x="9" y="19"/>
                  </a:moveTo>
                  <a:cubicBezTo>
                    <a:pt x="14" y="19"/>
                    <a:pt x="19" y="16"/>
                    <a:pt x="19" y="11"/>
                  </a:cubicBezTo>
                  <a:cubicBezTo>
                    <a:pt x="20" y="6"/>
                    <a:pt x="16" y="1"/>
                    <a:pt x="11" y="1"/>
                  </a:cubicBezTo>
                  <a:cubicBezTo>
                    <a:pt x="6" y="0"/>
                    <a:pt x="1" y="4"/>
                    <a:pt x="1" y="9"/>
                  </a:cubicBezTo>
                  <a:cubicBezTo>
                    <a:pt x="0" y="14"/>
                    <a:pt x="4" y="18"/>
                    <a:pt x="9"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latin typeface="+mn-lt"/>
              </a:endParaRPr>
            </a:p>
          </p:txBody>
        </p:sp>
        <p:sp>
          <p:nvSpPr>
            <p:cNvPr id="22" name="Freeform 6"/>
            <p:cNvSpPr>
              <a:spLocks/>
            </p:cNvSpPr>
            <p:nvPr/>
          </p:nvSpPr>
          <p:spPr bwMode="auto">
            <a:xfrm>
              <a:off x="1589088" y="5024438"/>
              <a:ext cx="336550" cy="249238"/>
            </a:xfrm>
            <a:custGeom>
              <a:avLst/>
              <a:gdLst>
                <a:gd name="T0" fmla="*/ 110 w 119"/>
                <a:gd name="T1" fmla="*/ 0 h 88"/>
                <a:gd name="T2" fmla="*/ 12 w 119"/>
                <a:gd name="T3" fmla="*/ 0 h 88"/>
                <a:gd name="T4" fmla="*/ 0 w 119"/>
                <a:gd name="T5" fmla="*/ 12 h 88"/>
                <a:gd name="T6" fmla="*/ 0 w 119"/>
                <a:gd name="T7" fmla="*/ 80 h 88"/>
                <a:gd name="T8" fmla="*/ 9 w 119"/>
                <a:gd name="T9" fmla="*/ 88 h 88"/>
                <a:gd name="T10" fmla="*/ 110 w 119"/>
                <a:gd name="T11" fmla="*/ 88 h 88"/>
                <a:gd name="T12" fmla="*/ 119 w 119"/>
                <a:gd name="T13" fmla="*/ 80 h 88"/>
                <a:gd name="T14" fmla="*/ 119 w 119"/>
                <a:gd name="T15" fmla="*/ 9 h 88"/>
                <a:gd name="T16" fmla="*/ 110 w 119"/>
                <a:gd name="T1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9" h="88">
                  <a:moveTo>
                    <a:pt x="110" y="0"/>
                  </a:moveTo>
                  <a:cubicBezTo>
                    <a:pt x="12" y="0"/>
                    <a:pt x="12" y="0"/>
                    <a:pt x="12" y="0"/>
                  </a:cubicBezTo>
                  <a:cubicBezTo>
                    <a:pt x="2" y="0"/>
                    <a:pt x="1" y="3"/>
                    <a:pt x="0" y="12"/>
                  </a:cubicBezTo>
                  <a:cubicBezTo>
                    <a:pt x="0" y="80"/>
                    <a:pt x="0" y="80"/>
                    <a:pt x="0" y="80"/>
                  </a:cubicBezTo>
                  <a:cubicBezTo>
                    <a:pt x="0" y="85"/>
                    <a:pt x="4" y="88"/>
                    <a:pt x="9" y="88"/>
                  </a:cubicBezTo>
                  <a:cubicBezTo>
                    <a:pt x="110" y="88"/>
                    <a:pt x="110" y="88"/>
                    <a:pt x="110" y="88"/>
                  </a:cubicBezTo>
                  <a:cubicBezTo>
                    <a:pt x="115" y="88"/>
                    <a:pt x="119" y="85"/>
                    <a:pt x="119" y="80"/>
                  </a:cubicBezTo>
                  <a:cubicBezTo>
                    <a:pt x="119" y="9"/>
                    <a:pt x="119" y="9"/>
                    <a:pt x="119" y="9"/>
                  </a:cubicBezTo>
                  <a:cubicBezTo>
                    <a:pt x="119" y="4"/>
                    <a:pt x="115" y="0"/>
                    <a:pt x="11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latin typeface="+mn-lt"/>
              </a:endParaRPr>
            </a:p>
          </p:txBody>
        </p:sp>
        <p:sp>
          <p:nvSpPr>
            <p:cNvPr id="23" name="Freeform 7"/>
            <p:cNvSpPr>
              <a:spLocks noEditPoints="1"/>
            </p:cNvSpPr>
            <p:nvPr/>
          </p:nvSpPr>
          <p:spPr bwMode="auto">
            <a:xfrm>
              <a:off x="1250950" y="4832350"/>
              <a:ext cx="1016000" cy="441325"/>
            </a:xfrm>
            <a:custGeom>
              <a:avLst/>
              <a:gdLst>
                <a:gd name="T0" fmla="*/ 350 w 360"/>
                <a:gd name="T1" fmla="*/ 50 h 156"/>
                <a:gd name="T2" fmla="*/ 180 w 360"/>
                <a:gd name="T3" fmla="*/ 0 h 156"/>
                <a:gd name="T4" fmla="*/ 41 w 360"/>
                <a:gd name="T5" fmla="*/ 30 h 156"/>
                <a:gd name="T6" fmla="*/ 42 w 360"/>
                <a:gd name="T7" fmla="*/ 39 h 156"/>
                <a:gd name="T8" fmla="*/ 15 w 360"/>
                <a:gd name="T9" fmla="*/ 61 h 156"/>
                <a:gd name="T10" fmla="*/ 4 w 360"/>
                <a:gd name="T11" fmla="*/ 56 h 156"/>
                <a:gd name="T12" fmla="*/ 0 w 360"/>
                <a:gd name="T13" fmla="*/ 70 h 156"/>
                <a:gd name="T14" fmla="*/ 0 w 360"/>
                <a:gd name="T15" fmla="*/ 143 h 156"/>
                <a:gd name="T16" fmla="*/ 14 w 360"/>
                <a:gd name="T17" fmla="*/ 156 h 156"/>
                <a:gd name="T18" fmla="*/ 111 w 360"/>
                <a:gd name="T19" fmla="*/ 156 h 156"/>
                <a:gd name="T20" fmla="*/ 111 w 360"/>
                <a:gd name="T21" fmla="*/ 72 h 156"/>
                <a:gd name="T22" fmla="*/ 124 w 360"/>
                <a:gd name="T23" fmla="*/ 59 h 156"/>
                <a:gd name="T24" fmla="*/ 239 w 360"/>
                <a:gd name="T25" fmla="*/ 59 h 156"/>
                <a:gd name="T26" fmla="*/ 249 w 360"/>
                <a:gd name="T27" fmla="*/ 69 h 156"/>
                <a:gd name="T28" fmla="*/ 249 w 360"/>
                <a:gd name="T29" fmla="*/ 156 h 156"/>
                <a:gd name="T30" fmla="*/ 345 w 360"/>
                <a:gd name="T31" fmla="*/ 156 h 156"/>
                <a:gd name="T32" fmla="*/ 359 w 360"/>
                <a:gd name="T33" fmla="*/ 143 h 156"/>
                <a:gd name="T34" fmla="*/ 359 w 360"/>
                <a:gd name="T35" fmla="*/ 69 h 156"/>
                <a:gd name="T36" fmla="*/ 350 w 360"/>
                <a:gd name="T37" fmla="*/ 50 h 156"/>
                <a:gd name="T38" fmla="*/ 33 w 360"/>
                <a:gd name="T39" fmla="*/ 148 h 156"/>
                <a:gd name="T40" fmla="*/ 17 w 360"/>
                <a:gd name="T41" fmla="*/ 148 h 156"/>
                <a:gd name="T42" fmla="*/ 17 w 360"/>
                <a:gd name="T43" fmla="*/ 81 h 156"/>
                <a:gd name="T44" fmla="*/ 33 w 360"/>
                <a:gd name="T45" fmla="*/ 72 h 156"/>
                <a:gd name="T46" fmla="*/ 33 w 360"/>
                <a:gd name="T47" fmla="*/ 148 h 156"/>
                <a:gd name="T48" fmla="*/ 63 w 360"/>
                <a:gd name="T49" fmla="*/ 148 h 156"/>
                <a:gd name="T50" fmla="*/ 47 w 360"/>
                <a:gd name="T51" fmla="*/ 148 h 156"/>
                <a:gd name="T52" fmla="*/ 47 w 360"/>
                <a:gd name="T53" fmla="*/ 66 h 156"/>
                <a:gd name="T54" fmla="*/ 63 w 360"/>
                <a:gd name="T55" fmla="*/ 60 h 156"/>
                <a:gd name="T56" fmla="*/ 63 w 360"/>
                <a:gd name="T57" fmla="*/ 148 h 156"/>
                <a:gd name="T58" fmla="*/ 93 w 360"/>
                <a:gd name="T59" fmla="*/ 148 h 156"/>
                <a:gd name="T60" fmla="*/ 77 w 360"/>
                <a:gd name="T61" fmla="*/ 148 h 156"/>
                <a:gd name="T62" fmla="*/ 77 w 360"/>
                <a:gd name="T63" fmla="*/ 56 h 156"/>
                <a:gd name="T64" fmla="*/ 93 w 360"/>
                <a:gd name="T65" fmla="*/ 52 h 156"/>
                <a:gd name="T66" fmla="*/ 93 w 360"/>
                <a:gd name="T67" fmla="*/ 148 h 156"/>
                <a:gd name="T68" fmla="*/ 280 w 360"/>
                <a:gd name="T69" fmla="*/ 148 h 156"/>
                <a:gd name="T70" fmla="*/ 263 w 360"/>
                <a:gd name="T71" fmla="*/ 148 h 156"/>
                <a:gd name="T72" fmla="*/ 263 w 360"/>
                <a:gd name="T73" fmla="*/ 51 h 156"/>
                <a:gd name="T74" fmla="*/ 280 w 360"/>
                <a:gd name="T75" fmla="*/ 55 h 156"/>
                <a:gd name="T76" fmla="*/ 280 w 360"/>
                <a:gd name="T77" fmla="*/ 148 h 156"/>
                <a:gd name="T78" fmla="*/ 310 w 360"/>
                <a:gd name="T79" fmla="*/ 148 h 156"/>
                <a:gd name="T80" fmla="*/ 293 w 360"/>
                <a:gd name="T81" fmla="*/ 148 h 156"/>
                <a:gd name="T82" fmla="*/ 293 w 360"/>
                <a:gd name="T83" fmla="*/ 59 h 156"/>
                <a:gd name="T84" fmla="*/ 310 w 360"/>
                <a:gd name="T85" fmla="*/ 65 h 156"/>
                <a:gd name="T86" fmla="*/ 310 w 360"/>
                <a:gd name="T87" fmla="*/ 148 h 156"/>
                <a:gd name="T88" fmla="*/ 340 w 360"/>
                <a:gd name="T89" fmla="*/ 148 h 156"/>
                <a:gd name="T90" fmla="*/ 323 w 360"/>
                <a:gd name="T91" fmla="*/ 148 h 156"/>
                <a:gd name="T92" fmla="*/ 323 w 360"/>
                <a:gd name="T93" fmla="*/ 71 h 156"/>
                <a:gd name="T94" fmla="*/ 340 w 360"/>
                <a:gd name="T95" fmla="*/ 79 h 156"/>
                <a:gd name="T96" fmla="*/ 340 w 360"/>
                <a:gd name="T97" fmla="*/ 14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156">
                  <a:moveTo>
                    <a:pt x="350" y="50"/>
                  </a:moveTo>
                  <a:cubicBezTo>
                    <a:pt x="318" y="25"/>
                    <a:pt x="254" y="0"/>
                    <a:pt x="180" y="0"/>
                  </a:cubicBezTo>
                  <a:cubicBezTo>
                    <a:pt x="125" y="0"/>
                    <a:pt x="76" y="13"/>
                    <a:pt x="41" y="30"/>
                  </a:cubicBezTo>
                  <a:cubicBezTo>
                    <a:pt x="42" y="33"/>
                    <a:pt x="42" y="36"/>
                    <a:pt x="42" y="39"/>
                  </a:cubicBezTo>
                  <a:cubicBezTo>
                    <a:pt x="40" y="52"/>
                    <a:pt x="29" y="62"/>
                    <a:pt x="15" y="61"/>
                  </a:cubicBezTo>
                  <a:cubicBezTo>
                    <a:pt x="11" y="60"/>
                    <a:pt x="7" y="58"/>
                    <a:pt x="4" y="56"/>
                  </a:cubicBezTo>
                  <a:cubicBezTo>
                    <a:pt x="2" y="59"/>
                    <a:pt x="0" y="64"/>
                    <a:pt x="0" y="70"/>
                  </a:cubicBezTo>
                  <a:cubicBezTo>
                    <a:pt x="0" y="143"/>
                    <a:pt x="0" y="143"/>
                    <a:pt x="0" y="143"/>
                  </a:cubicBezTo>
                  <a:cubicBezTo>
                    <a:pt x="0" y="150"/>
                    <a:pt x="6" y="156"/>
                    <a:pt x="14" y="156"/>
                  </a:cubicBezTo>
                  <a:cubicBezTo>
                    <a:pt x="68" y="156"/>
                    <a:pt x="111" y="156"/>
                    <a:pt x="111" y="156"/>
                  </a:cubicBezTo>
                  <a:cubicBezTo>
                    <a:pt x="111" y="72"/>
                    <a:pt x="111" y="72"/>
                    <a:pt x="111" y="72"/>
                  </a:cubicBezTo>
                  <a:cubicBezTo>
                    <a:pt x="111" y="62"/>
                    <a:pt x="113" y="59"/>
                    <a:pt x="124" y="59"/>
                  </a:cubicBezTo>
                  <a:cubicBezTo>
                    <a:pt x="239" y="59"/>
                    <a:pt x="239" y="59"/>
                    <a:pt x="239" y="59"/>
                  </a:cubicBezTo>
                  <a:cubicBezTo>
                    <a:pt x="244" y="59"/>
                    <a:pt x="249" y="63"/>
                    <a:pt x="249" y="69"/>
                  </a:cubicBezTo>
                  <a:cubicBezTo>
                    <a:pt x="249" y="156"/>
                    <a:pt x="249" y="156"/>
                    <a:pt x="249" y="156"/>
                  </a:cubicBezTo>
                  <a:cubicBezTo>
                    <a:pt x="345" y="156"/>
                    <a:pt x="345" y="156"/>
                    <a:pt x="345" y="156"/>
                  </a:cubicBezTo>
                  <a:cubicBezTo>
                    <a:pt x="353" y="156"/>
                    <a:pt x="359" y="150"/>
                    <a:pt x="359" y="143"/>
                  </a:cubicBezTo>
                  <a:cubicBezTo>
                    <a:pt x="359" y="69"/>
                    <a:pt x="359" y="69"/>
                    <a:pt x="359" y="69"/>
                  </a:cubicBezTo>
                  <a:cubicBezTo>
                    <a:pt x="359" y="69"/>
                    <a:pt x="360" y="58"/>
                    <a:pt x="350" y="50"/>
                  </a:cubicBezTo>
                  <a:close/>
                  <a:moveTo>
                    <a:pt x="33" y="148"/>
                  </a:moveTo>
                  <a:cubicBezTo>
                    <a:pt x="17" y="148"/>
                    <a:pt x="17" y="148"/>
                    <a:pt x="17" y="148"/>
                  </a:cubicBezTo>
                  <a:cubicBezTo>
                    <a:pt x="17" y="81"/>
                    <a:pt x="17" y="81"/>
                    <a:pt x="17" y="81"/>
                  </a:cubicBezTo>
                  <a:cubicBezTo>
                    <a:pt x="22" y="78"/>
                    <a:pt x="27" y="75"/>
                    <a:pt x="33" y="72"/>
                  </a:cubicBezTo>
                  <a:lnTo>
                    <a:pt x="33" y="148"/>
                  </a:lnTo>
                  <a:close/>
                  <a:moveTo>
                    <a:pt x="63" y="148"/>
                  </a:moveTo>
                  <a:cubicBezTo>
                    <a:pt x="47" y="148"/>
                    <a:pt x="47" y="148"/>
                    <a:pt x="47" y="148"/>
                  </a:cubicBezTo>
                  <a:cubicBezTo>
                    <a:pt x="47" y="66"/>
                    <a:pt x="47" y="66"/>
                    <a:pt x="47" y="66"/>
                  </a:cubicBezTo>
                  <a:cubicBezTo>
                    <a:pt x="52" y="64"/>
                    <a:pt x="57" y="62"/>
                    <a:pt x="63" y="60"/>
                  </a:cubicBezTo>
                  <a:lnTo>
                    <a:pt x="63" y="148"/>
                  </a:lnTo>
                  <a:close/>
                  <a:moveTo>
                    <a:pt x="93" y="148"/>
                  </a:moveTo>
                  <a:cubicBezTo>
                    <a:pt x="77" y="148"/>
                    <a:pt x="77" y="148"/>
                    <a:pt x="77" y="148"/>
                  </a:cubicBezTo>
                  <a:cubicBezTo>
                    <a:pt x="77" y="56"/>
                    <a:pt x="77" y="56"/>
                    <a:pt x="77" y="56"/>
                  </a:cubicBezTo>
                  <a:cubicBezTo>
                    <a:pt x="82" y="54"/>
                    <a:pt x="87" y="53"/>
                    <a:pt x="93" y="52"/>
                  </a:cubicBezTo>
                  <a:lnTo>
                    <a:pt x="93" y="148"/>
                  </a:lnTo>
                  <a:close/>
                  <a:moveTo>
                    <a:pt x="280" y="148"/>
                  </a:moveTo>
                  <a:cubicBezTo>
                    <a:pt x="263" y="148"/>
                    <a:pt x="263" y="148"/>
                    <a:pt x="263" y="148"/>
                  </a:cubicBezTo>
                  <a:cubicBezTo>
                    <a:pt x="263" y="51"/>
                    <a:pt x="263" y="51"/>
                    <a:pt x="263" y="51"/>
                  </a:cubicBezTo>
                  <a:cubicBezTo>
                    <a:pt x="269" y="53"/>
                    <a:pt x="274" y="54"/>
                    <a:pt x="280" y="55"/>
                  </a:cubicBezTo>
                  <a:lnTo>
                    <a:pt x="280" y="148"/>
                  </a:lnTo>
                  <a:close/>
                  <a:moveTo>
                    <a:pt x="310" y="148"/>
                  </a:moveTo>
                  <a:cubicBezTo>
                    <a:pt x="293" y="148"/>
                    <a:pt x="293" y="148"/>
                    <a:pt x="293" y="148"/>
                  </a:cubicBezTo>
                  <a:cubicBezTo>
                    <a:pt x="293" y="59"/>
                    <a:pt x="293" y="59"/>
                    <a:pt x="293" y="59"/>
                  </a:cubicBezTo>
                  <a:cubicBezTo>
                    <a:pt x="299" y="61"/>
                    <a:pt x="304" y="63"/>
                    <a:pt x="310" y="65"/>
                  </a:cubicBezTo>
                  <a:lnTo>
                    <a:pt x="310" y="148"/>
                  </a:lnTo>
                  <a:close/>
                  <a:moveTo>
                    <a:pt x="340" y="148"/>
                  </a:moveTo>
                  <a:cubicBezTo>
                    <a:pt x="323" y="148"/>
                    <a:pt x="323" y="148"/>
                    <a:pt x="323" y="148"/>
                  </a:cubicBezTo>
                  <a:cubicBezTo>
                    <a:pt x="323" y="71"/>
                    <a:pt x="323" y="71"/>
                    <a:pt x="323" y="71"/>
                  </a:cubicBezTo>
                  <a:cubicBezTo>
                    <a:pt x="329" y="73"/>
                    <a:pt x="335" y="76"/>
                    <a:pt x="340" y="79"/>
                  </a:cubicBezTo>
                  <a:lnTo>
                    <a:pt x="340" y="1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latin typeface="+mn-lt"/>
              </a:endParaRPr>
            </a:p>
          </p:txBody>
        </p:sp>
      </p:grpSp>
      <p:grpSp>
        <p:nvGrpSpPr>
          <p:cNvPr id="71" name="Group 157"/>
          <p:cNvGrpSpPr/>
          <p:nvPr/>
        </p:nvGrpSpPr>
        <p:grpSpPr>
          <a:xfrm>
            <a:off x="1682797" y="3839811"/>
            <a:ext cx="131743" cy="271959"/>
            <a:chOff x="3001239" y="4830252"/>
            <a:chExt cx="271464" cy="560387"/>
          </a:xfrm>
          <a:solidFill>
            <a:schemeClr val="bg2"/>
          </a:solidFill>
        </p:grpSpPr>
        <p:sp>
          <p:nvSpPr>
            <p:cNvPr id="73" name="Freeform 21"/>
            <p:cNvSpPr>
              <a:spLocks/>
            </p:cNvSpPr>
            <p:nvPr/>
          </p:nvSpPr>
          <p:spPr bwMode="auto">
            <a:xfrm>
              <a:off x="3001239" y="5144578"/>
              <a:ext cx="60325" cy="58736"/>
            </a:xfrm>
            <a:custGeom>
              <a:avLst/>
              <a:gdLst>
                <a:gd name="T0" fmla="*/ 13 w 21"/>
                <a:gd name="T1" fmla="*/ 19 h 21"/>
                <a:gd name="T2" fmla="*/ 19 w 21"/>
                <a:gd name="T3" fmla="*/ 8 h 21"/>
                <a:gd name="T4" fmla="*/ 8 w 21"/>
                <a:gd name="T5" fmla="*/ 2 h 21"/>
                <a:gd name="T6" fmla="*/ 2 w 21"/>
                <a:gd name="T7" fmla="*/ 13 h 21"/>
                <a:gd name="T8" fmla="*/ 13 w 21"/>
                <a:gd name="T9" fmla="*/ 19 h 21"/>
              </a:gdLst>
              <a:ahLst/>
              <a:cxnLst>
                <a:cxn ang="0">
                  <a:pos x="T0" y="T1"/>
                </a:cxn>
                <a:cxn ang="0">
                  <a:pos x="T2" y="T3"/>
                </a:cxn>
                <a:cxn ang="0">
                  <a:pos x="T4" y="T5"/>
                </a:cxn>
                <a:cxn ang="0">
                  <a:pos x="T6" y="T7"/>
                </a:cxn>
                <a:cxn ang="0">
                  <a:pos x="T8" y="T9"/>
                </a:cxn>
              </a:cxnLst>
              <a:rect l="0" t="0" r="r" b="b"/>
              <a:pathLst>
                <a:path w="21" h="21">
                  <a:moveTo>
                    <a:pt x="13" y="19"/>
                  </a:moveTo>
                  <a:cubicBezTo>
                    <a:pt x="18" y="18"/>
                    <a:pt x="21" y="12"/>
                    <a:pt x="19" y="8"/>
                  </a:cubicBezTo>
                  <a:cubicBezTo>
                    <a:pt x="18" y="3"/>
                    <a:pt x="12" y="0"/>
                    <a:pt x="8" y="2"/>
                  </a:cubicBezTo>
                  <a:cubicBezTo>
                    <a:pt x="3" y="3"/>
                    <a:pt x="0" y="8"/>
                    <a:pt x="2" y="13"/>
                  </a:cubicBezTo>
                  <a:cubicBezTo>
                    <a:pt x="3" y="18"/>
                    <a:pt x="8" y="21"/>
                    <a:pt x="13"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latin typeface="+mn-lt"/>
              </a:endParaRPr>
            </a:p>
          </p:txBody>
        </p:sp>
        <p:sp>
          <p:nvSpPr>
            <p:cNvPr id="74" name="Freeform 22"/>
            <p:cNvSpPr>
              <a:spLocks noEditPoints="1"/>
            </p:cNvSpPr>
            <p:nvPr/>
          </p:nvSpPr>
          <p:spPr bwMode="auto">
            <a:xfrm>
              <a:off x="3004416" y="4830252"/>
              <a:ext cx="268287" cy="560387"/>
            </a:xfrm>
            <a:custGeom>
              <a:avLst/>
              <a:gdLst>
                <a:gd name="T0" fmla="*/ 66 w 94"/>
                <a:gd name="T1" fmla="*/ 108 h 198"/>
                <a:gd name="T2" fmla="*/ 66 w 94"/>
                <a:gd name="T3" fmla="*/ 11 h 198"/>
                <a:gd name="T4" fmla="*/ 53 w 94"/>
                <a:gd name="T5" fmla="*/ 0 h 198"/>
                <a:gd name="T6" fmla="*/ 51 w 94"/>
                <a:gd name="T7" fmla="*/ 0 h 198"/>
                <a:gd name="T8" fmla="*/ 42 w 94"/>
                <a:gd name="T9" fmla="*/ 0 h 198"/>
                <a:gd name="T10" fmla="*/ 29 w 94"/>
                <a:gd name="T11" fmla="*/ 11 h 198"/>
                <a:gd name="T12" fmla="*/ 29 w 94"/>
                <a:gd name="T13" fmla="*/ 26 h 198"/>
                <a:gd name="T14" fmla="*/ 29 w 94"/>
                <a:gd name="T15" fmla="*/ 108 h 198"/>
                <a:gd name="T16" fmla="*/ 33 w 94"/>
                <a:gd name="T17" fmla="*/ 125 h 198"/>
                <a:gd name="T18" fmla="*/ 6 w 94"/>
                <a:gd name="T19" fmla="*/ 145 h 198"/>
                <a:gd name="T20" fmla="*/ 1 w 94"/>
                <a:gd name="T21" fmla="*/ 143 h 198"/>
                <a:gd name="T22" fmla="*/ 0 w 94"/>
                <a:gd name="T23" fmla="*/ 151 h 198"/>
                <a:gd name="T24" fmla="*/ 47 w 94"/>
                <a:gd name="T25" fmla="*/ 198 h 198"/>
                <a:gd name="T26" fmla="*/ 94 w 94"/>
                <a:gd name="T27" fmla="*/ 151 h 198"/>
                <a:gd name="T28" fmla="*/ 66 w 94"/>
                <a:gd name="T29" fmla="*/ 108 h 198"/>
                <a:gd name="T30" fmla="*/ 43 w 94"/>
                <a:gd name="T31" fmla="*/ 35 h 198"/>
                <a:gd name="T32" fmla="*/ 47 w 94"/>
                <a:gd name="T33" fmla="*/ 32 h 198"/>
                <a:gd name="T34" fmla="*/ 52 w 94"/>
                <a:gd name="T35" fmla="*/ 35 h 198"/>
                <a:gd name="T36" fmla="*/ 52 w 94"/>
                <a:gd name="T37" fmla="*/ 35 h 198"/>
                <a:gd name="T38" fmla="*/ 52 w 94"/>
                <a:gd name="T39" fmla="*/ 35 h 198"/>
                <a:gd name="T40" fmla="*/ 52 w 94"/>
                <a:gd name="T41" fmla="*/ 56 h 198"/>
                <a:gd name="T42" fmla="*/ 43 w 94"/>
                <a:gd name="T43" fmla="*/ 56 h 198"/>
                <a:gd name="T44" fmla="*/ 43 w 94"/>
                <a:gd name="T45" fmla="*/ 35 h 198"/>
                <a:gd name="T46" fmla="*/ 43 w 94"/>
                <a:gd name="T47" fmla="*/ 61 h 198"/>
                <a:gd name="T48" fmla="*/ 52 w 94"/>
                <a:gd name="T49" fmla="*/ 61 h 198"/>
                <a:gd name="T50" fmla="*/ 52 w 94"/>
                <a:gd name="T51" fmla="*/ 79 h 198"/>
                <a:gd name="T52" fmla="*/ 43 w 94"/>
                <a:gd name="T53" fmla="*/ 79 h 198"/>
                <a:gd name="T54" fmla="*/ 43 w 94"/>
                <a:gd name="T55" fmla="*/ 61 h 198"/>
                <a:gd name="T56" fmla="*/ 47 w 94"/>
                <a:gd name="T57" fmla="*/ 170 h 198"/>
                <a:gd name="T58" fmla="*/ 29 w 94"/>
                <a:gd name="T59" fmla="*/ 152 h 198"/>
                <a:gd name="T60" fmla="*/ 43 w 94"/>
                <a:gd name="T61" fmla="*/ 135 h 198"/>
                <a:gd name="T62" fmla="*/ 43 w 94"/>
                <a:gd name="T63" fmla="*/ 84 h 198"/>
                <a:gd name="T64" fmla="*/ 52 w 94"/>
                <a:gd name="T65" fmla="*/ 84 h 198"/>
                <a:gd name="T66" fmla="*/ 52 w 94"/>
                <a:gd name="T67" fmla="*/ 135 h 198"/>
                <a:gd name="T68" fmla="*/ 64 w 94"/>
                <a:gd name="T69" fmla="*/ 152 h 198"/>
                <a:gd name="T70" fmla="*/ 47 w 94"/>
                <a:gd name="T71" fmla="*/ 1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98">
                  <a:moveTo>
                    <a:pt x="66" y="108"/>
                  </a:moveTo>
                  <a:cubicBezTo>
                    <a:pt x="66" y="11"/>
                    <a:pt x="66" y="11"/>
                    <a:pt x="66" y="11"/>
                  </a:cubicBezTo>
                  <a:cubicBezTo>
                    <a:pt x="66" y="5"/>
                    <a:pt x="60" y="0"/>
                    <a:pt x="53" y="0"/>
                  </a:cubicBezTo>
                  <a:cubicBezTo>
                    <a:pt x="51" y="0"/>
                    <a:pt x="51" y="0"/>
                    <a:pt x="51" y="0"/>
                  </a:cubicBezTo>
                  <a:cubicBezTo>
                    <a:pt x="42" y="0"/>
                    <a:pt x="42" y="0"/>
                    <a:pt x="42" y="0"/>
                  </a:cubicBezTo>
                  <a:cubicBezTo>
                    <a:pt x="35" y="0"/>
                    <a:pt x="29" y="5"/>
                    <a:pt x="29" y="11"/>
                  </a:cubicBezTo>
                  <a:cubicBezTo>
                    <a:pt x="29" y="26"/>
                    <a:pt x="29" y="26"/>
                    <a:pt x="29" y="26"/>
                  </a:cubicBezTo>
                  <a:cubicBezTo>
                    <a:pt x="29" y="108"/>
                    <a:pt x="29" y="108"/>
                    <a:pt x="29" y="108"/>
                  </a:cubicBezTo>
                  <a:cubicBezTo>
                    <a:pt x="32" y="113"/>
                    <a:pt x="34" y="119"/>
                    <a:pt x="33" y="125"/>
                  </a:cubicBezTo>
                  <a:cubicBezTo>
                    <a:pt x="31" y="138"/>
                    <a:pt x="19" y="147"/>
                    <a:pt x="6" y="145"/>
                  </a:cubicBezTo>
                  <a:cubicBezTo>
                    <a:pt x="4" y="145"/>
                    <a:pt x="2" y="144"/>
                    <a:pt x="1" y="143"/>
                  </a:cubicBezTo>
                  <a:cubicBezTo>
                    <a:pt x="0" y="146"/>
                    <a:pt x="0" y="149"/>
                    <a:pt x="0" y="151"/>
                  </a:cubicBezTo>
                  <a:cubicBezTo>
                    <a:pt x="0" y="177"/>
                    <a:pt x="21" y="198"/>
                    <a:pt x="47" y="198"/>
                  </a:cubicBezTo>
                  <a:cubicBezTo>
                    <a:pt x="73" y="198"/>
                    <a:pt x="94" y="177"/>
                    <a:pt x="94" y="151"/>
                  </a:cubicBezTo>
                  <a:cubicBezTo>
                    <a:pt x="94" y="132"/>
                    <a:pt x="82" y="115"/>
                    <a:pt x="66" y="108"/>
                  </a:cubicBezTo>
                  <a:close/>
                  <a:moveTo>
                    <a:pt x="43" y="35"/>
                  </a:moveTo>
                  <a:cubicBezTo>
                    <a:pt x="43" y="35"/>
                    <a:pt x="44" y="33"/>
                    <a:pt x="47" y="32"/>
                  </a:cubicBezTo>
                  <a:cubicBezTo>
                    <a:pt x="50" y="32"/>
                    <a:pt x="52" y="35"/>
                    <a:pt x="52" y="35"/>
                  </a:cubicBezTo>
                  <a:cubicBezTo>
                    <a:pt x="52" y="35"/>
                    <a:pt x="52" y="35"/>
                    <a:pt x="52" y="35"/>
                  </a:cubicBezTo>
                  <a:cubicBezTo>
                    <a:pt x="52" y="35"/>
                    <a:pt x="52" y="35"/>
                    <a:pt x="52" y="35"/>
                  </a:cubicBezTo>
                  <a:cubicBezTo>
                    <a:pt x="52" y="56"/>
                    <a:pt x="52" y="56"/>
                    <a:pt x="52" y="56"/>
                  </a:cubicBezTo>
                  <a:cubicBezTo>
                    <a:pt x="43" y="56"/>
                    <a:pt x="43" y="56"/>
                    <a:pt x="43" y="56"/>
                  </a:cubicBezTo>
                  <a:lnTo>
                    <a:pt x="43" y="35"/>
                  </a:lnTo>
                  <a:close/>
                  <a:moveTo>
                    <a:pt x="43" y="61"/>
                  </a:moveTo>
                  <a:cubicBezTo>
                    <a:pt x="52" y="61"/>
                    <a:pt x="52" y="61"/>
                    <a:pt x="52" y="61"/>
                  </a:cubicBezTo>
                  <a:cubicBezTo>
                    <a:pt x="52" y="79"/>
                    <a:pt x="52" y="79"/>
                    <a:pt x="52" y="79"/>
                  </a:cubicBezTo>
                  <a:cubicBezTo>
                    <a:pt x="43" y="79"/>
                    <a:pt x="43" y="79"/>
                    <a:pt x="43" y="79"/>
                  </a:cubicBezTo>
                  <a:lnTo>
                    <a:pt x="43" y="61"/>
                  </a:lnTo>
                  <a:close/>
                  <a:moveTo>
                    <a:pt x="47" y="170"/>
                  </a:moveTo>
                  <a:cubicBezTo>
                    <a:pt x="37" y="170"/>
                    <a:pt x="29" y="162"/>
                    <a:pt x="29" y="152"/>
                  </a:cubicBezTo>
                  <a:cubicBezTo>
                    <a:pt x="29" y="144"/>
                    <a:pt x="35" y="137"/>
                    <a:pt x="43" y="135"/>
                  </a:cubicBezTo>
                  <a:cubicBezTo>
                    <a:pt x="43" y="84"/>
                    <a:pt x="43" y="84"/>
                    <a:pt x="43" y="84"/>
                  </a:cubicBezTo>
                  <a:cubicBezTo>
                    <a:pt x="52" y="84"/>
                    <a:pt x="52" y="84"/>
                    <a:pt x="52" y="84"/>
                  </a:cubicBezTo>
                  <a:cubicBezTo>
                    <a:pt x="52" y="135"/>
                    <a:pt x="52" y="135"/>
                    <a:pt x="52" y="135"/>
                  </a:cubicBezTo>
                  <a:cubicBezTo>
                    <a:pt x="59" y="138"/>
                    <a:pt x="64" y="144"/>
                    <a:pt x="64" y="152"/>
                  </a:cubicBezTo>
                  <a:cubicBezTo>
                    <a:pt x="64" y="162"/>
                    <a:pt x="56" y="170"/>
                    <a:pt x="47"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latin typeface="+mn-lt"/>
              </a:endParaRPr>
            </a:p>
          </p:txBody>
        </p:sp>
      </p:grpSp>
      <p:sp>
        <p:nvSpPr>
          <p:cNvPr id="60" name="Freeform 107"/>
          <p:cNvSpPr>
            <a:spLocks noEditPoints="1"/>
          </p:cNvSpPr>
          <p:nvPr/>
        </p:nvSpPr>
        <p:spPr bwMode="auto">
          <a:xfrm>
            <a:off x="1696002" y="4155678"/>
            <a:ext cx="258969" cy="210585"/>
          </a:xfrm>
          <a:custGeom>
            <a:avLst/>
            <a:gdLst>
              <a:gd name="T0" fmla="*/ 531826 w 605"/>
              <a:gd name="T1" fmla="*/ 0 h 545"/>
              <a:gd name="T2" fmla="*/ 96352 w 605"/>
              <a:gd name="T3" fmla="*/ 0 h 545"/>
              <a:gd name="T4" fmla="*/ 102964 w 605"/>
              <a:gd name="T5" fmla="*/ 28400 h 545"/>
              <a:gd name="T6" fmla="*/ 34951 w 605"/>
              <a:gd name="T7" fmla="*/ 95614 h 545"/>
              <a:gd name="T8" fmla="*/ 0 w 605"/>
              <a:gd name="T9" fmla="*/ 85201 h 545"/>
              <a:gd name="T10" fmla="*/ 0 w 605"/>
              <a:gd name="T11" fmla="*/ 467657 h 545"/>
              <a:gd name="T12" fmla="*/ 39674 w 605"/>
              <a:gd name="T13" fmla="*/ 515937 h 545"/>
              <a:gd name="T14" fmla="*/ 531826 w 605"/>
              <a:gd name="T15" fmla="*/ 515937 h 545"/>
              <a:gd name="T16" fmla="*/ 571500 w 605"/>
              <a:gd name="T17" fmla="*/ 467657 h 545"/>
              <a:gd name="T18" fmla="*/ 571500 w 605"/>
              <a:gd name="T19" fmla="*/ 48280 h 545"/>
              <a:gd name="T20" fmla="*/ 531826 w 605"/>
              <a:gd name="T21" fmla="*/ 0 h 545"/>
              <a:gd name="T22" fmla="*/ 34007 w 605"/>
              <a:gd name="T23" fmla="*/ 54907 h 545"/>
              <a:gd name="T24" fmla="*/ 59512 w 605"/>
              <a:gd name="T25" fmla="*/ 29347 h 545"/>
              <a:gd name="T26" fmla="*/ 34007 w 605"/>
              <a:gd name="T27" fmla="*/ 2840 h 545"/>
              <a:gd name="T28" fmla="*/ 7557 w 605"/>
              <a:gd name="T29" fmla="*/ 29347 h 545"/>
              <a:gd name="T30" fmla="*/ 34007 w 605"/>
              <a:gd name="T31" fmla="*/ 54907 h 545"/>
              <a:gd name="T32" fmla="*/ 364626 w 605"/>
              <a:gd name="T33" fmla="*/ 274535 h 545"/>
              <a:gd name="T34" fmla="*/ 98241 w 605"/>
              <a:gd name="T35" fmla="*/ 274535 h 545"/>
              <a:gd name="T36" fmla="*/ 98241 w 605"/>
              <a:gd name="T37" fmla="*/ 131588 h 545"/>
              <a:gd name="T38" fmla="*/ 364626 w 605"/>
              <a:gd name="T39" fmla="*/ 131588 h 545"/>
              <a:gd name="T40" fmla="*/ 364626 w 605"/>
              <a:gd name="T41" fmla="*/ 274535 h 545"/>
              <a:gd name="T42" fmla="*/ 194593 w 605"/>
              <a:gd name="T43" fmla="*/ 251815 h 545"/>
              <a:gd name="T44" fmla="*/ 194593 w 605"/>
              <a:gd name="T45" fmla="*/ 244242 h 545"/>
              <a:gd name="T46" fmla="*/ 204984 w 605"/>
              <a:gd name="T47" fmla="*/ 234775 h 545"/>
              <a:gd name="T48" fmla="*/ 239936 w 605"/>
              <a:gd name="T49" fmla="*/ 185548 h 545"/>
              <a:gd name="T50" fmla="*/ 221043 w 605"/>
              <a:gd name="T51" fmla="*/ 167561 h 545"/>
              <a:gd name="T52" fmla="*/ 201206 w 605"/>
              <a:gd name="T53" fmla="*/ 175135 h 545"/>
              <a:gd name="T54" fmla="*/ 197427 w 605"/>
              <a:gd name="T55" fmla="*/ 165668 h 545"/>
              <a:gd name="T56" fmla="*/ 223877 w 605"/>
              <a:gd name="T57" fmla="*/ 156201 h 545"/>
              <a:gd name="T58" fmla="*/ 252216 w 605"/>
              <a:gd name="T59" fmla="*/ 183655 h 545"/>
              <a:gd name="T60" fmla="*/ 220098 w 605"/>
              <a:gd name="T61" fmla="*/ 233828 h 545"/>
              <a:gd name="T62" fmla="*/ 212541 w 605"/>
              <a:gd name="T63" fmla="*/ 241402 h 545"/>
              <a:gd name="T64" fmla="*/ 212541 w 605"/>
              <a:gd name="T65" fmla="*/ 241402 h 545"/>
              <a:gd name="T66" fmla="*/ 255050 w 605"/>
              <a:gd name="T67" fmla="*/ 241402 h 545"/>
              <a:gd name="T68" fmla="*/ 255050 w 605"/>
              <a:gd name="T69" fmla="*/ 251815 h 545"/>
              <a:gd name="T70" fmla="*/ 194593 w 605"/>
              <a:gd name="T71" fmla="*/ 251815 h 545"/>
              <a:gd name="T72" fmla="*/ 298502 w 605"/>
              <a:gd name="T73" fmla="*/ 253708 h 545"/>
              <a:gd name="T74" fmla="*/ 267330 w 605"/>
              <a:gd name="T75" fmla="*/ 205428 h 545"/>
              <a:gd name="T76" fmla="*/ 300392 w 605"/>
              <a:gd name="T77" fmla="*/ 156201 h 545"/>
              <a:gd name="T78" fmla="*/ 330620 w 605"/>
              <a:gd name="T79" fmla="*/ 204481 h 545"/>
              <a:gd name="T80" fmla="*/ 298502 w 605"/>
              <a:gd name="T81" fmla="*/ 253708 h 545"/>
              <a:gd name="T82" fmla="*/ 299447 w 605"/>
              <a:gd name="T83" fmla="*/ 243295 h 545"/>
              <a:gd name="T84" fmla="*/ 318340 w 605"/>
              <a:gd name="T85" fmla="*/ 204481 h 545"/>
              <a:gd name="T86" fmla="*/ 299447 w 605"/>
              <a:gd name="T87" fmla="*/ 166615 h 545"/>
              <a:gd name="T88" fmla="*/ 279610 w 605"/>
              <a:gd name="T89" fmla="*/ 204481 h 545"/>
              <a:gd name="T90" fmla="*/ 298502 w 605"/>
              <a:gd name="T91" fmla="*/ 243295 h 545"/>
              <a:gd name="T92" fmla="*/ 299447 w 605"/>
              <a:gd name="T93" fmla="*/ 243295 h 545"/>
              <a:gd name="T94" fmla="*/ 411858 w 605"/>
              <a:gd name="T95" fmla="*/ 184601 h 545"/>
              <a:gd name="T96" fmla="*/ 454366 w 605"/>
              <a:gd name="T97" fmla="*/ 123068 h 545"/>
              <a:gd name="T98" fmla="*/ 497819 w 605"/>
              <a:gd name="T99" fmla="*/ 184601 h 545"/>
              <a:gd name="T100" fmla="*/ 411858 w 605"/>
              <a:gd name="T101" fmla="*/ 184601 h 545"/>
              <a:gd name="T102" fmla="*/ 497819 w 605"/>
              <a:gd name="T103" fmla="*/ 220575 h 545"/>
              <a:gd name="T104" fmla="*/ 454366 w 605"/>
              <a:gd name="T105" fmla="*/ 282109 h 545"/>
              <a:gd name="T106" fmla="*/ 411858 w 605"/>
              <a:gd name="T107" fmla="*/ 220575 h 545"/>
              <a:gd name="T108" fmla="*/ 497819 w 605"/>
              <a:gd name="T109" fmla="*/ 220575 h 545"/>
              <a:gd name="T110" fmla="*/ 478926 w 605"/>
              <a:gd name="T111" fmla="*/ 393816 h 545"/>
              <a:gd name="T112" fmla="*/ 457200 w 605"/>
              <a:gd name="T113" fmla="*/ 415590 h 545"/>
              <a:gd name="T114" fmla="*/ 435474 w 605"/>
              <a:gd name="T115" fmla="*/ 393816 h 545"/>
              <a:gd name="T116" fmla="*/ 457200 w 605"/>
              <a:gd name="T117" fmla="*/ 372043 h 545"/>
              <a:gd name="T118" fmla="*/ 478926 w 605"/>
              <a:gd name="T119" fmla="*/ 393816 h 5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5"/>
              <a:gd name="T181" fmla="*/ 0 h 545"/>
              <a:gd name="T182" fmla="*/ 605 w 605"/>
              <a:gd name="T183" fmla="*/ 545 h 5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5" h="545">
                <a:moveTo>
                  <a:pt x="563" y="0"/>
                </a:moveTo>
                <a:cubicBezTo>
                  <a:pt x="102" y="0"/>
                  <a:pt x="102" y="0"/>
                  <a:pt x="102" y="0"/>
                </a:cubicBezTo>
                <a:cubicBezTo>
                  <a:pt x="107" y="9"/>
                  <a:pt x="109" y="19"/>
                  <a:pt x="109" y="30"/>
                </a:cubicBezTo>
                <a:cubicBezTo>
                  <a:pt x="109" y="69"/>
                  <a:pt x="77" y="101"/>
                  <a:pt x="37" y="101"/>
                </a:cubicBezTo>
                <a:cubicBezTo>
                  <a:pt x="24" y="101"/>
                  <a:pt x="11" y="97"/>
                  <a:pt x="0" y="90"/>
                </a:cubicBezTo>
                <a:cubicBezTo>
                  <a:pt x="0" y="494"/>
                  <a:pt x="0" y="494"/>
                  <a:pt x="0" y="494"/>
                </a:cubicBezTo>
                <a:cubicBezTo>
                  <a:pt x="0" y="522"/>
                  <a:pt x="19" y="545"/>
                  <a:pt x="42" y="545"/>
                </a:cubicBezTo>
                <a:cubicBezTo>
                  <a:pt x="563" y="545"/>
                  <a:pt x="563" y="545"/>
                  <a:pt x="563" y="545"/>
                </a:cubicBezTo>
                <a:cubicBezTo>
                  <a:pt x="586" y="545"/>
                  <a:pt x="605" y="522"/>
                  <a:pt x="605" y="494"/>
                </a:cubicBezTo>
                <a:cubicBezTo>
                  <a:pt x="605" y="51"/>
                  <a:pt x="605" y="51"/>
                  <a:pt x="605" y="51"/>
                </a:cubicBezTo>
                <a:cubicBezTo>
                  <a:pt x="605" y="23"/>
                  <a:pt x="586" y="0"/>
                  <a:pt x="563" y="0"/>
                </a:cubicBezTo>
                <a:close/>
                <a:moveTo>
                  <a:pt x="36" y="58"/>
                </a:moveTo>
                <a:cubicBezTo>
                  <a:pt x="51" y="58"/>
                  <a:pt x="63" y="46"/>
                  <a:pt x="63" y="31"/>
                </a:cubicBezTo>
                <a:cubicBezTo>
                  <a:pt x="63" y="15"/>
                  <a:pt x="51" y="3"/>
                  <a:pt x="36" y="3"/>
                </a:cubicBezTo>
                <a:cubicBezTo>
                  <a:pt x="20" y="3"/>
                  <a:pt x="8" y="15"/>
                  <a:pt x="8" y="31"/>
                </a:cubicBezTo>
                <a:cubicBezTo>
                  <a:pt x="8" y="46"/>
                  <a:pt x="20" y="58"/>
                  <a:pt x="36" y="58"/>
                </a:cubicBezTo>
                <a:close/>
                <a:moveTo>
                  <a:pt x="386" y="290"/>
                </a:moveTo>
                <a:cubicBezTo>
                  <a:pt x="104" y="290"/>
                  <a:pt x="104" y="290"/>
                  <a:pt x="104" y="290"/>
                </a:cubicBezTo>
                <a:cubicBezTo>
                  <a:pt x="104" y="139"/>
                  <a:pt x="104" y="139"/>
                  <a:pt x="104" y="139"/>
                </a:cubicBezTo>
                <a:cubicBezTo>
                  <a:pt x="386" y="139"/>
                  <a:pt x="386" y="139"/>
                  <a:pt x="386" y="139"/>
                </a:cubicBezTo>
                <a:lnTo>
                  <a:pt x="386" y="290"/>
                </a:lnTo>
                <a:close/>
                <a:moveTo>
                  <a:pt x="206" y="266"/>
                </a:moveTo>
                <a:cubicBezTo>
                  <a:pt x="206" y="258"/>
                  <a:pt x="206" y="258"/>
                  <a:pt x="206" y="258"/>
                </a:cubicBezTo>
                <a:cubicBezTo>
                  <a:pt x="217" y="248"/>
                  <a:pt x="217" y="248"/>
                  <a:pt x="217" y="248"/>
                </a:cubicBezTo>
                <a:cubicBezTo>
                  <a:pt x="242" y="224"/>
                  <a:pt x="254" y="211"/>
                  <a:pt x="254" y="196"/>
                </a:cubicBezTo>
                <a:cubicBezTo>
                  <a:pt x="254" y="186"/>
                  <a:pt x="249" y="177"/>
                  <a:pt x="234" y="177"/>
                </a:cubicBezTo>
                <a:cubicBezTo>
                  <a:pt x="225" y="177"/>
                  <a:pt x="218" y="181"/>
                  <a:pt x="213" y="185"/>
                </a:cubicBezTo>
                <a:cubicBezTo>
                  <a:pt x="209" y="175"/>
                  <a:pt x="209" y="175"/>
                  <a:pt x="209" y="175"/>
                </a:cubicBezTo>
                <a:cubicBezTo>
                  <a:pt x="216" y="170"/>
                  <a:pt x="225" y="165"/>
                  <a:pt x="237" y="165"/>
                </a:cubicBezTo>
                <a:cubicBezTo>
                  <a:pt x="258" y="165"/>
                  <a:pt x="267" y="180"/>
                  <a:pt x="267" y="194"/>
                </a:cubicBezTo>
                <a:cubicBezTo>
                  <a:pt x="267" y="212"/>
                  <a:pt x="254" y="227"/>
                  <a:pt x="233" y="247"/>
                </a:cubicBezTo>
                <a:cubicBezTo>
                  <a:pt x="225" y="255"/>
                  <a:pt x="225" y="255"/>
                  <a:pt x="225" y="255"/>
                </a:cubicBezTo>
                <a:cubicBezTo>
                  <a:pt x="225" y="255"/>
                  <a:pt x="225" y="255"/>
                  <a:pt x="225" y="255"/>
                </a:cubicBezTo>
                <a:cubicBezTo>
                  <a:pt x="270" y="255"/>
                  <a:pt x="270" y="255"/>
                  <a:pt x="270" y="255"/>
                </a:cubicBezTo>
                <a:cubicBezTo>
                  <a:pt x="270" y="266"/>
                  <a:pt x="270" y="266"/>
                  <a:pt x="270" y="266"/>
                </a:cubicBezTo>
                <a:lnTo>
                  <a:pt x="206" y="266"/>
                </a:lnTo>
                <a:close/>
                <a:moveTo>
                  <a:pt x="316" y="268"/>
                </a:moveTo>
                <a:cubicBezTo>
                  <a:pt x="297" y="268"/>
                  <a:pt x="283" y="250"/>
                  <a:pt x="283" y="217"/>
                </a:cubicBezTo>
                <a:cubicBezTo>
                  <a:pt x="283" y="183"/>
                  <a:pt x="298" y="165"/>
                  <a:pt x="318" y="165"/>
                </a:cubicBezTo>
                <a:cubicBezTo>
                  <a:pt x="338" y="165"/>
                  <a:pt x="350" y="184"/>
                  <a:pt x="350" y="216"/>
                </a:cubicBezTo>
                <a:cubicBezTo>
                  <a:pt x="350" y="249"/>
                  <a:pt x="338" y="268"/>
                  <a:pt x="316" y="268"/>
                </a:cubicBezTo>
                <a:close/>
                <a:moveTo>
                  <a:pt x="317" y="257"/>
                </a:moveTo>
                <a:cubicBezTo>
                  <a:pt x="330" y="257"/>
                  <a:pt x="337" y="241"/>
                  <a:pt x="337" y="216"/>
                </a:cubicBezTo>
                <a:cubicBezTo>
                  <a:pt x="337" y="192"/>
                  <a:pt x="331" y="176"/>
                  <a:pt x="317" y="176"/>
                </a:cubicBezTo>
                <a:cubicBezTo>
                  <a:pt x="304" y="176"/>
                  <a:pt x="296" y="191"/>
                  <a:pt x="296" y="216"/>
                </a:cubicBezTo>
                <a:cubicBezTo>
                  <a:pt x="296" y="242"/>
                  <a:pt x="304" y="257"/>
                  <a:pt x="316" y="257"/>
                </a:cubicBezTo>
                <a:lnTo>
                  <a:pt x="317" y="257"/>
                </a:lnTo>
                <a:close/>
                <a:moveTo>
                  <a:pt x="436" y="195"/>
                </a:moveTo>
                <a:cubicBezTo>
                  <a:pt x="481" y="130"/>
                  <a:pt x="481" y="130"/>
                  <a:pt x="481" y="130"/>
                </a:cubicBezTo>
                <a:cubicBezTo>
                  <a:pt x="527" y="195"/>
                  <a:pt x="527" y="195"/>
                  <a:pt x="527" y="195"/>
                </a:cubicBezTo>
                <a:lnTo>
                  <a:pt x="436" y="195"/>
                </a:lnTo>
                <a:close/>
                <a:moveTo>
                  <a:pt x="527" y="233"/>
                </a:moveTo>
                <a:cubicBezTo>
                  <a:pt x="481" y="298"/>
                  <a:pt x="481" y="298"/>
                  <a:pt x="481" y="298"/>
                </a:cubicBezTo>
                <a:cubicBezTo>
                  <a:pt x="436" y="233"/>
                  <a:pt x="436" y="233"/>
                  <a:pt x="436" y="233"/>
                </a:cubicBezTo>
                <a:lnTo>
                  <a:pt x="527" y="233"/>
                </a:lnTo>
                <a:close/>
                <a:moveTo>
                  <a:pt x="507" y="416"/>
                </a:moveTo>
                <a:cubicBezTo>
                  <a:pt x="507" y="429"/>
                  <a:pt x="497" y="439"/>
                  <a:pt x="484" y="439"/>
                </a:cubicBezTo>
                <a:cubicBezTo>
                  <a:pt x="471" y="439"/>
                  <a:pt x="461" y="429"/>
                  <a:pt x="461" y="416"/>
                </a:cubicBezTo>
                <a:cubicBezTo>
                  <a:pt x="461" y="403"/>
                  <a:pt x="471" y="393"/>
                  <a:pt x="484" y="393"/>
                </a:cubicBezTo>
                <a:cubicBezTo>
                  <a:pt x="497" y="393"/>
                  <a:pt x="507" y="403"/>
                  <a:pt x="507" y="416"/>
                </a:cubicBezTo>
                <a:close/>
              </a:path>
            </a:pathLst>
          </a:custGeom>
          <a:solidFill>
            <a:schemeClr val="bg2"/>
          </a:solidFill>
          <a:ln w="9525">
            <a:noFill/>
            <a:round/>
            <a:headEnd/>
            <a:tailEnd/>
          </a:ln>
        </p:spPr>
        <p:txBody>
          <a:bodyPr/>
          <a:lstStyle/>
          <a:p>
            <a:endParaRPr lang="en-US" sz="2800">
              <a:latin typeface="+mn-lt"/>
            </a:endParaRPr>
          </a:p>
        </p:txBody>
      </p:sp>
      <p:grpSp>
        <p:nvGrpSpPr>
          <p:cNvPr id="63" name="Group 157"/>
          <p:cNvGrpSpPr/>
          <p:nvPr/>
        </p:nvGrpSpPr>
        <p:grpSpPr>
          <a:xfrm>
            <a:off x="5005031" y="3581409"/>
            <a:ext cx="131742" cy="271959"/>
            <a:chOff x="2411413" y="4944773"/>
            <a:chExt cx="271462" cy="560387"/>
          </a:xfrm>
          <a:solidFill>
            <a:schemeClr val="bg2"/>
          </a:solidFill>
        </p:grpSpPr>
        <p:sp>
          <p:nvSpPr>
            <p:cNvPr id="65" name="Freeform 21"/>
            <p:cNvSpPr>
              <a:spLocks/>
            </p:cNvSpPr>
            <p:nvPr/>
          </p:nvSpPr>
          <p:spPr bwMode="auto">
            <a:xfrm>
              <a:off x="2411413" y="5160963"/>
              <a:ext cx="60325" cy="58737"/>
            </a:xfrm>
            <a:custGeom>
              <a:avLst/>
              <a:gdLst>
                <a:gd name="T0" fmla="*/ 13 w 21"/>
                <a:gd name="T1" fmla="*/ 19 h 21"/>
                <a:gd name="T2" fmla="*/ 19 w 21"/>
                <a:gd name="T3" fmla="*/ 8 h 21"/>
                <a:gd name="T4" fmla="*/ 8 w 21"/>
                <a:gd name="T5" fmla="*/ 2 h 21"/>
                <a:gd name="T6" fmla="*/ 2 w 21"/>
                <a:gd name="T7" fmla="*/ 13 h 21"/>
                <a:gd name="T8" fmla="*/ 13 w 21"/>
                <a:gd name="T9" fmla="*/ 19 h 21"/>
              </a:gdLst>
              <a:ahLst/>
              <a:cxnLst>
                <a:cxn ang="0">
                  <a:pos x="T0" y="T1"/>
                </a:cxn>
                <a:cxn ang="0">
                  <a:pos x="T2" y="T3"/>
                </a:cxn>
                <a:cxn ang="0">
                  <a:pos x="T4" y="T5"/>
                </a:cxn>
                <a:cxn ang="0">
                  <a:pos x="T6" y="T7"/>
                </a:cxn>
                <a:cxn ang="0">
                  <a:pos x="T8" y="T9"/>
                </a:cxn>
              </a:cxnLst>
              <a:rect l="0" t="0" r="r" b="b"/>
              <a:pathLst>
                <a:path w="21" h="21">
                  <a:moveTo>
                    <a:pt x="13" y="19"/>
                  </a:moveTo>
                  <a:cubicBezTo>
                    <a:pt x="18" y="18"/>
                    <a:pt x="21" y="12"/>
                    <a:pt x="19" y="8"/>
                  </a:cubicBezTo>
                  <a:cubicBezTo>
                    <a:pt x="18" y="3"/>
                    <a:pt x="12" y="0"/>
                    <a:pt x="8" y="2"/>
                  </a:cubicBezTo>
                  <a:cubicBezTo>
                    <a:pt x="3" y="3"/>
                    <a:pt x="0" y="8"/>
                    <a:pt x="2" y="13"/>
                  </a:cubicBezTo>
                  <a:cubicBezTo>
                    <a:pt x="3" y="18"/>
                    <a:pt x="8" y="21"/>
                    <a:pt x="13"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latin typeface="+mn-lt"/>
              </a:endParaRPr>
            </a:p>
          </p:txBody>
        </p:sp>
        <p:sp>
          <p:nvSpPr>
            <p:cNvPr id="66" name="Freeform 22"/>
            <p:cNvSpPr>
              <a:spLocks noEditPoints="1"/>
            </p:cNvSpPr>
            <p:nvPr/>
          </p:nvSpPr>
          <p:spPr bwMode="auto">
            <a:xfrm>
              <a:off x="2414588" y="4944773"/>
              <a:ext cx="268287" cy="560387"/>
            </a:xfrm>
            <a:custGeom>
              <a:avLst/>
              <a:gdLst>
                <a:gd name="T0" fmla="*/ 66 w 94"/>
                <a:gd name="T1" fmla="*/ 108 h 198"/>
                <a:gd name="T2" fmla="*/ 66 w 94"/>
                <a:gd name="T3" fmla="*/ 11 h 198"/>
                <a:gd name="T4" fmla="*/ 53 w 94"/>
                <a:gd name="T5" fmla="*/ 0 h 198"/>
                <a:gd name="T6" fmla="*/ 51 w 94"/>
                <a:gd name="T7" fmla="*/ 0 h 198"/>
                <a:gd name="T8" fmla="*/ 42 w 94"/>
                <a:gd name="T9" fmla="*/ 0 h 198"/>
                <a:gd name="T10" fmla="*/ 29 w 94"/>
                <a:gd name="T11" fmla="*/ 11 h 198"/>
                <a:gd name="T12" fmla="*/ 29 w 94"/>
                <a:gd name="T13" fmla="*/ 26 h 198"/>
                <a:gd name="T14" fmla="*/ 29 w 94"/>
                <a:gd name="T15" fmla="*/ 108 h 198"/>
                <a:gd name="T16" fmla="*/ 33 w 94"/>
                <a:gd name="T17" fmla="*/ 125 h 198"/>
                <a:gd name="T18" fmla="*/ 6 w 94"/>
                <a:gd name="T19" fmla="*/ 145 h 198"/>
                <a:gd name="T20" fmla="*/ 1 w 94"/>
                <a:gd name="T21" fmla="*/ 143 h 198"/>
                <a:gd name="T22" fmla="*/ 0 w 94"/>
                <a:gd name="T23" fmla="*/ 151 h 198"/>
                <a:gd name="T24" fmla="*/ 47 w 94"/>
                <a:gd name="T25" fmla="*/ 198 h 198"/>
                <a:gd name="T26" fmla="*/ 94 w 94"/>
                <a:gd name="T27" fmla="*/ 151 h 198"/>
                <a:gd name="T28" fmla="*/ 66 w 94"/>
                <a:gd name="T29" fmla="*/ 108 h 198"/>
                <a:gd name="T30" fmla="*/ 43 w 94"/>
                <a:gd name="T31" fmla="*/ 35 h 198"/>
                <a:gd name="T32" fmla="*/ 47 w 94"/>
                <a:gd name="T33" fmla="*/ 32 h 198"/>
                <a:gd name="T34" fmla="*/ 52 w 94"/>
                <a:gd name="T35" fmla="*/ 35 h 198"/>
                <a:gd name="T36" fmla="*/ 52 w 94"/>
                <a:gd name="T37" fmla="*/ 35 h 198"/>
                <a:gd name="T38" fmla="*/ 52 w 94"/>
                <a:gd name="T39" fmla="*/ 35 h 198"/>
                <a:gd name="T40" fmla="*/ 52 w 94"/>
                <a:gd name="T41" fmla="*/ 56 h 198"/>
                <a:gd name="T42" fmla="*/ 43 w 94"/>
                <a:gd name="T43" fmla="*/ 56 h 198"/>
                <a:gd name="T44" fmla="*/ 43 w 94"/>
                <a:gd name="T45" fmla="*/ 35 h 198"/>
                <a:gd name="T46" fmla="*/ 43 w 94"/>
                <a:gd name="T47" fmla="*/ 61 h 198"/>
                <a:gd name="T48" fmla="*/ 52 w 94"/>
                <a:gd name="T49" fmla="*/ 61 h 198"/>
                <a:gd name="T50" fmla="*/ 52 w 94"/>
                <a:gd name="T51" fmla="*/ 79 h 198"/>
                <a:gd name="T52" fmla="*/ 43 w 94"/>
                <a:gd name="T53" fmla="*/ 79 h 198"/>
                <a:gd name="T54" fmla="*/ 43 w 94"/>
                <a:gd name="T55" fmla="*/ 61 h 198"/>
                <a:gd name="T56" fmla="*/ 47 w 94"/>
                <a:gd name="T57" fmla="*/ 170 h 198"/>
                <a:gd name="T58" fmla="*/ 29 w 94"/>
                <a:gd name="T59" fmla="*/ 152 h 198"/>
                <a:gd name="T60" fmla="*/ 43 w 94"/>
                <a:gd name="T61" fmla="*/ 135 h 198"/>
                <a:gd name="T62" fmla="*/ 43 w 94"/>
                <a:gd name="T63" fmla="*/ 84 h 198"/>
                <a:gd name="T64" fmla="*/ 52 w 94"/>
                <a:gd name="T65" fmla="*/ 84 h 198"/>
                <a:gd name="T66" fmla="*/ 52 w 94"/>
                <a:gd name="T67" fmla="*/ 135 h 198"/>
                <a:gd name="T68" fmla="*/ 64 w 94"/>
                <a:gd name="T69" fmla="*/ 152 h 198"/>
                <a:gd name="T70" fmla="*/ 47 w 94"/>
                <a:gd name="T71" fmla="*/ 1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98">
                  <a:moveTo>
                    <a:pt x="66" y="108"/>
                  </a:moveTo>
                  <a:cubicBezTo>
                    <a:pt x="66" y="11"/>
                    <a:pt x="66" y="11"/>
                    <a:pt x="66" y="11"/>
                  </a:cubicBezTo>
                  <a:cubicBezTo>
                    <a:pt x="66" y="5"/>
                    <a:pt x="60" y="0"/>
                    <a:pt x="53" y="0"/>
                  </a:cubicBezTo>
                  <a:cubicBezTo>
                    <a:pt x="51" y="0"/>
                    <a:pt x="51" y="0"/>
                    <a:pt x="51" y="0"/>
                  </a:cubicBezTo>
                  <a:cubicBezTo>
                    <a:pt x="42" y="0"/>
                    <a:pt x="42" y="0"/>
                    <a:pt x="42" y="0"/>
                  </a:cubicBezTo>
                  <a:cubicBezTo>
                    <a:pt x="35" y="0"/>
                    <a:pt x="29" y="5"/>
                    <a:pt x="29" y="11"/>
                  </a:cubicBezTo>
                  <a:cubicBezTo>
                    <a:pt x="29" y="26"/>
                    <a:pt x="29" y="26"/>
                    <a:pt x="29" y="26"/>
                  </a:cubicBezTo>
                  <a:cubicBezTo>
                    <a:pt x="29" y="108"/>
                    <a:pt x="29" y="108"/>
                    <a:pt x="29" y="108"/>
                  </a:cubicBezTo>
                  <a:cubicBezTo>
                    <a:pt x="32" y="113"/>
                    <a:pt x="34" y="119"/>
                    <a:pt x="33" y="125"/>
                  </a:cubicBezTo>
                  <a:cubicBezTo>
                    <a:pt x="31" y="138"/>
                    <a:pt x="19" y="147"/>
                    <a:pt x="6" y="145"/>
                  </a:cubicBezTo>
                  <a:cubicBezTo>
                    <a:pt x="4" y="145"/>
                    <a:pt x="2" y="144"/>
                    <a:pt x="1" y="143"/>
                  </a:cubicBezTo>
                  <a:cubicBezTo>
                    <a:pt x="0" y="146"/>
                    <a:pt x="0" y="149"/>
                    <a:pt x="0" y="151"/>
                  </a:cubicBezTo>
                  <a:cubicBezTo>
                    <a:pt x="0" y="177"/>
                    <a:pt x="21" y="198"/>
                    <a:pt x="47" y="198"/>
                  </a:cubicBezTo>
                  <a:cubicBezTo>
                    <a:pt x="73" y="198"/>
                    <a:pt x="94" y="177"/>
                    <a:pt x="94" y="151"/>
                  </a:cubicBezTo>
                  <a:cubicBezTo>
                    <a:pt x="94" y="132"/>
                    <a:pt x="82" y="115"/>
                    <a:pt x="66" y="108"/>
                  </a:cubicBezTo>
                  <a:close/>
                  <a:moveTo>
                    <a:pt x="43" y="35"/>
                  </a:moveTo>
                  <a:cubicBezTo>
                    <a:pt x="43" y="35"/>
                    <a:pt x="44" y="33"/>
                    <a:pt x="47" y="32"/>
                  </a:cubicBezTo>
                  <a:cubicBezTo>
                    <a:pt x="50" y="32"/>
                    <a:pt x="52" y="35"/>
                    <a:pt x="52" y="35"/>
                  </a:cubicBezTo>
                  <a:cubicBezTo>
                    <a:pt x="52" y="35"/>
                    <a:pt x="52" y="35"/>
                    <a:pt x="52" y="35"/>
                  </a:cubicBezTo>
                  <a:cubicBezTo>
                    <a:pt x="52" y="35"/>
                    <a:pt x="52" y="35"/>
                    <a:pt x="52" y="35"/>
                  </a:cubicBezTo>
                  <a:cubicBezTo>
                    <a:pt x="52" y="56"/>
                    <a:pt x="52" y="56"/>
                    <a:pt x="52" y="56"/>
                  </a:cubicBezTo>
                  <a:cubicBezTo>
                    <a:pt x="43" y="56"/>
                    <a:pt x="43" y="56"/>
                    <a:pt x="43" y="56"/>
                  </a:cubicBezTo>
                  <a:lnTo>
                    <a:pt x="43" y="35"/>
                  </a:lnTo>
                  <a:close/>
                  <a:moveTo>
                    <a:pt x="43" y="61"/>
                  </a:moveTo>
                  <a:cubicBezTo>
                    <a:pt x="52" y="61"/>
                    <a:pt x="52" y="61"/>
                    <a:pt x="52" y="61"/>
                  </a:cubicBezTo>
                  <a:cubicBezTo>
                    <a:pt x="52" y="79"/>
                    <a:pt x="52" y="79"/>
                    <a:pt x="52" y="79"/>
                  </a:cubicBezTo>
                  <a:cubicBezTo>
                    <a:pt x="43" y="79"/>
                    <a:pt x="43" y="79"/>
                    <a:pt x="43" y="79"/>
                  </a:cubicBezTo>
                  <a:lnTo>
                    <a:pt x="43" y="61"/>
                  </a:lnTo>
                  <a:close/>
                  <a:moveTo>
                    <a:pt x="47" y="170"/>
                  </a:moveTo>
                  <a:cubicBezTo>
                    <a:pt x="37" y="170"/>
                    <a:pt x="29" y="162"/>
                    <a:pt x="29" y="152"/>
                  </a:cubicBezTo>
                  <a:cubicBezTo>
                    <a:pt x="29" y="144"/>
                    <a:pt x="35" y="137"/>
                    <a:pt x="43" y="135"/>
                  </a:cubicBezTo>
                  <a:cubicBezTo>
                    <a:pt x="43" y="84"/>
                    <a:pt x="43" y="84"/>
                    <a:pt x="43" y="84"/>
                  </a:cubicBezTo>
                  <a:cubicBezTo>
                    <a:pt x="52" y="84"/>
                    <a:pt x="52" y="84"/>
                    <a:pt x="52" y="84"/>
                  </a:cubicBezTo>
                  <a:cubicBezTo>
                    <a:pt x="52" y="135"/>
                    <a:pt x="52" y="135"/>
                    <a:pt x="52" y="135"/>
                  </a:cubicBezTo>
                  <a:cubicBezTo>
                    <a:pt x="59" y="138"/>
                    <a:pt x="64" y="144"/>
                    <a:pt x="64" y="152"/>
                  </a:cubicBezTo>
                  <a:cubicBezTo>
                    <a:pt x="64" y="162"/>
                    <a:pt x="56" y="170"/>
                    <a:pt x="47"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800">
                <a:latin typeface="+mn-lt"/>
              </a:endParaRPr>
            </a:p>
          </p:txBody>
        </p:sp>
      </p:grpSp>
      <p:grpSp>
        <p:nvGrpSpPr>
          <p:cNvPr id="75" name="Group 85"/>
          <p:cNvGrpSpPr>
            <a:grpSpLocks/>
          </p:cNvGrpSpPr>
          <p:nvPr/>
        </p:nvGrpSpPr>
        <p:grpSpPr bwMode="auto">
          <a:xfrm>
            <a:off x="2981939" y="3786231"/>
            <a:ext cx="636058" cy="440767"/>
            <a:chOff x="1644650" y="2241550"/>
            <a:chExt cx="925513" cy="641350"/>
          </a:xfrm>
          <a:solidFill>
            <a:schemeClr val="tx2"/>
          </a:solidFill>
        </p:grpSpPr>
        <p:sp>
          <p:nvSpPr>
            <p:cNvPr id="76" name="Oval 67"/>
            <p:cNvSpPr>
              <a:spLocks noChangeArrowheads="1"/>
            </p:cNvSpPr>
            <p:nvPr/>
          </p:nvSpPr>
          <p:spPr bwMode="auto">
            <a:xfrm>
              <a:off x="1658938" y="2254250"/>
              <a:ext cx="50800" cy="52388"/>
            </a:xfrm>
            <a:prstGeom prst="ellipse">
              <a:avLst/>
            </a:prstGeom>
            <a:grpFill/>
            <a:ln w="9525">
              <a:noFill/>
              <a:round/>
              <a:headEnd/>
              <a:tailEnd/>
            </a:ln>
          </p:spPr>
          <p:txBody>
            <a:bodyPr wrap="square" lIns="0" tIns="0" rIns="0" bIns="0">
              <a:noAutofit/>
            </a:bodyPr>
            <a:lstStyle/>
            <a:p>
              <a:pPr>
                <a:defRPr/>
              </a:pPr>
              <a:endParaRPr lang="en-US" sz="2800">
                <a:latin typeface="+mn-lt"/>
                <a:cs typeface="MS PGothic" pitchFamily="34" charset="-128"/>
              </a:endParaRPr>
            </a:p>
          </p:txBody>
        </p:sp>
        <p:sp>
          <p:nvSpPr>
            <p:cNvPr id="77" name="Freeform 68"/>
            <p:cNvSpPr>
              <a:spLocks noEditPoints="1"/>
            </p:cNvSpPr>
            <p:nvPr/>
          </p:nvSpPr>
          <p:spPr bwMode="auto">
            <a:xfrm>
              <a:off x="1644650" y="2241550"/>
              <a:ext cx="925513" cy="641350"/>
            </a:xfrm>
            <a:custGeom>
              <a:avLst/>
              <a:gdLst>
                <a:gd name="T0" fmla="*/ 2147483647 w 984"/>
                <a:gd name="T1" fmla="*/ 2147483647 h 681"/>
                <a:gd name="T2" fmla="*/ 2147483647 w 984"/>
                <a:gd name="T3" fmla="*/ 2147483647 h 681"/>
                <a:gd name="T4" fmla="*/ 2147483647 w 984"/>
                <a:gd name="T5" fmla="*/ 2147483647 h 681"/>
                <a:gd name="T6" fmla="*/ 2147483647 w 984"/>
                <a:gd name="T7" fmla="*/ 0 h 681"/>
                <a:gd name="T8" fmla="*/ 2147483647 w 984"/>
                <a:gd name="T9" fmla="*/ 0 h 681"/>
                <a:gd name="T10" fmla="*/ 2147483647 w 984"/>
                <a:gd name="T11" fmla="*/ 2147483647 h 681"/>
                <a:gd name="T12" fmla="*/ 2147483647 w 984"/>
                <a:gd name="T13" fmla="*/ 2147483647 h 681"/>
                <a:gd name="T14" fmla="*/ 0 w 984"/>
                <a:gd name="T15" fmla="*/ 2147483647 h 681"/>
                <a:gd name="T16" fmla="*/ 0 w 984"/>
                <a:gd name="T17" fmla="*/ 2147483647 h 681"/>
                <a:gd name="T18" fmla="*/ 2147483647 w 984"/>
                <a:gd name="T19" fmla="*/ 2147483647 h 681"/>
                <a:gd name="T20" fmla="*/ 2147483647 w 984"/>
                <a:gd name="T21" fmla="*/ 2147483647 h 681"/>
                <a:gd name="T22" fmla="*/ 2147483647 w 984"/>
                <a:gd name="T23" fmla="*/ 2147483647 h 681"/>
                <a:gd name="T24" fmla="*/ 2147483647 w 984"/>
                <a:gd name="T25" fmla="*/ 2147483647 h 681"/>
                <a:gd name="T26" fmla="*/ 2147483647 w 984"/>
                <a:gd name="T27" fmla="*/ 2147483647 h 681"/>
                <a:gd name="T28" fmla="*/ 2147483647 w 984"/>
                <a:gd name="T29" fmla="*/ 2147483647 h 681"/>
                <a:gd name="T30" fmla="*/ 2147483647 w 984"/>
                <a:gd name="T31" fmla="*/ 2147483647 h 681"/>
                <a:gd name="T32" fmla="*/ 2147483647 w 984"/>
                <a:gd name="T33" fmla="*/ 2147483647 h 681"/>
                <a:gd name="T34" fmla="*/ 2147483647 w 984"/>
                <a:gd name="T35" fmla="*/ 2147483647 h 681"/>
                <a:gd name="T36" fmla="*/ 2147483647 w 984"/>
                <a:gd name="T37" fmla="*/ 2147483647 h 681"/>
                <a:gd name="T38" fmla="*/ 2147483647 w 984"/>
                <a:gd name="T39" fmla="*/ 2147483647 h 681"/>
                <a:gd name="T40" fmla="*/ 2147483647 w 984"/>
                <a:gd name="T41" fmla="*/ 2147483647 h 681"/>
                <a:gd name="T42" fmla="*/ 2147483647 w 984"/>
                <a:gd name="T43" fmla="*/ 2147483647 h 681"/>
                <a:gd name="T44" fmla="*/ 2147483647 w 984"/>
                <a:gd name="T45" fmla="*/ 2147483647 h 681"/>
                <a:gd name="T46" fmla="*/ 2147483647 w 984"/>
                <a:gd name="T47" fmla="*/ 2147483647 h 681"/>
                <a:gd name="T48" fmla="*/ 2147483647 w 984"/>
                <a:gd name="T49" fmla="*/ 2147483647 h 681"/>
                <a:gd name="T50" fmla="*/ 2147483647 w 984"/>
                <a:gd name="T51" fmla="*/ 2147483647 h 681"/>
                <a:gd name="T52" fmla="*/ 2147483647 w 984"/>
                <a:gd name="T53" fmla="*/ 2147483647 h 681"/>
                <a:gd name="T54" fmla="*/ 2147483647 w 984"/>
                <a:gd name="T55" fmla="*/ 2147483647 h 681"/>
                <a:gd name="T56" fmla="*/ 2147483647 w 984"/>
                <a:gd name="T57" fmla="*/ 2147483647 h 681"/>
                <a:gd name="T58" fmla="*/ 2147483647 w 984"/>
                <a:gd name="T59" fmla="*/ 2147483647 h 681"/>
                <a:gd name="T60" fmla="*/ 2147483647 w 984"/>
                <a:gd name="T61" fmla="*/ 2147483647 h 681"/>
                <a:gd name="T62" fmla="*/ 2147483647 w 984"/>
                <a:gd name="T63" fmla="*/ 2147483647 h 681"/>
                <a:gd name="T64" fmla="*/ 2147483647 w 984"/>
                <a:gd name="T65" fmla="*/ 2147483647 h 681"/>
                <a:gd name="T66" fmla="*/ 2147483647 w 984"/>
                <a:gd name="T67" fmla="*/ 2147483647 h 681"/>
                <a:gd name="T68" fmla="*/ 2147483647 w 984"/>
                <a:gd name="T69" fmla="*/ 2147483647 h 681"/>
                <a:gd name="T70" fmla="*/ 2147483647 w 984"/>
                <a:gd name="T71" fmla="*/ 2147483647 h 681"/>
                <a:gd name="T72" fmla="*/ 2147483647 w 984"/>
                <a:gd name="T73" fmla="*/ 2147483647 h 681"/>
                <a:gd name="T74" fmla="*/ 2147483647 w 984"/>
                <a:gd name="T75" fmla="*/ 2147483647 h 681"/>
                <a:gd name="T76" fmla="*/ 2147483647 w 984"/>
                <a:gd name="T77" fmla="*/ 2147483647 h 681"/>
                <a:gd name="T78" fmla="*/ 2147483647 w 984"/>
                <a:gd name="T79" fmla="*/ 2147483647 h 681"/>
                <a:gd name="T80" fmla="*/ 2147483647 w 984"/>
                <a:gd name="T81" fmla="*/ 2147483647 h 681"/>
                <a:gd name="T82" fmla="*/ 2147483647 w 984"/>
                <a:gd name="T83" fmla="*/ 2147483647 h 681"/>
                <a:gd name="T84" fmla="*/ 2147483647 w 984"/>
                <a:gd name="T85" fmla="*/ 2147483647 h 681"/>
                <a:gd name="T86" fmla="*/ 2147483647 w 984"/>
                <a:gd name="T87" fmla="*/ 2147483647 h 681"/>
                <a:gd name="T88" fmla="*/ 2147483647 w 984"/>
                <a:gd name="T89" fmla="*/ 2147483647 h 681"/>
                <a:gd name="T90" fmla="*/ 2147483647 w 984"/>
                <a:gd name="T91" fmla="*/ 2147483647 h 681"/>
                <a:gd name="T92" fmla="*/ 2147483647 w 984"/>
                <a:gd name="T93" fmla="*/ 2147483647 h 681"/>
                <a:gd name="T94" fmla="*/ 2147483647 w 984"/>
                <a:gd name="T95" fmla="*/ 2147483647 h 681"/>
                <a:gd name="T96" fmla="*/ 2147483647 w 984"/>
                <a:gd name="T97" fmla="*/ 2147483647 h 681"/>
                <a:gd name="T98" fmla="*/ 2147483647 w 984"/>
                <a:gd name="T99" fmla="*/ 2147483647 h 681"/>
                <a:gd name="T100" fmla="*/ 2147483647 w 984"/>
                <a:gd name="T101" fmla="*/ 2147483647 h 681"/>
                <a:gd name="T102" fmla="*/ 2147483647 w 984"/>
                <a:gd name="T103" fmla="*/ 2147483647 h 681"/>
                <a:gd name="T104" fmla="*/ 2147483647 w 984"/>
                <a:gd name="T105" fmla="*/ 2147483647 h 681"/>
                <a:gd name="T106" fmla="*/ 2147483647 w 984"/>
                <a:gd name="T107" fmla="*/ 2147483647 h 681"/>
                <a:gd name="T108" fmla="*/ 2147483647 w 984"/>
                <a:gd name="T109" fmla="*/ 2147483647 h 681"/>
                <a:gd name="T110" fmla="*/ 2147483647 w 984"/>
                <a:gd name="T111" fmla="*/ 2147483647 h 68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84"/>
                <a:gd name="T169" fmla="*/ 0 h 681"/>
                <a:gd name="T170" fmla="*/ 984 w 984"/>
                <a:gd name="T171" fmla="*/ 681 h 68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84" h="681">
                  <a:moveTo>
                    <a:pt x="950" y="151"/>
                  </a:moveTo>
                  <a:cubicBezTo>
                    <a:pt x="625" y="151"/>
                    <a:pt x="625" y="151"/>
                    <a:pt x="625" y="151"/>
                  </a:cubicBezTo>
                  <a:cubicBezTo>
                    <a:pt x="625" y="41"/>
                    <a:pt x="625" y="41"/>
                    <a:pt x="625" y="41"/>
                  </a:cubicBezTo>
                  <a:cubicBezTo>
                    <a:pt x="625" y="18"/>
                    <a:pt x="613" y="0"/>
                    <a:pt x="590" y="0"/>
                  </a:cubicBezTo>
                  <a:cubicBezTo>
                    <a:pt x="101" y="0"/>
                    <a:pt x="101" y="0"/>
                    <a:pt x="101" y="0"/>
                  </a:cubicBezTo>
                  <a:cubicBezTo>
                    <a:pt x="109" y="11"/>
                    <a:pt x="114" y="26"/>
                    <a:pt x="114" y="41"/>
                  </a:cubicBezTo>
                  <a:cubicBezTo>
                    <a:pt x="114" y="80"/>
                    <a:pt x="82" y="113"/>
                    <a:pt x="42" y="113"/>
                  </a:cubicBezTo>
                  <a:cubicBezTo>
                    <a:pt x="26" y="113"/>
                    <a:pt x="12" y="107"/>
                    <a:pt x="0" y="99"/>
                  </a:cubicBezTo>
                  <a:cubicBezTo>
                    <a:pt x="0" y="639"/>
                    <a:pt x="0" y="639"/>
                    <a:pt x="0" y="639"/>
                  </a:cubicBezTo>
                  <a:cubicBezTo>
                    <a:pt x="0" y="662"/>
                    <a:pt x="18" y="680"/>
                    <a:pt x="41" y="680"/>
                  </a:cubicBezTo>
                  <a:cubicBezTo>
                    <a:pt x="474" y="680"/>
                    <a:pt x="474" y="680"/>
                    <a:pt x="474" y="680"/>
                  </a:cubicBezTo>
                  <a:cubicBezTo>
                    <a:pt x="478" y="681"/>
                    <a:pt x="481" y="681"/>
                    <a:pt x="484" y="681"/>
                  </a:cubicBezTo>
                  <a:cubicBezTo>
                    <a:pt x="943" y="681"/>
                    <a:pt x="943" y="681"/>
                    <a:pt x="943" y="681"/>
                  </a:cubicBezTo>
                  <a:cubicBezTo>
                    <a:pt x="966" y="681"/>
                    <a:pt x="984" y="663"/>
                    <a:pt x="984" y="640"/>
                  </a:cubicBezTo>
                  <a:cubicBezTo>
                    <a:pt x="984" y="192"/>
                    <a:pt x="984" y="192"/>
                    <a:pt x="984" y="192"/>
                  </a:cubicBezTo>
                  <a:cubicBezTo>
                    <a:pt x="984" y="169"/>
                    <a:pt x="973" y="151"/>
                    <a:pt x="950" y="151"/>
                  </a:cubicBezTo>
                  <a:close/>
                  <a:moveTo>
                    <a:pt x="465" y="121"/>
                  </a:moveTo>
                  <a:cubicBezTo>
                    <a:pt x="515" y="121"/>
                    <a:pt x="515" y="121"/>
                    <a:pt x="515" y="121"/>
                  </a:cubicBezTo>
                  <a:cubicBezTo>
                    <a:pt x="515" y="188"/>
                    <a:pt x="515" y="188"/>
                    <a:pt x="515" y="188"/>
                  </a:cubicBezTo>
                  <a:cubicBezTo>
                    <a:pt x="465" y="188"/>
                    <a:pt x="465" y="188"/>
                    <a:pt x="465" y="188"/>
                  </a:cubicBezTo>
                  <a:lnTo>
                    <a:pt x="465" y="121"/>
                  </a:lnTo>
                  <a:close/>
                  <a:moveTo>
                    <a:pt x="161" y="550"/>
                  </a:moveTo>
                  <a:cubicBezTo>
                    <a:pt x="112" y="550"/>
                    <a:pt x="112" y="550"/>
                    <a:pt x="112" y="550"/>
                  </a:cubicBezTo>
                  <a:cubicBezTo>
                    <a:pt x="112" y="483"/>
                    <a:pt x="112" y="483"/>
                    <a:pt x="112" y="483"/>
                  </a:cubicBezTo>
                  <a:cubicBezTo>
                    <a:pt x="161" y="483"/>
                    <a:pt x="161" y="483"/>
                    <a:pt x="161" y="483"/>
                  </a:cubicBezTo>
                  <a:lnTo>
                    <a:pt x="161" y="550"/>
                  </a:lnTo>
                  <a:close/>
                  <a:moveTo>
                    <a:pt x="161" y="309"/>
                  </a:moveTo>
                  <a:cubicBezTo>
                    <a:pt x="112" y="309"/>
                    <a:pt x="112" y="309"/>
                    <a:pt x="112" y="309"/>
                  </a:cubicBezTo>
                  <a:cubicBezTo>
                    <a:pt x="112" y="241"/>
                    <a:pt x="112" y="241"/>
                    <a:pt x="112" y="241"/>
                  </a:cubicBezTo>
                  <a:cubicBezTo>
                    <a:pt x="161" y="241"/>
                    <a:pt x="161" y="241"/>
                    <a:pt x="161" y="241"/>
                  </a:cubicBezTo>
                  <a:lnTo>
                    <a:pt x="161" y="309"/>
                  </a:lnTo>
                  <a:close/>
                  <a:moveTo>
                    <a:pt x="279" y="550"/>
                  </a:moveTo>
                  <a:cubicBezTo>
                    <a:pt x="230" y="550"/>
                    <a:pt x="230" y="550"/>
                    <a:pt x="230" y="550"/>
                  </a:cubicBezTo>
                  <a:cubicBezTo>
                    <a:pt x="230" y="483"/>
                    <a:pt x="230" y="483"/>
                    <a:pt x="230" y="483"/>
                  </a:cubicBezTo>
                  <a:cubicBezTo>
                    <a:pt x="279" y="483"/>
                    <a:pt x="279" y="483"/>
                    <a:pt x="279" y="483"/>
                  </a:cubicBezTo>
                  <a:lnTo>
                    <a:pt x="279" y="550"/>
                  </a:lnTo>
                  <a:close/>
                  <a:moveTo>
                    <a:pt x="397" y="188"/>
                  </a:moveTo>
                  <a:cubicBezTo>
                    <a:pt x="347" y="188"/>
                    <a:pt x="347" y="188"/>
                    <a:pt x="347" y="188"/>
                  </a:cubicBezTo>
                  <a:cubicBezTo>
                    <a:pt x="347" y="121"/>
                    <a:pt x="347" y="121"/>
                    <a:pt x="347" y="121"/>
                  </a:cubicBezTo>
                  <a:cubicBezTo>
                    <a:pt x="397" y="121"/>
                    <a:pt x="397" y="121"/>
                    <a:pt x="397" y="121"/>
                  </a:cubicBezTo>
                  <a:lnTo>
                    <a:pt x="397" y="188"/>
                  </a:lnTo>
                  <a:close/>
                  <a:moveTo>
                    <a:pt x="903" y="599"/>
                  </a:moveTo>
                  <a:cubicBezTo>
                    <a:pt x="625" y="599"/>
                    <a:pt x="625" y="599"/>
                    <a:pt x="625" y="599"/>
                  </a:cubicBezTo>
                  <a:cubicBezTo>
                    <a:pt x="625" y="551"/>
                    <a:pt x="625" y="551"/>
                    <a:pt x="625" y="551"/>
                  </a:cubicBezTo>
                  <a:cubicBezTo>
                    <a:pt x="903" y="551"/>
                    <a:pt x="903" y="551"/>
                    <a:pt x="903" y="551"/>
                  </a:cubicBezTo>
                  <a:lnTo>
                    <a:pt x="903" y="599"/>
                  </a:lnTo>
                  <a:close/>
                  <a:moveTo>
                    <a:pt x="903" y="469"/>
                  </a:moveTo>
                  <a:cubicBezTo>
                    <a:pt x="625" y="469"/>
                    <a:pt x="625" y="469"/>
                    <a:pt x="625" y="469"/>
                  </a:cubicBezTo>
                  <a:cubicBezTo>
                    <a:pt x="625" y="420"/>
                    <a:pt x="625" y="420"/>
                    <a:pt x="625" y="420"/>
                  </a:cubicBezTo>
                  <a:cubicBezTo>
                    <a:pt x="903" y="420"/>
                    <a:pt x="903" y="420"/>
                    <a:pt x="903" y="420"/>
                  </a:cubicBezTo>
                  <a:lnTo>
                    <a:pt x="903" y="469"/>
                  </a:lnTo>
                  <a:close/>
                  <a:moveTo>
                    <a:pt x="903" y="339"/>
                  </a:moveTo>
                  <a:cubicBezTo>
                    <a:pt x="625" y="339"/>
                    <a:pt x="625" y="339"/>
                    <a:pt x="625" y="339"/>
                  </a:cubicBezTo>
                  <a:cubicBezTo>
                    <a:pt x="625" y="290"/>
                    <a:pt x="625" y="290"/>
                    <a:pt x="625" y="290"/>
                  </a:cubicBezTo>
                  <a:cubicBezTo>
                    <a:pt x="903" y="290"/>
                    <a:pt x="903" y="290"/>
                    <a:pt x="903" y="290"/>
                  </a:cubicBezTo>
                  <a:lnTo>
                    <a:pt x="903" y="339"/>
                  </a:lnTo>
                  <a:close/>
                </a:path>
              </a:pathLst>
            </a:custGeom>
            <a:grpFill/>
            <a:ln w="9525">
              <a:noFill/>
              <a:round/>
              <a:headEnd/>
              <a:tailEnd/>
            </a:ln>
          </p:spPr>
          <p:txBody>
            <a:bodyPr wrap="square" lIns="0" tIns="0" rIns="0" bIns="0">
              <a:noAutofit/>
            </a:bodyPr>
            <a:lstStyle/>
            <a:p>
              <a:pPr>
                <a:defRPr/>
              </a:pPr>
              <a:endParaRPr lang="en-US" sz="2800">
                <a:latin typeface="+mn-lt"/>
                <a:cs typeface="MS PGothic" pitchFamily="34" charset="-128"/>
              </a:endParaRPr>
            </a:p>
          </p:txBody>
        </p:sp>
      </p:grpSp>
      <p:sp>
        <p:nvSpPr>
          <p:cNvPr id="78" name="TextBox 77"/>
          <p:cNvSpPr txBox="1"/>
          <p:nvPr/>
        </p:nvSpPr>
        <p:spPr>
          <a:xfrm>
            <a:off x="4221858" y="4166777"/>
            <a:ext cx="1644200" cy="253916"/>
          </a:xfrm>
          <a:prstGeom prst="rect">
            <a:avLst/>
          </a:prstGeom>
          <a:noFill/>
        </p:spPr>
        <p:txBody>
          <a:bodyPr wrap="square" rtlCol="0">
            <a:spAutoFit/>
          </a:bodyPr>
          <a:lstStyle/>
          <a:p>
            <a:pPr algn="ctr"/>
            <a:r>
              <a:rPr lang="en-US" sz="1050" dirty="0">
                <a:latin typeface="+mn-lt"/>
                <a:cs typeface="Calibri" pitchFamily="34" charset="0"/>
              </a:rPr>
              <a:t>Aulas &amp; Labs</a:t>
            </a:r>
          </a:p>
        </p:txBody>
      </p:sp>
      <p:sp>
        <p:nvSpPr>
          <p:cNvPr id="156" name="TextBox 155"/>
          <p:cNvSpPr txBox="1"/>
          <p:nvPr/>
        </p:nvSpPr>
        <p:spPr>
          <a:xfrm>
            <a:off x="6340433" y="4309454"/>
            <a:ext cx="918384" cy="253916"/>
          </a:xfrm>
          <a:prstGeom prst="rect">
            <a:avLst/>
          </a:prstGeom>
          <a:noFill/>
        </p:spPr>
        <p:txBody>
          <a:bodyPr wrap="square" rtlCol="0">
            <a:spAutoFit/>
          </a:bodyPr>
          <a:lstStyle/>
          <a:p>
            <a:pPr algn="ctr"/>
            <a:r>
              <a:rPr lang="en-US" sz="1050" dirty="0">
                <a:latin typeface="+mn-lt"/>
                <a:cs typeface="Calibri" pitchFamily="34" charset="0"/>
              </a:rPr>
              <a:t>Aulas</a:t>
            </a:r>
          </a:p>
        </p:txBody>
      </p:sp>
      <p:grpSp>
        <p:nvGrpSpPr>
          <p:cNvPr id="202" name="Group 327"/>
          <p:cNvGrpSpPr>
            <a:grpSpLocks/>
          </p:cNvGrpSpPr>
          <p:nvPr/>
        </p:nvGrpSpPr>
        <p:grpSpPr bwMode="auto">
          <a:xfrm>
            <a:off x="4105298" y="3997257"/>
            <a:ext cx="371593" cy="335410"/>
            <a:chOff x="5184" y="2057"/>
            <a:chExt cx="250" cy="224"/>
          </a:xfrm>
        </p:grpSpPr>
        <p:sp>
          <p:nvSpPr>
            <p:cNvPr id="242" name="Freeform 328"/>
            <p:cNvSpPr>
              <a:spLocks noChangeArrowheads="1"/>
            </p:cNvSpPr>
            <p:nvPr/>
          </p:nvSpPr>
          <p:spPr bwMode="auto">
            <a:xfrm>
              <a:off x="5184" y="2069"/>
              <a:ext cx="204" cy="99"/>
            </a:xfrm>
            <a:custGeom>
              <a:avLst/>
              <a:gdLst>
                <a:gd name="T0" fmla="*/ 181 w 904"/>
                <a:gd name="T1" fmla="*/ 0 h 439"/>
                <a:gd name="T2" fmla="*/ 23 w 904"/>
                <a:gd name="T3" fmla="*/ 0 h 439"/>
                <a:gd name="T4" fmla="*/ 0 w 904"/>
                <a:gd name="T5" fmla="*/ 19 h 439"/>
                <a:gd name="T6" fmla="*/ 0 w 904"/>
                <a:gd name="T7" fmla="*/ 79 h 439"/>
                <a:gd name="T8" fmla="*/ 23 w 904"/>
                <a:gd name="T9" fmla="*/ 99 h 439"/>
                <a:gd name="T10" fmla="*/ 181 w 904"/>
                <a:gd name="T11" fmla="*/ 99 h 439"/>
                <a:gd name="T12" fmla="*/ 204 w 904"/>
                <a:gd name="T13" fmla="*/ 79 h 439"/>
                <a:gd name="T14" fmla="*/ 204 w 904"/>
                <a:gd name="T15" fmla="*/ 19 h 439"/>
                <a:gd name="T16" fmla="*/ 181 w 904"/>
                <a:gd name="T17" fmla="*/ 0 h 4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4" h="439">
                  <a:moveTo>
                    <a:pt x="801" y="0"/>
                  </a:moveTo>
                  <a:lnTo>
                    <a:pt x="103" y="0"/>
                  </a:lnTo>
                  <a:cubicBezTo>
                    <a:pt x="46" y="0"/>
                    <a:pt x="0" y="38"/>
                    <a:pt x="0" y="86"/>
                  </a:cubicBezTo>
                  <a:lnTo>
                    <a:pt x="0" y="352"/>
                  </a:lnTo>
                  <a:cubicBezTo>
                    <a:pt x="0" y="399"/>
                    <a:pt x="46" y="438"/>
                    <a:pt x="103" y="438"/>
                  </a:cubicBezTo>
                  <a:lnTo>
                    <a:pt x="801" y="438"/>
                  </a:lnTo>
                  <a:cubicBezTo>
                    <a:pt x="858" y="438"/>
                    <a:pt x="903" y="399"/>
                    <a:pt x="903" y="352"/>
                  </a:cubicBezTo>
                  <a:lnTo>
                    <a:pt x="903" y="86"/>
                  </a:lnTo>
                  <a:cubicBezTo>
                    <a:pt x="903" y="38"/>
                    <a:pt x="858" y="0"/>
                    <a:pt x="801" y="0"/>
                  </a:cubicBezTo>
                </a:path>
              </a:pathLst>
            </a:custGeom>
            <a:solidFill>
              <a:schemeClr val="bg2"/>
            </a:solidFill>
            <a:ln w="9525" cap="flat">
              <a:noFill/>
              <a:bevel/>
              <a:headEnd/>
              <a:tailEnd/>
            </a:ln>
            <a:effectLst/>
          </p:spPr>
          <p:txBody>
            <a:bodyPr wrap="none" anchor="ctr"/>
            <a:lstStyle/>
            <a:p>
              <a:endParaRPr lang="en-US" sz="1050">
                <a:latin typeface="+mn-lt"/>
              </a:endParaRPr>
            </a:p>
          </p:txBody>
        </p:sp>
        <p:sp>
          <p:nvSpPr>
            <p:cNvPr id="243" name="Freeform 329"/>
            <p:cNvSpPr>
              <a:spLocks noChangeArrowheads="1"/>
            </p:cNvSpPr>
            <p:nvPr/>
          </p:nvSpPr>
          <p:spPr bwMode="auto">
            <a:xfrm>
              <a:off x="5399" y="2085"/>
              <a:ext cx="16" cy="16"/>
            </a:xfrm>
            <a:custGeom>
              <a:avLst/>
              <a:gdLst>
                <a:gd name="T0" fmla="*/ 16 w 77"/>
                <a:gd name="T1" fmla="*/ 8 h 76"/>
                <a:gd name="T2" fmla="*/ 8 w 77"/>
                <a:gd name="T3" fmla="*/ 0 h 76"/>
                <a:gd name="T4" fmla="*/ 0 w 77"/>
                <a:gd name="T5" fmla="*/ 8 h 76"/>
                <a:gd name="T6" fmla="*/ 8 w 77"/>
                <a:gd name="T7" fmla="*/ 16 h 76"/>
                <a:gd name="T8" fmla="*/ 16 w 77"/>
                <a:gd name="T9" fmla="*/ 8 h 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7" h="76">
                  <a:moveTo>
                    <a:pt x="76" y="37"/>
                  </a:moveTo>
                  <a:cubicBezTo>
                    <a:pt x="76" y="17"/>
                    <a:pt x="59" y="0"/>
                    <a:pt x="38" y="0"/>
                  </a:cubicBezTo>
                  <a:cubicBezTo>
                    <a:pt x="17" y="0"/>
                    <a:pt x="0" y="17"/>
                    <a:pt x="0" y="37"/>
                  </a:cubicBezTo>
                  <a:cubicBezTo>
                    <a:pt x="0" y="58"/>
                    <a:pt x="17" y="75"/>
                    <a:pt x="38" y="75"/>
                  </a:cubicBezTo>
                  <a:cubicBezTo>
                    <a:pt x="59" y="75"/>
                    <a:pt x="76" y="58"/>
                    <a:pt x="76" y="37"/>
                  </a:cubicBezTo>
                </a:path>
              </a:pathLst>
            </a:custGeom>
            <a:solidFill>
              <a:schemeClr val="bg2"/>
            </a:solidFill>
            <a:ln w="9525" cap="flat">
              <a:noFill/>
              <a:bevel/>
              <a:headEnd/>
              <a:tailEnd/>
            </a:ln>
            <a:effectLst/>
          </p:spPr>
          <p:txBody>
            <a:bodyPr wrap="none" anchor="ctr"/>
            <a:lstStyle/>
            <a:p>
              <a:endParaRPr lang="en-US" sz="1050">
                <a:latin typeface="+mn-lt"/>
              </a:endParaRPr>
            </a:p>
          </p:txBody>
        </p:sp>
        <p:sp>
          <p:nvSpPr>
            <p:cNvPr id="244" name="Freeform 330"/>
            <p:cNvSpPr>
              <a:spLocks noChangeArrowheads="1"/>
            </p:cNvSpPr>
            <p:nvPr/>
          </p:nvSpPr>
          <p:spPr bwMode="auto">
            <a:xfrm>
              <a:off x="5406" y="2057"/>
              <a:ext cx="28" cy="225"/>
            </a:xfrm>
            <a:custGeom>
              <a:avLst/>
              <a:gdLst>
                <a:gd name="T0" fmla="*/ 28 w 128"/>
                <a:gd name="T1" fmla="*/ 216 h 996"/>
                <a:gd name="T2" fmla="*/ 28 w 128"/>
                <a:gd name="T3" fmla="*/ 11 h 996"/>
                <a:gd name="T4" fmla="*/ 14 w 128"/>
                <a:gd name="T5" fmla="*/ 0 h 996"/>
                <a:gd name="T6" fmla="*/ 0 w 128"/>
                <a:gd name="T7" fmla="*/ 11 h 996"/>
                <a:gd name="T8" fmla="*/ 0 w 128"/>
                <a:gd name="T9" fmla="*/ 15 h 996"/>
                <a:gd name="T10" fmla="*/ 1 w 128"/>
                <a:gd name="T11" fmla="*/ 15 h 996"/>
                <a:gd name="T12" fmla="*/ 23 w 128"/>
                <a:gd name="T13" fmla="*/ 37 h 996"/>
                <a:gd name="T14" fmla="*/ 1 w 128"/>
                <a:gd name="T15" fmla="*/ 59 h 996"/>
                <a:gd name="T16" fmla="*/ 0 w 128"/>
                <a:gd name="T17" fmla="*/ 59 h 996"/>
                <a:gd name="T18" fmla="*/ 0 w 128"/>
                <a:gd name="T19" fmla="*/ 216 h 996"/>
                <a:gd name="T20" fmla="*/ 13 w 128"/>
                <a:gd name="T21" fmla="*/ 225 h 996"/>
                <a:gd name="T22" fmla="*/ 28 w 128"/>
                <a:gd name="T23" fmla="*/ 216 h 9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8" h="996">
                  <a:moveTo>
                    <a:pt x="127" y="956"/>
                  </a:moveTo>
                  <a:lnTo>
                    <a:pt x="127" y="47"/>
                  </a:lnTo>
                  <a:cubicBezTo>
                    <a:pt x="127" y="2"/>
                    <a:pt x="65" y="0"/>
                    <a:pt x="65" y="0"/>
                  </a:cubicBezTo>
                  <a:cubicBezTo>
                    <a:pt x="3" y="0"/>
                    <a:pt x="0" y="47"/>
                    <a:pt x="0" y="47"/>
                  </a:cubicBezTo>
                  <a:lnTo>
                    <a:pt x="0" y="66"/>
                  </a:lnTo>
                  <a:cubicBezTo>
                    <a:pt x="3" y="66"/>
                    <a:pt x="4" y="66"/>
                    <a:pt x="5" y="66"/>
                  </a:cubicBezTo>
                  <a:cubicBezTo>
                    <a:pt x="60" y="66"/>
                    <a:pt x="104" y="109"/>
                    <a:pt x="104" y="163"/>
                  </a:cubicBezTo>
                  <a:cubicBezTo>
                    <a:pt x="104" y="217"/>
                    <a:pt x="60" y="261"/>
                    <a:pt x="5" y="261"/>
                  </a:cubicBezTo>
                  <a:cubicBezTo>
                    <a:pt x="4" y="261"/>
                    <a:pt x="3" y="261"/>
                    <a:pt x="0" y="261"/>
                  </a:cubicBezTo>
                  <a:lnTo>
                    <a:pt x="0" y="957"/>
                  </a:lnTo>
                  <a:cubicBezTo>
                    <a:pt x="0" y="957"/>
                    <a:pt x="3" y="994"/>
                    <a:pt x="61" y="994"/>
                  </a:cubicBezTo>
                  <a:cubicBezTo>
                    <a:pt x="61" y="994"/>
                    <a:pt x="127" y="995"/>
                    <a:pt x="127" y="956"/>
                  </a:cubicBezTo>
                </a:path>
              </a:pathLst>
            </a:custGeom>
            <a:solidFill>
              <a:schemeClr val="bg2"/>
            </a:solidFill>
            <a:ln w="9525" cap="flat">
              <a:noFill/>
              <a:bevel/>
              <a:headEnd/>
              <a:tailEnd/>
            </a:ln>
            <a:effectLst/>
          </p:spPr>
          <p:txBody>
            <a:bodyPr wrap="none" anchor="ctr"/>
            <a:lstStyle/>
            <a:p>
              <a:endParaRPr lang="en-US" sz="1050">
                <a:latin typeface="+mn-lt"/>
              </a:endParaRPr>
            </a:p>
          </p:txBody>
        </p:sp>
        <p:sp>
          <p:nvSpPr>
            <p:cNvPr id="245" name="Freeform 331"/>
            <p:cNvSpPr>
              <a:spLocks noChangeArrowheads="1"/>
            </p:cNvSpPr>
            <p:nvPr/>
          </p:nvSpPr>
          <p:spPr bwMode="auto">
            <a:xfrm>
              <a:off x="5200" y="2117"/>
              <a:ext cx="172" cy="5"/>
            </a:xfrm>
            <a:custGeom>
              <a:avLst/>
              <a:gdLst>
                <a:gd name="T0" fmla="*/ 0 w 764"/>
                <a:gd name="T1" fmla="*/ 5 h 28"/>
                <a:gd name="T2" fmla="*/ 0 w 764"/>
                <a:gd name="T3" fmla="*/ 0 h 28"/>
                <a:gd name="T4" fmla="*/ 172 w 764"/>
                <a:gd name="T5" fmla="*/ 0 h 28"/>
                <a:gd name="T6" fmla="*/ 172 w 764"/>
                <a:gd name="T7" fmla="*/ 5 h 28"/>
                <a:gd name="T8" fmla="*/ 0 w 764"/>
                <a:gd name="T9" fmla="*/ 5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64" h="28">
                  <a:moveTo>
                    <a:pt x="0" y="27"/>
                  </a:moveTo>
                  <a:lnTo>
                    <a:pt x="0" y="0"/>
                  </a:lnTo>
                  <a:lnTo>
                    <a:pt x="763" y="0"/>
                  </a:lnTo>
                  <a:lnTo>
                    <a:pt x="763" y="27"/>
                  </a:lnTo>
                  <a:lnTo>
                    <a:pt x="0" y="27"/>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246" name="Freeform 332"/>
            <p:cNvSpPr>
              <a:spLocks noChangeArrowheads="1"/>
            </p:cNvSpPr>
            <p:nvPr/>
          </p:nvSpPr>
          <p:spPr bwMode="auto">
            <a:xfrm>
              <a:off x="5225" y="2093"/>
              <a:ext cx="5" cy="55"/>
            </a:xfrm>
            <a:custGeom>
              <a:avLst/>
              <a:gdLst>
                <a:gd name="T0" fmla="*/ 0 w 28"/>
                <a:gd name="T1" fmla="*/ 55 h 245"/>
                <a:gd name="T2" fmla="*/ 0 w 28"/>
                <a:gd name="T3" fmla="*/ 0 h 245"/>
                <a:gd name="T4" fmla="*/ 5 w 28"/>
                <a:gd name="T5" fmla="*/ 0 h 245"/>
                <a:gd name="T6" fmla="*/ 5 w 28"/>
                <a:gd name="T7" fmla="*/ 55 h 245"/>
                <a:gd name="T8" fmla="*/ 0 w 28"/>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5">
                  <a:moveTo>
                    <a:pt x="0" y="244"/>
                  </a:moveTo>
                  <a:lnTo>
                    <a:pt x="0" y="0"/>
                  </a:lnTo>
                  <a:lnTo>
                    <a:pt x="27" y="0"/>
                  </a:lnTo>
                  <a:lnTo>
                    <a:pt x="27" y="244"/>
                  </a:lnTo>
                  <a:lnTo>
                    <a:pt x="0" y="244"/>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247" name="Freeform 333"/>
            <p:cNvSpPr>
              <a:spLocks noChangeArrowheads="1"/>
            </p:cNvSpPr>
            <p:nvPr/>
          </p:nvSpPr>
          <p:spPr bwMode="auto">
            <a:xfrm>
              <a:off x="5254" y="2093"/>
              <a:ext cx="5" cy="55"/>
            </a:xfrm>
            <a:custGeom>
              <a:avLst/>
              <a:gdLst>
                <a:gd name="T0" fmla="*/ 0 w 28"/>
                <a:gd name="T1" fmla="*/ 55 h 245"/>
                <a:gd name="T2" fmla="*/ 0 w 28"/>
                <a:gd name="T3" fmla="*/ 0 h 245"/>
                <a:gd name="T4" fmla="*/ 5 w 28"/>
                <a:gd name="T5" fmla="*/ 0 h 245"/>
                <a:gd name="T6" fmla="*/ 5 w 28"/>
                <a:gd name="T7" fmla="*/ 55 h 245"/>
                <a:gd name="T8" fmla="*/ 0 w 28"/>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5">
                  <a:moveTo>
                    <a:pt x="0" y="244"/>
                  </a:moveTo>
                  <a:lnTo>
                    <a:pt x="0" y="0"/>
                  </a:lnTo>
                  <a:lnTo>
                    <a:pt x="27" y="0"/>
                  </a:lnTo>
                  <a:lnTo>
                    <a:pt x="27" y="244"/>
                  </a:lnTo>
                  <a:lnTo>
                    <a:pt x="0" y="244"/>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248" name="Freeform 334"/>
            <p:cNvSpPr>
              <a:spLocks noChangeArrowheads="1"/>
            </p:cNvSpPr>
            <p:nvPr/>
          </p:nvSpPr>
          <p:spPr bwMode="auto">
            <a:xfrm>
              <a:off x="5284" y="2094"/>
              <a:ext cx="5" cy="54"/>
            </a:xfrm>
            <a:custGeom>
              <a:avLst/>
              <a:gdLst>
                <a:gd name="T0" fmla="*/ 0 w 28"/>
                <a:gd name="T1" fmla="*/ 54 h 243"/>
                <a:gd name="T2" fmla="*/ 0 w 28"/>
                <a:gd name="T3" fmla="*/ 0 h 243"/>
                <a:gd name="T4" fmla="*/ 5 w 28"/>
                <a:gd name="T5" fmla="*/ 0 h 243"/>
                <a:gd name="T6" fmla="*/ 5 w 28"/>
                <a:gd name="T7" fmla="*/ 54 h 243"/>
                <a:gd name="T8" fmla="*/ 0 w 28"/>
                <a:gd name="T9" fmla="*/ 54 h 2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3">
                  <a:moveTo>
                    <a:pt x="0" y="242"/>
                  </a:moveTo>
                  <a:lnTo>
                    <a:pt x="0" y="0"/>
                  </a:lnTo>
                  <a:lnTo>
                    <a:pt x="27" y="0"/>
                  </a:lnTo>
                  <a:lnTo>
                    <a:pt x="27" y="242"/>
                  </a:lnTo>
                  <a:lnTo>
                    <a:pt x="0" y="242"/>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249" name="Freeform 335"/>
            <p:cNvSpPr>
              <a:spLocks noChangeArrowheads="1"/>
            </p:cNvSpPr>
            <p:nvPr/>
          </p:nvSpPr>
          <p:spPr bwMode="auto">
            <a:xfrm>
              <a:off x="5314" y="2094"/>
              <a:ext cx="5" cy="54"/>
            </a:xfrm>
            <a:custGeom>
              <a:avLst/>
              <a:gdLst>
                <a:gd name="T0" fmla="*/ 3 w 28"/>
                <a:gd name="T1" fmla="*/ 54 h 244"/>
                <a:gd name="T2" fmla="*/ 0 w 28"/>
                <a:gd name="T3" fmla="*/ 54 h 244"/>
                <a:gd name="T4" fmla="*/ 0 w 28"/>
                <a:gd name="T5" fmla="*/ 0 h 244"/>
                <a:gd name="T6" fmla="*/ 5 w 28"/>
                <a:gd name="T7" fmla="*/ 0 h 244"/>
                <a:gd name="T8" fmla="*/ 5 w 28"/>
                <a:gd name="T9" fmla="*/ 54 h 244"/>
                <a:gd name="T10" fmla="*/ 3 w 28"/>
                <a:gd name="T11" fmla="*/ 54 h 24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244">
                  <a:moveTo>
                    <a:pt x="14" y="243"/>
                  </a:moveTo>
                  <a:lnTo>
                    <a:pt x="0" y="243"/>
                  </a:lnTo>
                  <a:lnTo>
                    <a:pt x="0" y="0"/>
                  </a:lnTo>
                  <a:lnTo>
                    <a:pt x="27" y="0"/>
                  </a:lnTo>
                  <a:lnTo>
                    <a:pt x="27" y="243"/>
                  </a:lnTo>
                  <a:lnTo>
                    <a:pt x="14" y="243"/>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250" name="Freeform 336"/>
            <p:cNvSpPr>
              <a:spLocks noChangeArrowheads="1"/>
            </p:cNvSpPr>
            <p:nvPr/>
          </p:nvSpPr>
          <p:spPr bwMode="auto">
            <a:xfrm>
              <a:off x="5342" y="2093"/>
              <a:ext cx="6" cy="55"/>
            </a:xfrm>
            <a:custGeom>
              <a:avLst/>
              <a:gdLst>
                <a:gd name="T0" fmla="*/ 0 w 29"/>
                <a:gd name="T1" fmla="*/ 55 h 245"/>
                <a:gd name="T2" fmla="*/ 0 w 29"/>
                <a:gd name="T3" fmla="*/ 0 h 245"/>
                <a:gd name="T4" fmla="*/ 6 w 29"/>
                <a:gd name="T5" fmla="*/ 0 h 245"/>
                <a:gd name="T6" fmla="*/ 6 w 29"/>
                <a:gd name="T7" fmla="*/ 55 h 245"/>
                <a:gd name="T8" fmla="*/ 0 w 29"/>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 h="245">
                  <a:moveTo>
                    <a:pt x="0" y="244"/>
                  </a:moveTo>
                  <a:lnTo>
                    <a:pt x="0" y="0"/>
                  </a:lnTo>
                  <a:lnTo>
                    <a:pt x="28" y="0"/>
                  </a:lnTo>
                  <a:lnTo>
                    <a:pt x="28" y="244"/>
                  </a:lnTo>
                  <a:lnTo>
                    <a:pt x="0" y="244"/>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251" name="Freeform 337"/>
            <p:cNvSpPr>
              <a:spLocks noChangeArrowheads="1"/>
            </p:cNvSpPr>
            <p:nvPr/>
          </p:nvSpPr>
          <p:spPr bwMode="auto">
            <a:xfrm>
              <a:off x="5195" y="2089"/>
              <a:ext cx="182" cy="62"/>
            </a:xfrm>
            <a:custGeom>
              <a:avLst/>
              <a:gdLst>
                <a:gd name="T0" fmla="*/ 0 w 809"/>
                <a:gd name="T1" fmla="*/ 62 h 278"/>
                <a:gd name="T2" fmla="*/ 0 w 809"/>
                <a:gd name="T3" fmla="*/ 0 h 278"/>
                <a:gd name="T4" fmla="*/ 182 w 809"/>
                <a:gd name="T5" fmla="*/ 0 h 278"/>
                <a:gd name="T6" fmla="*/ 182 w 809"/>
                <a:gd name="T7" fmla="*/ 59 h 278"/>
                <a:gd name="T8" fmla="*/ 182 w 809"/>
                <a:gd name="T9" fmla="*/ 62 h 278"/>
                <a:gd name="T10" fmla="*/ 0 w 809"/>
                <a:gd name="T11" fmla="*/ 62 h 278"/>
                <a:gd name="T12" fmla="*/ 6 w 809"/>
                <a:gd name="T13" fmla="*/ 56 h 278"/>
                <a:gd name="T14" fmla="*/ 175 w 809"/>
                <a:gd name="T15" fmla="*/ 56 h 278"/>
                <a:gd name="T16" fmla="*/ 175 w 809"/>
                <a:gd name="T17" fmla="*/ 6 h 278"/>
                <a:gd name="T18" fmla="*/ 6 w 809"/>
                <a:gd name="T19" fmla="*/ 6 h 278"/>
                <a:gd name="T20" fmla="*/ 6 w 809"/>
                <a:gd name="T21" fmla="*/ 56 h 2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9" h="278">
                  <a:moveTo>
                    <a:pt x="0" y="277"/>
                  </a:moveTo>
                  <a:lnTo>
                    <a:pt x="0" y="0"/>
                  </a:lnTo>
                  <a:lnTo>
                    <a:pt x="808" y="0"/>
                  </a:lnTo>
                  <a:lnTo>
                    <a:pt x="808" y="263"/>
                  </a:lnTo>
                  <a:lnTo>
                    <a:pt x="808" y="277"/>
                  </a:lnTo>
                  <a:lnTo>
                    <a:pt x="0" y="277"/>
                  </a:lnTo>
                  <a:close/>
                  <a:moveTo>
                    <a:pt x="27" y="249"/>
                  </a:moveTo>
                  <a:lnTo>
                    <a:pt x="780" y="249"/>
                  </a:lnTo>
                  <a:lnTo>
                    <a:pt x="780" y="27"/>
                  </a:lnTo>
                  <a:lnTo>
                    <a:pt x="27" y="27"/>
                  </a:lnTo>
                  <a:lnTo>
                    <a:pt x="27" y="249"/>
                  </a:lnTo>
                  <a:close/>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252" name="Freeform 338"/>
            <p:cNvSpPr>
              <a:spLocks noChangeArrowheads="1"/>
            </p:cNvSpPr>
            <p:nvPr/>
          </p:nvSpPr>
          <p:spPr bwMode="auto">
            <a:xfrm>
              <a:off x="5230" y="2094"/>
              <a:ext cx="24" cy="23"/>
            </a:xfrm>
            <a:custGeom>
              <a:avLst/>
              <a:gdLst>
                <a:gd name="T0" fmla="*/ 12 w 111"/>
                <a:gd name="T1" fmla="*/ 23 h 108"/>
                <a:gd name="T2" fmla="*/ 0 w 111"/>
                <a:gd name="T3" fmla="*/ 23 h 108"/>
                <a:gd name="T4" fmla="*/ 0 w 111"/>
                <a:gd name="T5" fmla="*/ 0 h 108"/>
                <a:gd name="T6" fmla="*/ 24 w 111"/>
                <a:gd name="T7" fmla="*/ 0 h 108"/>
                <a:gd name="T8" fmla="*/ 24 w 111"/>
                <a:gd name="T9" fmla="*/ 23 h 108"/>
                <a:gd name="T10" fmla="*/ 12 w 111"/>
                <a:gd name="T11" fmla="*/ 23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8">
                  <a:moveTo>
                    <a:pt x="54" y="107"/>
                  </a:moveTo>
                  <a:lnTo>
                    <a:pt x="0" y="107"/>
                  </a:lnTo>
                  <a:lnTo>
                    <a:pt x="0" y="0"/>
                  </a:lnTo>
                  <a:lnTo>
                    <a:pt x="110" y="0"/>
                  </a:lnTo>
                  <a:lnTo>
                    <a:pt x="110" y="107"/>
                  </a:lnTo>
                  <a:lnTo>
                    <a:pt x="54" y="107"/>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253" name="Freeform 339"/>
            <p:cNvSpPr>
              <a:spLocks noChangeArrowheads="1"/>
            </p:cNvSpPr>
            <p:nvPr/>
          </p:nvSpPr>
          <p:spPr bwMode="auto">
            <a:xfrm>
              <a:off x="5290" y="2094"/>
              <a:ext cx="24" cy="23"/>
            </a:xfrm>
            <a:custGeom>
              <a:avLst/>
              <a:gdLst>
                <a:gd name="T0" fmla="*/ 12 w 111"/>
                <a:gd name="T1" fmla="*/ 23 h 108"/>
                <a:gd name="T2" fmla="*/ 0 w 111"/>
                <a:gd name="T3" fmla="*/ 23 h 108"/>
                <a:gd name="T4" fmla="*/ 0 w 111"/>
                <a:gd name="T5" fmla="*/ 0 h 108"/>
                <a:gd name="T6" fmla="*/ 24 w 111"/>
                <a:gd name="T7" fmla="*/ 0 h 108"/>
                <a:gd name="T8" fmla="*/ 24 w 111"/>
                <a:gd name="T9" fmla="*/ 23 h 108"/>
                <a:gd name="T10" fmla="*/ 12 w 111"/>
                <a:gd name="T11" fmla="*/ 23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8">
                  <a:moveTo>
                    <a:pt x="55" y="107"/>
                  </a:moveTo>
                  <a:lnTo>
                    <a:pt x="0" y="107"/>
                  </a:lnTo>
                  <a:lnTo>
                    <a:pt x="0" y="0"/>
                  </a:lnTo>
                  <a:lnTo>
                    <a:pt x="110" y="0"/>
                  </a:lnTo>
                  <a:lnTo>
                    <a:pt x="110" y="107"/>
                  </a:lnTo>
                  <a:lnTo>
                    <a:pt x="55" y="107"/>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254" name="Freeform 340"/>
            <p:cNvSpPr>
              <a:spLocks noChangeArrowheads="1"/>
            </p:cNvSpPr>
            <p:nvPr/>
          </p:nvSpPr>
          <p:spPr bwMode="auto">
            <a:xfrm>
              <a:off x="5319" y="2122"/>
              <a:ext cx="24" cy="23"/>
            </a:xfrm>
            <a:custGeom>
              <a:avLst/>
              <a:gdLst>
                <a:gd name="T0" fmla="*/ 12 w 111"/>
                <a:gd name="T1" fmla="*/ 23 h 107"/>
                <a:gd name="T2" fmla="*/ 0 w 111"/>
                <a:gd name="T3" fmla="*/ 23 h 107"/>
                <a:gd name="T4" fmla="*/ 0 w 111"/>
                <a:gd name="T5" fmla="*/ 0 h 107"/>
                <a:gd name="T6" fmla="*/ 24 w 111"/>
                <a:gd name="T7" fmla="*/ 0 h 107"/>
                <a:gd name="T8" fmla="*/ 24 w 111"/>
                <a:gd name="T9" fmla="*/ 23 h 107"/>
                <a:gd name="T10" fmla="*/ 12 w 111"/>
                <a:gd name="T11" fmla="*/ 23 h 1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7">
                  <a:moveTo>
                    <a:pt x="54" y="106"/>
                  </a:moveTo>
                  <a:lnTo>
                    <a:pt x="0" y="106"/>
                  </a:lnTo>
                  <a:lnTo>
                    <a:pt x="0" y="0"/>
                  </a:lnTo>
                  <a:lnTo>
                    <a:pt x="110" y="0"/>
                  </a:lnTo>
                  <a:lnTo>
                    <a:pt x="110" y="106"/>
                  </a:lnTo>
                  <a:lnTo>
                    <a:pt x="54" y="106"/>
                  </a:lnTo>
                </a:path>
              </a:pathLst>
            </a:custGeom>
            <a:solidFill>
              <a:srgbClr val="FFFFFF"/>
            </a:solidFill>
            <a:ln w="9525" cap="flat">
              <a:noFill/>
              <a:bevel/>
              <a:headEnd/>
              <a:tailEnd/>
            </a:ln>
            <a:effectLst/>
          </p:spPr>
          <p:txBody>
            <a:bodyPr wrap="none" anchor="ctr"/>
            <a:lstStyle/>
            <a:p>
              <a:endParaRPr lang="en-US" sz="1050">
                <a:latin typeface="+mn-lt"/>
              </a:endParaRPr>
            </a:p>
          </p:txBody>
        </p:sp>
      </p:grpSp>
      <p:sp>
        <p:nvSpPr>
          <p:cNvPr id="204" name="Freeform 63"/>
          <p:cNvSpPr>
            <a:spLocks noEditPoints="1"/>
          </p:cNvSpPr>
          <p:nvPr/>
        </p:nvSpPr>
        <p:spPr bwMode="auto">
          <a:xfrm>
            <a:off x="2277690" y="3921842"/>
            <a:ext cx="341363" cy="185539"/>
          </a:xfrm>
          <a:custGeom>
            <a:avLst/>
            <a:gdLst>
              <a:gd name="T0" fmla="*/ 258027 w 794"/>
              <a:gd name="T1" fmla="*/ 225462 h 429"/>
              <a:gd name="T2" fmla="*/ 388923 w 794"/>
              <a:gd name="T3" fmla="*/ 392190 h 429"/>
              <a:gd name="T4" fmla="*/ 382331 w 794"/>
              <a:gd name="T5" fmla="*/ 363771 h 429"/>
              <a:gd name="T6" fmla="*/ 382331 w 794"/>
              <a:gd name="T7" fmla="*/ 147782 h 429"/>
              <a:gd name="T8" fmla="*/ 429416 w 794"/>
              <a:gd name="T9" fmla="*/ 90943 h 429"/>
              <a:gd name="T10" fmla="*/ 644125 w 794"/>
              <a:gd name="T11" fmla="*/ 90943 h 429"/>
              <a:gd name="T12" fmla="*/ 420941 w 794"/>
              <a:gd name="T13" fmla="*/ 18946 h 429"/>
              <a:gd name="T14" fmla="*/ 347488 w 794"/>
              <a:gd name="T15" fmla="*/ 2842 h 429"/>
              <a:gd name="T16" fmla="*/ 321121 w 794"/>
              <a:gd name="T17" fmla="*/ 2842 h 429"/>
              <a:gd name="T18" fmla="*/ 324887 w 794"/>
              <a:gd name="T19" fmla="*/ 26525 h 429"/>
              <a:gd name="T20" fmla="*/ 258968 w 794"/>
              <a:gd name="T21" fmla="*/ 92837 h 429"/>
              <a:gd name="T22" fmla="*/ 228834 w 794"/>
              <a:gd name="T23" fmla="*/ 85259 h 429"/>
              <a:gd name="T24" fmla="*/ 228834 w 794"/>
              <a:gd name="T25" fmla="*/ 139256 h 429"/>
              <a:gd name="T26" fmla="*/ 258027 w 794"/>
              <a:gd name="T27" fmla="*/ 225462 h 429"/>
              <a:gd name="T28" fmla="*/ 707219 w 794"/>
              <a:gd name="T29" fmla="*/ 119362 h 429"/>
              <a:gd name="T30" fmla="*/ 451076 w 794"/>
              <a:gd name="T31" fmla="*/ 119362 h 429"/>
              <a:gd name="T32" fmla="*/ 410582 w 794"/>
              <a:gd name="T33" fmla="*/ 167676 h 429"/>
              <a:gd name="T34" fmla="*/ 410582 w 794"/>
              <a:gd name="T35" fmla="*/ 358087 h 429"/>
              <a:gd name="T36" fmla="*/ 451076 w 794"/>
              <a:gd name="T37" fmla="*/ 406400 h 429"/>
              <a:gd name="T38" fmla="*/ 707219 w 794"/>
              <a:gd name="T39" fmla="*/ 406400 h 429"/>
              <a:gd name="T40" fmla="*/ 747712 w 794"/>
              <a:gd name="T41" fmla="*/ 358087 h 429"/>
              <a:gd name="T42" fmla="*/ 747712 w 794"/>
              <a:gd name="T43" fmla="*/ 167676 h 429"/>
              <a:gd name="T44" fmla="*/ 707219 w 794"/>
              <a:gd name="T45" fmla="*/ 119362 h 429"/>
              <a:gd name="T46" fmla="*/ 258027 w 794"/>
              <a:gd name="T47" fmla="*/ 52103 h 429"/>
              <a:gd name="T48" fmla="*/ 284394 w 794"/>
              <a:gd name="T49" fmla="*/ 26525 h 429"/>
              <a:gd name="T50" fmla="*/ 258027 w 794"/>
              <a:gd name="T51" fmla="*/ 0 h 429"/>
              <a:gd name="T52" fmla="*/ 231659 w 794"/>
              <a:gd name="T53" fmla="*/ 26525 h 429"/>
              <a:gd name="T54" fmla="*/ 258027 w 794"/>
              <a:gd name="T55" fmla="*/ 52103 h 429"/>
              <a:gd name="T56" fmla="*/ 75336 w 794"/>
              <a:gd name="T57" fmla="*/ 113678 h 429"/>
              <a:gd name="T58" fmla="*/ 942 w 794"/>
              <a:gd name="T59" fmla="*/ 154413 h 429"/>
              <a:gd name="T60" fmla="*/ 5650 w 794"/>
              <a:gd name="T61" fmla="*/ 181885 h 429"/>
              <a:gd name="T62" fmla="*/ 26368 w 794"/>
              <a:gd name="T63" fmla="*/ 202726 h 429"/>
              <a:gd name="T64" fmla="*/ 96054 w 794"/>
              <a:gd name="T65" fmla="*/ 169570 h 429"/>
              <a:gd name="T66" fmla="*/ 204350 w 794"/>
              <a:gd name="T67" fmla="*/ 159150 h 429"/>
              <a:gd name="T68" fmla="*/ 204350 w 794"/>
              <a:gd name="T69" fmla="*/ 97574 h 429"/>
              <a:gd name="T70" fmla="*/ 75336 w 794"/>
              <a:gd name="T71" fmla="*/ 113678 h 429"/>
              <a:gd name="T72" fmla="*/ 702510 w 794"/>
              <a:gd name="T73" fmla="*/ 263355 h 429"/>
              <a:gd name="T74" fmla="*/ 581031 w 794"/>
              <a:gd name="T75" fmla="*/ 385559 h 429"/>
              <a:gd name="T76" fmla="*/ 459551 w 794"/>
              <a:gd name="T77" fmla="*/ 263355 h 429"/>
              <a:gd name="T78" fmla="*/ 581031 w 794"/>
              <a:gd name="T79" fmla="*/ 141151 h 429"/>
              <a:gd name="T80" fmla="*/ 702510 w 794"/>
              <a:gd name="T81" fmla="*/ 263355 h 4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4"/>
              <a:gd name="T124" fmla="*/ 0 h 429"/>
              <a:gd name="T125" fmla="*/ 794 w 794"/>
              <a:gd name="T126" fmla="*/ 429 h 4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4" h="429">
                <a:moveTo>
                  <a:pt x="274" y="238"/>
                </a:moveTo>
                <a:cubicBezTo>
                  <a:pt x="413" y="414"/>
                  <a:pt x="413" y="414"/>
                  <a:pt x="413" y="414"/>
                </a:cubicBezTo>
                <a:cubicBezTo>
                  <a:pt x="409" y="405"/>
                  <a:pt x="406" y="395"/>
                  <a:pt x="406" y="384"/>
                </a:cubicBezTo>
                <a:cubicBezTo>
                  <a:pt x="406" y="156"/>
                  <a:pt x="406" y="156"/>
                  <a:pt x="406" y="156"/>
                </a:cubicBezTo>
                <a:cubicBezTo>
                  <a:pt x="406" y="123"/>
                  <a:pt x="428" y="96"/>
                  <a:pt x="456" y="96"/>
                </a:cubicBezTo>
                <a:cubicBezTo>
                  <a:pt x="684" y="96"/>
                  <a:pt x="684" y="96"/>
                  <a:pt x="684" y="96"/>
                </a:cubicBezTo>
                <a:cubicBezTo>
                  <a:pt x="447" y="20"/>
                  <a:pt x="447" y="20"/>
                  <a:pt x="447" y="20"/>
                </a:cubicBezTo>
                <a:cubicBezTo>
                  <a:pt x="447" y="20"/>
                  <a:pt x="392" y="3"/>
                  <a:pt x="369" y="3"/>
                </a:cubicBezTo>
                <a:cubicBezTo>
                  <a:pt x="341" y="3"/>
                  <a:pt x="341" y="3"/>
                  <a:pt x="341" y="3"/>
                </a:cubicBezTo>
                <a:cubicBezTo>
                  <a:pt x="344" y="11"/>
                  <a:pt x="345" y="19"/>
                  <a:pt x="345" y="28"/>
                </a:cubicBezTo>
                <a:cubicBezTo>
                  <a:pt x="345" y="67"/>
                  <a:pt x="314" y="98"/>
                  <a:pt x="275" y="98"/>
                </a:cubicBezTo>
                <a:cubicBezTo>
                  <a:pt x="263" y="98"/>
                  <a:pt x="252" y="95"/>
                  <a:pt x="243" y="90"/>
                </a:cubicBezTo>
                <a:cubicBezTo>
                  <a:pt x="243" y="147"/>
                  <a:pt x="243" y="147"/>
                  <a:pt x="243" y="147"/>
                </a:cubicBezTo>
                <a:cubicBezTo>
                  <a:pt x="243" y="206"/>
                  <a:pt x="274" y="238"/>
                  <a:pt x="274" y="238"/>
                </a:cubicBezTo>
                <a:close/>
                <a:moveTo>
                  <a:pt x="751" y="126"/>
                </a:moveTo>
                <a:cubicBezTo>
                  <a:pt x="479" y="126"/>
                  <a:pt x="479" y="126"/>
                  <a:pt x="479" y="126"/>
                </a:cubicBezTo>
                <a:cubicBezTo>
                  <a:pt x="455" y="126"/>
                  <a:pt x="436" y="149"/>
                  <a:pt x="436" y="177"/>
                </a:cubicBezTo>
                <a:cubicBezTo>
                  <a:pt x="436" y="378"/>
                  <a:pt x="436" y="378"/>
                  <a:pt x="436" y="378"/>
                </a:cubicBezTo>
                <a:cubicBezTo>
                  <a:pt x="436" y="406"/>
                  <a:pt x="455" y="429"/>
                  <a:pt x="479" y="429"/>
                </a:cubicBezTo>
                <a:cubicBezTo>
                  <a:pt x="751" y="429"/>
                  <a:pt x="751" y="429"/>
                  <a:pt x="751" y="429"/>
                </a:cubicBezTo>
                <a:cubicBezTo>
                  <a:pt x="775" y="429"/>
                  <a:pt x="794" y="406"/>
                  <a:pt x="794" y="378"/>
                </a:cubicBezTo>
                <a:cubicBezTo>
                  <a:pt x="794" y="177"/>
                  <a:pt x="794" y="177"/>
                  <a:pt x="794" y="177"/>
                </a:cubicBezTo>
                <a:cubicBezTo>
                  <a:pt x="794" y="149"/>
                  <a:pt x="775" y="126"/>
                  <a:pt x="751" y="126"/>
                </a:cubicBezTo>
                <a:close/>
                <a:moveTo>
                  <a:pt x="274" y="55"/>
                </a:moveTo>
                <a:cubicBezTo>
                  <a:pt x="289" y="55"/>
                  <a:pt x="302" y="43"/>
                  <a:pt x="302" y="28"/>
                </a:cubicBezTo>
                <a:cubicBezTo>
                  <a:pt x="302" y="13"/>
                  <a:pt x="289" y="0"/>
                  <a:pt x="274" y="0"/>
                </a:cubicBezTo>
                <a:cubicBezTo>
                  <a:pt x="259" y="0"/>
                  <a:pt x="246" y="13"/>
                  <a:pt x="246" y="28"/>
                </a:cubicBezTo>
                <a:cubicBezTo>
                  <a:pt x="246" y="43"/>
                  <a:pt x="259" y="55"/>
                  <a:pt x="274" y="55"/>
                </a:cubicBezTo>
                <a:close/>
                <a:moveTo>
                  <a:pt x="80" y="120"/>
                </a:moveTo>
                <a:cubicBezTo>
                  <a:pt x="25" y="144"/>
                  <a:pt x="1" y="163"/>
                  <a:pt x="1" y="163"/>
                </a:cubicBezTo>
                <a:cubicBezTo>
                  <a:pt x="1" y="163"/>
                  <a:pt x="0" y="179"/>
                  <a:pt x="6" y="192"/>
                </a:cubicBezTo>
                <a:cubicBezTo>
                  <a:pt x="18" y="214"/>
                  <a:pt x="28" y="214"/>
                  <a:pt x="28" y="214"/>
                </a:cubicBezTo>
                <a:cubicBezTo>
                  <a:pt x="28" y="214"/>
                  <a:pt x="75" y="188"/>
                  <a:pt x="102" y="179"/>
                </a:cubicBezTo>
                <a:cubicBezTo>
                  <a:pt x="160" y="161"/>
                  <a:pt x="217" y="168"/>
                  <a:pt x="217" y="168"/>
                </a:cubicBezTo>
                <a:cubicBezTo>
                  <a:pt x="217" y="103"/>
                  <a:pt x="217" y="103"/>
                  <a:pt x="217" y="103"/>
                </a:cubicBezTo>
                <a:cubicBezTo>
                  <a:pt x="217" y="103"/>
                  <a:pt x="135" y="95"/>
                  <a:pt x="80" y="120"/>
                </a:cubicBezTo>
                <a:close/>
                <a:moveTo>
                  <a:pt x="746" y="278"/>
                </a:moveTo>
                <a:cubicBezTo>
                  <a:pt x="746" y="349"/>
                  <a:pt x="688" y="407"/>
                  <a:pt x="617" y="407"/>
                </a:cubicBezTo>
                <a:cubicBezTo>
                  <a:pt x="546" y="407"/>
                  <a:pt x="488" y="349"/>
                  <a:pt x="488" y="278"/>
                </a:cubicBezTo>
                <a:cubicBezTo>
                  <a:pt x="488" y="207"/>
                  <a:pt x="546" y="149"/>
                  <a:pt x="617" y="149"/>
                </a:cubicBezTo>
                <a:cubicBezTo>
                  <a:pt x="688" y="149"/>
                  <a:pt x="746" y="207"/>
                  <a:pt x="746" y="278"/>
                </a:cubicBezTo>
                <a:close/>
              </a:path>
            </a:pathLst>
          </a:custGeom>
          <a:solidFill>
            <a:schemeClr val="accent4"/>
          </a:solidFill>
          <a:ln w="9525">
            <a:noFill/>
            <a:round/>
            <a:headEnd/>
            <a:tailEnd/>
          </a:ln>
        </p:spPr>
        <p:txBody>
          <a:bodyPr/>
          <a:lstStyle/>
          <a:p>
            <a:endParaRPr lang="en-US" sz="2800">
              <a:latin typeface="+mn-lt"/>
            </a:endParaRPr>
          </a:p>
        </p:txBody>
      </p:sp>
      <p:sp>
        <p:nvSpPr>
          <p:cNvPr id="205" name="Freeform 63"/>
          <p:cNvSpPr>
            <a:spLocks noEditPoints="1"/>
          </p:cNvSpPr>
          <p:nvPr/>
        </p:nvSpPr>
        <p:spPr bwMode="auto">
          <a:xfrm>
            <a:off x="5310012" y="3610280"/>
            <a:ext cx="341363" cy="185539"/>
          </a:xfrm>
          <a:custGeom>
            <a:avLst/>
            <a:gdLst>
              <a:gd name="T0" fmla="*/ 258027 w 794"/>
              <a:gd name="T1" fmla="*/ 225462 h 429"/>
              <a:gd name="T2" fmla="*/ 388923 w 794"/>
              <a:gd name="T3" fmla="*/ 392190 h 429"/>
              <a:gd name="T4" fmla="*/ 382331 w 794"/>
              <a:gd name="T5" fmla="*/ 363771 h 429"/>
              <a:gd name="T6" fmla="*/ 382331 w 794"/>
              <a:gd name="T7" fmla="*/ 147782 h 429"/>
              <a:gd name="T8" fmla="*/ 429416 w 794"/>
              <a:gd name="T9" fmla="*/ 90943 h 429"/>
              <a:gd name="T10" fmla="*/ 644125 w 794"/>
              <a:gd name="T11" fmla="*/ 90943 h 429"/>
              <a:gd name="T12" fmla="*/ 420941 w 794"/>
              <a:gd name="T13" fmla="*/ 18946 h 429"/>
              <a:gd name="T14" fmla="*/ 347488 w 794"/>
              <a:gd name="T15" fmla="*/ 2842 h 429"/>
              <a:gd name="T16" fmla="*/ 321121 w 794"/>
              <a:gd name="T17" fmla="*/ 2842 h 429"/>
              <a:gd name="T18" fmla="*/ 324887 w 794"/>
              <a:gd name="T19" fmla="*/ 26525 h 429"/>
              <a:gd name="T20" fmla="*/ 258968 w 794"/>
              <a:gd name="T21" fmla="*/ 92837 h 429"/>
              <a:gd name="T22" fmla="*/ 228834 w 794"/>
              <a:gd name="T23" fmla="*/ 85259 h 429"/>
              <a:gd name="T24" fmla="*/ 228834 w 794"/>
              <a:gd name="T25" fmla="*/ 139256 h 429"/>
              <a:gd name="T26" fmla="*/ 258027 w 794"/>
              <a:gd name="T27" fmla="*/ 225462 h 429"/>
              <a:gd name="T28" fmla="*/ 707219 w 794"/>
              <a:gd name="T29" fmla="*/ 119362 h 429"/>
              <a:gd name="T30" fmla="*/ 451076 w 794"/>
              <a:gd name="T31" fmla="*/ 119362 h 429"/>
              <a:gd name="T32" fmla="*/ 410582 w 794"/>
              <a:gd name="T33" fmla="*/ 167676 h 429"/>
              <a:gd name="T34" fmla="*/ 410582 w 794"/>
              <a:gd name="T35" fmla="*/ 358087 h 429"/>
              <a:gd name="T36" fmla="*/ 451076 w 794"/>
              <a:gd name="T37" fmla="*/ 406400 h 429"/>
              <a:gd name="T38" fmla="*/ 707219 w 794"/>
              <a:gd name="T39" fmla="*/ 406400 h 429"/>
              <a:gd name="T40" fmla="*/ 747712 w 794"/>
              <a:gd name="T41" fmla="*/ 358087 h 429"/>
              <a:gd name="T42" fmla="*/ 747712 w 794"/>
              <a:gd name="T43" fmla="*/ 167676 h 429"/>
              <a:gd name="T44" fmla="*/ 707219 w 794"/>
              <a:gd name="T45" fmla="*/ 119362 h 429"/>
              <a:gd name="T46" fmla="*/ 258027 w 794"/>
              <a:gd name="T47" fmla="*/ 52103 h 429"/>
              <a:gd name="T48" fmla="*/ 284394 w 794"/>
              <a:gd name="T49" fmla="*/ 26525 h 429"/>
              <a:gd name="T50" fmla="*/ 258027 w 794"/>
              <a:gd name="T51" fmla="*/ 0 h 429"/>
              <a:gd name="T52" fmla="*/ 231659 w 794"/>
              <a:gd name="T53" fmla="*/ 26525 h 429"/>
              <a:gd name="T54" fmla="*/ 258027 w 794"/>
              <a:gd name="T55" fmla="*/ 52103 h 429"/>
              <a:gd name="T56" fmla="*/ 75336 w 794"/>
              <a:gd name="T57" fmla="*/ 113678 h 429"/>
              <a:gd name="T58" fmla="*/ 942 w 794"/>
              <a:gd name="T59" fmla="*/ 154413 h 429"/>
              <a:gd name="T60" fmla="*/ 5650 w 794"/>
              <a:gd name="T61" fmla="*/ 181885 h 429"/>
              <a:gd name="T62" fmla="*/ 26368 w 794"/>
              <a:gd name="T63" fmla="*/ 202726 h 429"/>
              <a:gd name="T64" fmla="*/ 96054 w 794"/>
              <a:gd name="T65" fmla="*/ 169570 h 429"/>
              <a:gd name="T66" fmla="*/ 204350 w 794"/>
              <a:gd name="T67" fmla="*/ 159150 h 429"/>
              <a:gd name="T68" fmla="*/ 204350 w 794"/>
              <a:gd name="T69" fmla="*/ 97574 h 429"/>
              <a:gd name="T70" fmla="*/ 75336 w 794"/>
              <a:gd name="T71" fmla="*/ 113678 h 429"/>
              <a:gd name="T72" fmla="*/ 702510 w 794"/>
              <a:gd name="T73" fmla="*/ 263355 h 429"/>
              <a:gd name="T74" fmla="*/ 581031 w 794"/>
              <a:gd name="T75" fmla="*/ 385559 h 429"/>
              <a:gd name="T76" fmla="*/ 459551 w 794"/>
              <a:gd name="T77" fmla="*/ 263355 h 429"/>
              <a:gd name="T78" fmla="*/ 581031 w 794"/>
              <a:gd name="T79" fmla="*/ 141151 h 429"/>
              <a:gd name="T80" fmla="*/ 702510 w 794"/>
              <a:gd name="T81" fmla="*/ 263355 h 4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4"/>
              <a:gd name="T124" fmla="*/ 0 h 429"/>
              <a:gd name="T125" fmla="*/ 794 w 794"/>
              <a:gd name="T126" fmla="*/ 429 h 4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4" h="429">
                <a:moveTo>
                  <a:pt x="274" y="238"/>
                </a:moveTo>
                <a:cubicBezTo>
                  <a:pt x="413" y="414"/>
                  <a:pt x="413" y="414"/>
                  <a:pt x="413" y="414"/>
                </a:cubicBezTo>
                <a:cubicBezTo>
                  <a:pt x="409" y="405"/>
                  <a:pt x="406" y="395"/>
                  <a:pt x="406" y="384"/>
                </a:cubicBezTo>
                <a:cubicBezTo>
                  <a:pt x="406" y="156"/>
                  <a:pt x="406" y="156"/>
                  <a:pt x="406" y="156"/>
                </a:cubicBezTo>
                <a:cubicBezTo>
                  <a:pt x="406" y="123"/>
                  <a:pt x="428" y="96"/>
                  <a:pt x="456" y="96"/>
                </a:cubicBezTo>
                <a:cubicBezTo>
                  <a:pt x="684" y="96"/>
                  <a:pt x="684" y="96"/>
                  <a:pt x="684" y="96"/>
                </a:cubicBezTo>
                <a:cubicBezTo>
                  <a:pt x="447" y="20"/>
                  <a:pt x="447" y="20"/>
                  <a:pt x="447" y="20"/>
                </a:cubicBezTo>
                <a:cubicBezTo>
                  <a:pt x="447" y="20"/>
                  <a:pt x="392" y="3"/>
                  <a:pt x="369" y="3"/>
                </a:cubicBezTo>
                <a:cubicBezTo>
                  <a:pt x="341" y="3"/>
                  <a:pt x="341" y="3"/>
                  <a:pt x="341" y="3"/>
                </a:cubicBezTo>
                <a:cubicBezTo>
                  <a:pt x="344" y="11"/>
                  <a:pt x="345" y="19"/>
                  <a:pt x="345" y="28"/>
                </a:cubicBezTo>
                <a:cubicBezTo>
                  <a:pt x="345" y="67"/>
                  <a:pt x="314" y="98"/>
                  <a:pt x="275" y="98"/>
                </a:cubicBezTo>
                <a:cubicBezTo>
                  <a:pt x="263" y="98"/>
                  <a:pt x="252" y="95"/>
                  <a:pt x="243" y="90"/>
                </a:cubicBezTo>
                <a:cubicBezTo>
                  <a:pt x="243" y="147"/>
                  <a:pt x="243" y="147"/>
                  <a:pt x="243" y="147"/>
                </a:cubicBezTo>
                <a:cubicBezTo>
                  <a:pt x="243" y="206"/>
                  <a:pt x="274" y="238"/>
                  <a:pt x="274" y="238"/>
                </a:cubicBezTo>
                <a:close/>
                <a:moveTo>
                  <a:pt x="751" y="126"/>
                </a:moveTo>
                <a:cubicBezTo>
                  <a:pt x="479" y="126"/>
                  <a:pt x="479" y="126"/>
                  <a:pt x="479" y="126"/>
                </a:cubicBezTo>
                <a:cubicBezTo>
                  <a:pt x="455" y="126"/>
                  <a:pt x="436" y="149"/>
                  <a:pt x="436" y="177"/>
                </a:cubicBezTo>
                <a:cubicBezTo>
                  <a:pt x="436" y="378"/>
                  <a:pt x="436" y="378"/>
                  <a:pt x="436" y="378"/>
                </a:cubicBezTo>
                <a:cubicBezTo>
                  <a:pt x="436" y="406"/>
                  <a:pt x="455" y="429"/>
                  <a:pt x="479" y="429"/>
                </a:cubicBezTo>
                <a:cubicBezTo>
                  <a:pt x="751" y="429"/>
                  <a:pt x="751" y="429"/>
                  <a:pt x="751" y="429"/>
                </a:cubicBezTo>
                <a:cubicBezTo>
                  <a:pt x="775" y="429"/>
                  <a:pt x="794" y="406"/>
                  <a:pt x="794" y="378"/>
                </a:cubicBezTo>
                <a:cubicBezTo>
                  <a:pt x="794" y="177"/>
                  <a:pt x="794" y="177"/>
                  <a:pt x="794" y="177"/>
                </a:cubicBezTo>
                <a:cubicBezTo>
                  <a:pt x="794" y="149"/>
                  <a:pt x="775" y="126"/>
                  <a:pt x="751" y="126"/>
                </a:cubicBezTo>
                <a:close/>
                <a:moveTo>
                  <a:pt x="274" y="55"/>
                </a:moveTo>
                <a:cubicBezTo>
                  <a:pt x="289" y="55"/>
                  <a:pt x="302" y="43"/>
                  <a:pt x="302" y="28"/>
                </a:cubicBezTo>
                <a:cubicBezTo>
                  <a:pt x="302" y="13"/>
                  <a:pt x="289" y="0"/>
                  <a:pt x="274" y="0"/>
                </a:cubicBezTo>
                <a:cubicBezTo>
                  <a:pt x="259" y="0"/>
                  <a:pt x="246" y="13"/>
                  <a:pt x="246" y="28"/>
                </a:cubicBezTo>
                <a:cubicBezTo>
                  <a:pt x="246" y="43"/>
                  <a:pt x="259" y="55"/>
                  <a:pt x="274" y="55"/>
                </a:cubicBezTo>
                <a:close/>
                <a:moveTo>
                  <a:pt x="80" y="120"/>
                </a:moveTo>
                <a:cubicBezTo>
                  <a:pt x="25" y="144"/>
                  <a:pt x="1" y="163"/>
                  <a:pt x="1" y="163"/>
                </a:cubicBezTo>
                <a:cubicBezTo>
                  <a:pt x="1" y="163"/>
                  <a:pt x="0" y="179"/>
                  <a:pt x="6" y="192"/>
                </a:cubicBezTo>
                <a:cubicBezTo>
                  <a:pt x="18" y="214"/>
                  <a:pt x="28" y="214"/>
                  <a:pt x="28" y="214"/>
                </a:cubicBezTo>
                <a:cubicBezTo>
                  <a:pt x="28" y="214"/>
                  <a:pt x="75" y="188"/>
                  <a:pt x="102" y="179"/>
                </a:cubicBezTo>
                <a:cubicBezTo>
                  <a:pt x="160" y="161"/>
                  <a:pt x="217" y="168"/>
                  <a:pt x="217" y="168"/>
                </a:cubicBezTo>
                <a:cubicBezTo>
                  <a:pt x="217" y="103"/>
                  <a:pt x="217" y="103"/>
                  <a:pt x="217" y="103"/>
                </a:cubicBezTo>
                <a:cubicBezTo>
                  <a:pt x="217" y="103"/>
                  <a:pt x="135" y="95"/>
                  <a:pt x="80" y="120"/>
                </a:cubicBezTo>
                <a:close/>
                <a:moveTo>
                  <a:pt x="746" y="278"/>
                </a:moveTo>
                <a:cubicBezTo>
                  <a:pt x="746" y="349"/>
                  <a:pt x="688" y="407"/>
                  <a:pt x="617" y="407"/>
                </a:cubicBezTo>
                <a:cubicBezTo>
                  <a:pt x="546" y="407"/>
                  <a:pt x="488" y="349"/>
                  <a:pt x="488" y="278"/>
                </a:cubicBezTo>
                <a:cubicBezTo>
                  <a:pt x="488" y="207"/>
                  <a:pt x="546" y="149"/>
                  <a:pt x="617" y="149"/>
                </a:cubicBezTo>
                <a:cubicBezTo>
                  <a:pt x="688" y="149"/>
                  <a:pt x="746" y="207"/>
                  <a:pt x="746" y="278"/>
                </a:cubicBezTo>
                <a:close/>
              </a:path>
            </a:pathLst>
          </a:custGeom>
          <a:solidFill>
            <a:schemeClr val="accent4"/>
          </a:solidFill>
          <a:ln w="9525">
            <a:noFill/>
            <a:round/>
            <a:headEnd/>
            <a:tailEnd/>
          </a:ln>
        </p:spPr>
        <p:txBody>
          <a:bodyPr/>
          <a:lstStyle/>
          <a:p>
            <a:pPr>
              <a:defRPr/>
            </a:pPr>
            <a:endParaRPr lang="en-US" sz="2800">
              <a:latin typeface="+mn-lt"/>
            </a:endParaRPr>
          </a:p>
        </p:txBody>
      </p:sp>
      <p:sp>
        <p:nvSpPr>
          <p:cNvPr id="206" name="Freeform 63"/>
          <p:cNvSpPr>
            <a:spLocks noEditPoints="1"/>
          </p:cNvSpPr>
          <p:nvPr/>
        </p:nvSpPr>
        <p:spPr bwMode="auto">
          <a:xfrm>
            <a:off x="3579705" y="3792415"/>
            <a:ext cx="310358" cy="168687"/>
          </a:xfrm>
          <a:custGeom>
            <a:avLst/>
            <a:gdLst>
              <a:gd name="T0" fmla="*/ 258027 w 794"/>
              <a:gd name="T1" fmla="*/ 225462 h 429"/>
              <a:gd name="T2" fmla="*/ 388923 w 794"/>
              <a:gd name="T3" fmla="*/ 392190 h 429"/>
              <a:gd name="T4" fmla="*/ 382331 w 794"/>
              <a:gd name="T5" fmla="*/ 363771 h 429"/>
              <a:gd name="T6" fmla="*/ 382331 w 794"/>
              <a:gd name="T7" fmla="*/ 147782 h 429"/>
              <a:gd name="T8" fmla="*/ 429416 w 794"/>
              <a:gd name="T9" fmla="*/ 90943 h 429"/>
              <a:gd name="T10" fmla="*/ 644125 w 794"/>
              <a:gd name="T11" fmla="*/ 90943 h 429"/>
              <a:gd name="T12" fmla="*/ 420941 w 794"/>
              <a:gd name="T13" fmla="*/ 18946 h 429"/>
              <a:gd name="T14" fmla="*/ 347488 w 794"/>
              <a:gd name="T15" fmla="*/ 2842 h 429"/>
              <a:gd name="T16" fmla="*/ 321121 w 794"/>
              <a:gd name="T17" fmla="*/ 2842 h 429"/>
              <a:gd name="T18" fmla="*/ 324887 w 794"/>
              <a:gd name="T19" fmla="*/ 26525 h 429"/>
              <a:gd name="T20" fmla="*/ 258968 w 794"/>
              <a:gd name="T21" fmla="*/ 92837 h 429"/>
              <a:gd name="T22" fmla="*/ 228834 w 794"/>
              <a:gd name="T23" fmla="*/ 85259 h 429"/>
              <a:gd name="T24" fmla="*/ 228834 w 794"/>
              <a:gd name="T25" fmla="*/ 139256 h 429"/>
              <a:gd name="T26" fmla="*/ 258027 w 794"/>
              <a:gd name="T27" fmla="*/ 225462 h 429"/>
              <a:gd name="T28" fmla="*/ 707219 w 794"/>
              <a:gd name="T29" fmla="*/ 119362 h 429"/>
              <a:gd name="T30" fmla="*/ 451076 w 794"/>
              <a:gd name="T31" fmla="*/ 119362 h 429"/>
              <a:gd name="T32" fmla="*/ 410582 w 794"/>
              <a:gd name="T33" fmla="*/ 167676 h 429"/>
              <a:gd name="T34" fmla="*/ 410582 w 794"/>
              <a:gd name="T35" fmla="*/ 358087 h 429"/>
              <a:gd name="T36" fmla="*/ 451076 w 794"/>
              <a:gd name="T37" fmla="*/ 406400 h 429"/>
              <a:gd name="T38" fmla="*/ 707219 w 794"/>
              <a:gd name="T39" fmla="*/ 406400 h 429"/>
              <a:gd name="T40" fmla="*/ 747712 w 794"/>
              <a:gd name="T41" fmla="*/ 358087 h 429"/>
              <a:gd name="T42" fmla="*/ 747712 w 794"/>
              <a:gd name="T43" fmla="*/ 167676 h 429"/>
              <a:gd name="T44" fmla="*/ 707219 w 794"/>
              <a:gd name="T45" fmla="*/ 119362 h 429"/>
              <a:gd name="T46" fmla="*/ 258027 w 794"/>
              <a:gd name="T47" fmla="*/ 52103 h 429"/>
              <a:gd name="T48" fmla="*/ 284394 w 794"/>
              <a:gd name="T49" fmla="*/ 26525 h 429"/>
              <a:gd name="T50" fmla="*/ 258027 w 794"/>
              <a:gd name="T51" fmla="*/ 0 h 429"/>
              <a:gd name="T52" fmla="*/ 231659 w 794"/>
              <a:gd name="T53" fmla="*/ 26525 h 429"/>
              <a:gd name="T54" fmla="*/ 258027 w 794"/>
              <a:gd name="T55" fmla="*/ 52103 h 429"/>
              <a:gd name="T56" fmla="*/ 75336 w 794"/>
              <a:gd name="T57" fmla="*/ 113678 h 429"/>
              <a:gd name="T58" fmla="*/ 942 w 794"/>
              <a:gd name="T59" fmla="*/ 154413 h 429"/>
              <a:gd name="T60" fmla="*/ 5650 w 794"/>
              <a:gd name="T61" fmla="*/ 181885 h 429"/>
              <a:gd name="T62" fmla="*/ 26368 w 794"/>
              <a:gd name="T63" fmla="*/ 202726 h 429"/>
              <a:gd name="T64" fmla="*/ 96054 w 794"/>
              <a:gd name="T65" fmla="*/ 169570 h 429"/>
              <a:gd name="T66" fmla="*/ 204350 w 794"/>
              <a:gd name="T67" fmla="*/ 159150 h 429"/>
              <a:gd name="T68" fmla="*/ 204350 w 794"/>
              <a:gd name="T69" fmla="*/ 97574 h 429"/>
              <a:gd name="T70" fmla="*/ 75336 w 794"/>
              <a:gd name="T71" fmla="*/ 113678 h 429"/>
              <a:gd name="T72" fmla="*/ 702510 w 794"/>
              <a:gd name="T73" fmla="*/ 263355 h 429"/>
              <a:gd name="T74" fmla="*/ 581031 w 794"/>
              <a:gd name="T75" fmla="*/ 385559 h 429"/>
              <a:gd name="T76" fmla="*/ 459551 w 794"/>
              <a:gd name="T77" fmla="*/ 263355 h 429"/>
              <a:gd name="T78" fmla="*/ 581031 w 794"/>
              <a:gd name="T79" fmla="*/ 141151 h 429"/>
              <a:gd name="T80" fmla="*/ 702510 w 794"/>
              <a:gd name="T81" fmla="*/ 263355 h 4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4"/>
              <a:gd name="T124" fmla="*/ 0 h 429"/>
              <a:gd name="T125" fmla="*/ 794 w 794"/>
              <a:gd name="T126" fmla="*/ 429 h 4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4" h="429">
                <a:moveTo>
                  <a:pt x="274" y="238"/>
                </a:moveTo>
                <a:cubicBezTo>
                  <a:pt x="413" y="414"/>
                  <a:pt x="413" y="414"/>
                  <a:pt x="413" y="414"/>
                </a:cubicBezTo>
                <a:cubicBezTo>
                  <a:pt x="409" y="405"/>
                  <a:pt x="406" y="395"/>
                  <a:pt x="406" y="384"/>
                </a:cubicBezTo>
                <a:cubicBezTo>
                  <a:pt x="406" y="156"/>
                  <a:pt x="406" y="156"/>
                  <a:pt x="406" y="156"/>
                </a:cubicBezTo>
                <a:cubicBezTo>
                  <a:pt x="406" y="123"/>
                  <a:pt x="428" y="96"/>
                  <a:pt x="456" y="96"/>
                </a:cubicBezTo>
                <a:cubicBezTo>
                  <a:pt x="684" y="96"/>
                  <a:pt x="684" y="96"/>
                  <a:pt x="684" y="96"/>
                </a:cubicBezTo>
                <a:cubicBezTo>
                  <a:pt x="447" y="20"/>
                  <a:pt x="447" y="20"/>
                  <a:pt x="447" y="20"/>
                </a:cubicBezTo>
                <a:cubicBezTo>
                  <a:pt x="447" y="20"/>
                  <a:pt x="392" y="3"/>
                  <a:pt x="369" y="3"/>
                </a:cubicBezTo>
                <a:cubicBezTo>
                  <a:pt x="341" y="3"/>
                  <a:pt x="341" y="3"/>
                  <a:pt x="341" y="3"/>
                </a:cubicBezTo>
                <a:cubicBezTo>
                  <a:pt x="344" y="11"/>
                  <a:pt x="345" y="19"/>
                  <a:pt x="345" y="28"/>
                </a:cubicBezTo>
                <a:cubicBezTo>
                  <a:pt x="345" y="67"/>
                  <a:pt x="314" y="98"/>
                  <a:pt x="275" y="98"/>
                </a:cubicBezTo>
                <a:cubicBezTo>
                  <a:pt x="263" y="98"/>
                  <a:pt x="252" y="95"/>
                  <a:pt x="243" y="90"/>
                </a:cubicBezTo>
                <a:cubicBezTo>
                  <a:pt x="243" y="147"/>
                  <a:pt x="243" y="147"/>
                  <a:pt x="243" y="147"/>
                </a:cubicBezTo>
                <a:cubicBezTo>
                  <a:pt x="243" y="206"/>
                  <a:pt x="274" y="238"/>
                  <a:pt x="274" y="238"/>
                </a:cubicBezTo>
                <a:close/>
                <a:moveTo>
                  <a:pt x="751" y="126"/>
                </a:moveTo>
                <a:cubicBezTo>
                  <a:pt x="479" y="126"/>
                  <a:pt x="479" y="126"/>
                  <a:pt x="479" y="126"/>
                </a:cubicBezTo>
                <a:cubicBezTo>
                  <a:pt x="455" y="126"/>
                  <a:pt x="436" y="149"/>
                  <a:pt x="436" y="177"/>
                </a:cubicBezTo>
                <a:cubicBezTo>
                  <a:pt x="436" y="378"/>
                  <a:pt x="436" y="378"/>
                  <a:pt x="436" y="378"/>
                </a:cubicBezTo>
                <a:cubicBezTo>
                  <a:pt x="436" y="406"/>
                  <a:pt x="455" y="429"/>
                  <a:pt x="479" y="429"/>
                </a:cubicBezTo>
                <a:cubicBezTo>
                  <a:pt x="751" y="429"/>
                  <a:pt x="751" y="429"/>
                  <a:pt x="751" y="429"/>
                </a:cubicBezTo>
                <a:cubicBezTo>
                  <a:pt x="775" y="429"/>
                  <a:pt x="794" y="406"/>
                  <a:pt x="794" y="378"/>
                </a:cubicBezTo>
                <a:cubicBezTo>
                  <a:pt x="794" y="177"/>
                  <a:pt x="794" y="177"/>
                  <a:pt x="794" y="177"/>
                </a:cubicBezTo>
                <a:cubicBezTo>
                  <a:pt x="794" y="149"/>
                  <a:pt x="775" y="126"/>
                  <a:pt x="751" y="126"/>
                </a:cubicBezTo>
                <a:close/>
                <a:moveTo>
                  <a:pt x="274" y="55"/>
                </a:moveTo>
                <a:cubicBezTo>
                  <a:pt x="289" y="55"/>
                  <a:pt x="302" y="43"/>
                  <a:pt x="302" y="28"/>
                </a:cubicBezTo>
                <a:cubicBezTo>
                  <a:pt x="302" y="13"/>
                  <a:pt x="289" y="0"/>
                  <a:pt x="274" y="0"/>
                </a:cubicBezTo>
                <a:cubicBezTo>
                  <a:pt x="259" y="0"/>
                  <a:pt x="246" y="13"/>
                  <a:pt x="246" y="28"/>
                </a:cubicBezTo>
                <a:cubicBezTo>
                  <a:pt x="246" y="43"/>
                  <a:pt x="259" y="55"/>
                  <a:pt x="274" y="55"/>
                </a:cubicBezTo>
                <a:close/>
                <a:moveTo>
                  <a:pt x="80" y="120"/>
                </a:moveTo>
                <a:cubicBezTo>
                  <a:pt x="25" y="144"/>
                  <a:pt x="1" y="163"/>
                  <a:pt x="1" y="163"/>
                </a:cubicBezTo>
                <a:cubicBezTo>
                  <a:pt x="1" y="163"/>
                  <a:pt x="0" y="179"/>
                  <a:pt x="6" y="192"/>
                </a:cubicBezTo>
                <a:cubicBezTo>
                  <a:pt x="18" y="214"/>
                  <a:pt x="28" y="214"/>
                  <a:pt x="28" y="214"/>
                </a:cubicBezTo>
                <a:cubicBezTo>
                  <a:pt x="28" y="214"/>
                  <a:pt x="75" y="188"/>
                  <a:pt x="102" y="179"/>
                </a:cubicBezTo>
                <a:cubicBezTo>
                  <a:pt x="160" y="161"/>
                  <a:pt x="217" y="168"/>
                  <a:pt x="217" y="168"/>
                </a:cubicBezTo>
                <a:cubicBezTo>
                  <a:pt x="217" y="103"/>
                  <a:pt x="217" y="103"/>
                  <a:pt x="217" y="103"/>
                </a:cubicBezTo>
                <a:cubicBezTo>
                  <a:pt x="217" y="103"/>
                  <a:pt x="135" y="95"/>
                  <a:pt x="80" y="120"/>
                </a:cubicBezTo>
                <a:close/>
                <a:moveTo>
                  <a:pt x="746" y="278"/>
                </a:moveTo>
                <a:cubicBezTo>
                  <a:pt x="746" y="349"/>
                  <a:pt x="688" y="407"/>
                  <a:pt x="617" y="407"/>
                </a:cubicBezTo>
                <a:cubicBezTo>
                  <a:pt x="546" y="407"/>
                  <a:pt x="488" y="349"/>
                  <a:pt x="488" y="278"/>
                </a:cubicBezTo>
                <a:cubicBezTo>
                  <a:pt x="488" y="207"/>
                  <a:pt x="546" y="149"/>
                  <a:pt x="617" y="149"/>
                </a:cubicBezTo>
                <a:cubicBezTo>
                  <a:pt x="688" y="149"/>
                  <a:pt x="746" y="207"/>
                  <a:pt x="746" y="278"/>
                </a:cubicBezTo>
                <a:close/>
              </a:path>
            </a:pathLst>
          </a:custGeom>
          <a:solidFill>
            <a:schemeClr val="accent4"/>
          </a:solidFill>
          <a:ln w="9525">
            <a:noFill/>
            <a:round/>
            <a:headEnd/>
            <a:tailEnd/>
          </a:ln>
        </p:spPr>
        <p:txBody>
          <a:bodyPr/>
          <a:lstStyle/>
          <a:p>
            <a:pPr>
              <a:defRPr/>
            </a:pPr>
            <a:endParaRPr lang="en-US" sz="2800">
              <a:latin typeface="+mn-lt"/>
            </a:endParaRPr>
          </a:p>
        </p:txBody>
      </p:sp>
      <p:grpSp>
        <p:nvGrpSpPr>
          <p:cNvPr id="207" name="Group 138"/>
          <p:cNvGrpSpPr/>
          <p:nvPr/>
        </p:nvGrpSpPr>
        <p:grpSpPr>
          <a:xfrm>
            <a:off x="5188724" y="3970722"/>
            <a:ext cx="216842" cy="206632"/>
            <a:chOff x="4705771" y="2257424"/>
            <a:chExt cx="439809" cy="419101"/>
          </a:xfrm>
        </p:grpSpPr>
        <p:sp>
          <p:nvSpPr>
            <p:cNvPr id="238" name="Oval 237"/>
            <p:cNvSpPr/>
            <p:nvPr/>
          </p:nvSpPr>
          <p:spPr>
            <a:xfrm>
              <a:off x="4762501" y="2476501"/>
              <a:ext cx="152400" cy="152400"/>
            </a:xfrm>
            <a:prstGeom prst="ellipse">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sp>
          <p:nvSpPr>
            <p:cNvPr id="239" name="Rounded Rectangle 238"/>
            <p:cNvSpPr/>
            <p:nvPr/>
          </p:nvSpPr>
          <p:spPr>
            <a:xfrm>
              <a:off x="4791077" y="2499474"/>
              <a:ext cx="354503" cy="106351"/>
            </a:xfrm>
            <a:prstGeom prst="roundRect">
              <a:avLst>
                <a:gd name="adj" fmla="val 50000"/>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sp>
          <p:nvSpPr>
            <p:cNvPr id="240" name="Rounded Rectangle 239"/>
            <p:cNvSpPr/>
            <p:nvPr/>
          </p:nvSpPr>
          <p:spPr>
            <a:xfrm>
              <a:off x="4705771" y="2257424"/>
              <a:ext cx="256959" cy="419101"/>
            </a:xfrm>
            <a:prstGeom prst="roundRect">
              <a:avLst/>
            </a:prstGeom>
            <a:noFill/>
            <a:ln w="38100">
              <a:solidFill>
                <a:schemeClr val="accent4"/>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sp>
          <p:nvSpPr>
            <p:cNvPr id="241" name="Rounded Rectangle 240"/>
            <p:cNvSpPr/>
            <p:nvPr/>
          </p:nvSpPr>
          <p:spPr>
            <a:xfrm>
              <a:off x="4764176" y="2333621"/>
              <a:ext cx="133351" cy="114299"/>
            </a:xfrm>
            <a:prstGeom prst="roundRect">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grpSp>
      <p:grpSp>
        <p:nvGrpSpPr>
          <p:cNvPr id="208" name="Group 138"/>
          <p:cNvGrpSpPr/>
          <p:nvPr/>
        </p:nvGrpSpPr>
        <p:grpSpPr>
          <a:xfrm>
            <a:off x="3184486" y="4079896"/>
            <a:ext cx="216842" cy="206632"/>
            <a:chOff x="4705771" y="2257424"/>
            <a:chExt cx="439809" cy="419101"/>
          </a:xfrm>
        </p:grpSpPr>
        <p:sp>
          <p:nvSpPr>
            <p:cNvPr id="234" name="Oval 233"/>
            <p:cNvSpPr/>
            <p:nvPr/>
          </p:nvSpPr>
          <p:spPr>
            <a:xfrm>
              <a:off x="4762501" y="2476501"/>
              <a:ext cx="152400" cy="152400"/>
            </a:xfrm>
            <a:prstGeom prst="ellipse">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sp>
          <p:nvSpPr>
            <p:cNvPr id="235" name="Rounded Rectangle 234"/>
            <p:cNvSpPr/>
            <p:nvPr/>
          </p:nvSpPr>
          <p:spPr>
            <a:xfrm>
              <a:off x="4791077" y="2499474"/>
              <a:ext cx="354503" cy="106351"/>
            </a:xfrm>
            <a:prstGeom prst="roundRect">
              <a:avLst>
                <a:gd name="adj" fmla="val 50000"/>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sp>
          <p:nvSpPr>
            <p:cNvPr id="236" name="Rounded Rectangle 235"/>
            <p:cNvSpPr/>
            <p:nvPr/>
          </p:nvSpPr>
          <p:spPr>
            <a:xfrm>
              <a:off x="4705771" y="2257424"/>
              <a:ext cx="256959" cy="419101"/>
            </a:xfrm>
            <a:prstGeom prst="roundRect">
              <a:avLst/>
            </a:prstGeom>
            <a:noFill/>
            <a:ln w="38100">
              <a:solidFill>
                <a:schemeClr val="accent4"/>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sp>
          <p:nvSpPr>
            <p:cNvPr id="237" name="Rounded Rectangle 236"/>
            <p:cNvSpPr/>
            <p:nvPr/>
          </p:nvSpPr>
          <p:spPr>
            <a:xfrm>
              <a:off x="4764176" y="2333621"/>
              <a:ext cx="133351" cy="114299"/>
            </a:xfrm>
            <a:prstGeom prst="roundRect">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grpSp>
      <p:grpSp>
        <p:nvGrpSpPr>
          <p:cNvPr id="209" name="Group 138"/>
          <p:cNvGrpSpPr/>
          <p:nvPr/>
        </p:nvGrpSpPr>
        <p:grpSpPr>
          <a:xfrm>
            <a:off x="2006836" y="4176974"/>
            <a:ext cx="216842" cy="206632"/>
            <a:chOff x="4705771" y="2257424"/>
            <a:chExt cx="439809" cy="419101"/>
          </a:xfrm>
        </p:grpSpPr>
        <p:sp>
          <p:nvSpPr>
            <p:cNvPr id="230" name="Oval 229"/>
            <p:cNvSpPr/>
            <p:nvPr/>
          </p:nvSpPr>
          <p:spPr>
            <a:xfrm>
              <a:off x="4762501" y="2476501"/>
              <a:ext cx="152400" cy="152400"/>
            </a:xfrm>
            <a:prstGeom prst="ellipse">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sp>
          <p:nvSpPr>
            <p:cNvPr id="231" name="Rounded Rectangle 230"/>
            <p:cNvSpPr/>
            <p:nvPr/>
          </p:nvSpPr>
          <p:spPr>
            <a:xfrm>
              <a:off x="4791077" y="2499474"/>
              <a:ext cx="354503" cy="106351"/>
            </a:xfrm>
            <a:prstGeom prst="roundRect">
              <a:avLst>
                <a:gd name="adj" fmla="val 50000"/>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sp>
          <p:nvSpPr>
            <p:cNvPr id="232" name="Rounded Rectangle 231"/>
            <p:cNvSpPr/>
            <p:nvPr/>
          </p:nvSpPr>
          <p:spPr>
            <a:xfrm>
              <a:off x="4705771" y="2257424"/>
              <a:ext cx="256959" cy="419101"/>
            </a:xfrm>
            <a:prstGeom prst="roundRect">
              <a:avLst/>
            </a:prstGeom>
            <a:noFill/>
            <a:ln w="38100">
              <a:solidFill>
                <a:schemeClr val="accent4"/>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sp>
          <p:nvSpPr>
            <p:cNvPr id="233" name="Rounded Rectangle 232"/>
            <p:cNvSpPr/>
            <p:nvPr/>
          </p:nvSpPr>
          <p:spPr>
            <a:xfrm>
              <a:off x="4764176" y="2333621"/>
              <a:ext cx="133351" cy="114299"/>
            </a:xfrm>
            <a:prstGeom prst="roundRect">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2800">
                <a:latin typeface="+mn-lt"/>
                <a:cs typeface="Trebuchet MS"/>
              </a:endParaRPr>
            </a:p>
          </p:txBody>
        </p:sp>
      </p:grpSp>
      <p:sp>
        <p:nvSpPr>
          <p:cNvPr id="211" name="Freeform 63"/>
          <p:cNvSpPr>
            <a:spLocks noEditPoints="1"/>
          </p:cNvSpPr>
          <p:nvPr/>
        </p:nvSpPr>
        <p:spPr bwMode="auto">
          <a:xfrm>
            <a:off x="6762848" y="3938529"/>
            <a:ext cx="341363" cy="185539"/>
          </a:xfrm>
          <a:custGeom>
            <a:avLst/>
            <a:gdLst>
              <a:gd name="T0" fmla="*/ 258027 w 794"/>
              <a:gd name="T1" fmla="*/ 225462 h 429"/>
              <a:gd name="T2" fmla="*/ 388923 w 794"/>
              <a:gd name="T3" fmla="*/ 392190 h 429"/>
              <a:gd name="T4" fmla="*/ 382331 w 794"/>
              <a:gd name="T5" fmla="*/ 363771 h 429"/>
              <a:gd name="T6" fmla="*/ 382331 w 794"/>
              <a:gd name="T7" fmla="*/ 147782 h 429"/>
              <a:gd name="T8" fmla="*/ 429416 w 794"/>
              <a:gd name="T9" fmla="*/ 90943 h 429"/>
              <a:gd name="T10" fmla="*/ 644125 w 794"/>
              <a:gd name="T11" fmla="*/ 90943 h 429"/>
              <a:gd name="T12" fmla="*/ 420941 w 794"/>
              <a:gd name="T13" fmla="*/ 18946 h 429"/>
              <a:gd name="T14" fmla="*/ 347488 w 794"/>
              <a:gd name="T15" fmla="*/ 2842 h 429"/>
              <a:gd name="T16" fmla="*/ 321121 w 794"/>
              <a:gd name="T17" fmla="*/ 2842 h 429"/>
              <a:gd name="T18" fmla="*/ 324887 w 794"/>
              <a:gd name="T19" fmla="*/ 26525 h 429"/>
              <a:gd name="T20" fmla="*/ 258968 w 794"/>
              <a:gd name="T21" fmla="*/ 92837 h 429"/>
              <a:gd name="T22" fmla="*/ 228834 w 794"/>
              <a:gd name="T23" fmla="*/ 85259 h 429"/>
              <a:gd name="T24" fmla="*/ 228834 w 794"/>
              <a:gd name="T25" fmla="*/ 139256 h 429"/>
              <a:gd name="T26" fmla="*/ 258027 w 794"/>
              <a:gd name="T27" fmla="*/ 225462 h 429"/>
              <a:gd name="T28" fmla="*/ 707219 w 794"/>
              <a:gd name="T29" fmla="*/ 119362 h 429"/>
              <a:gd name="T30" fmla="*/ 451076 w 794"/>
              <a:gd name="T31" fmla="*/ 119362 h 429"/>
              <a:gd name="T32" fmla="*/ 410582 w 794"/>
              <a:gd name="T33" fmla="*/ 167676 h 429"/>
              <a:gd name="T34" fmla="*/ 410582 w 794"/>
              <a:gd name="T35" fmla="*/ 358087 h 429"/>
              <a:gd name="T36" fmla="*/ 451076 w 794"/>
              <a:gd name="T37" fmla="*/ 406400 h 429"/>
              <a:gd name="T38" fmla="*/ 707219 w 794"/>
              <a:gd name="T39" fmla="*/ 406400 h 429"/>
              <a:gd name="T40" fmla="*/ 747712 w 794"/>
              <a:gd name="T41" fmla="*/ 358087 h 429"/>
              <a:gd name="T42" fmla="*/ 747712 w 794"/>
              <a:gd name="T43" fmla="*/ 167676 h 429"/>
              <a:gd name="T44" fmla="*/ 707219 w 794"/>
              <a:gd name="T45" fmla="*/ 119362 h 429"/>
              <a:gd name="T46" fmla="*/ 258027 w 794"/>
              <a:gd name="T47" fmla="*/ 52103 h 429"/>
              <a:gd name="T48" fmla="*/ 284394 w 794"/>
              <a:gd name="T49" fmla="*/ 26525 h 429"/>
              <a:gd name="T50" fmla="*/ 258027 w 794"/>
              <a:gd name="T51" fmla="*/ 0 h 429"/>
              <a:gd name="T52" fmla="*/ 231659 w 794"/>
              <a:gd name="T53" fmla="*/ 26525 h 429"/>
              <a:gd name="T54" fmla="*/ 258027 w 794"/>
              <a:gd name="T55" fmla="*/ 52103 h 429"/>
              <a:gd name="T56" fmla="*/ 75336 w 794"/>
              <a:gd name="T57" fmla="*/ 113678 h 429"/>
              <a:gd name="T58" fmla="*/ 942 w 794"/>
              <a:gd name="T59" fmla="*/ 154413 h 429"/>
              <a:gd name="T60" fmla="*/ 5650 w 794"/>
              <a:gd name="T61" fmla="*/ 181885 h 429"/>
              <a:gd name="T62" fmla="*/ 26368 w 794"/>
              <a:gd name="T63" fmla="*/ 202726 h 429"/>
              <a:gd name="T64" fmla="*/ 96054 w 794"/>
              <a:gd name="T65" fmla="*/ 169570 h 429"/>
              <a:gd name="T66" fmla="*/ 204350 w 794"/>
              <a:gd name="T67" fmla="*/ 159150 h 429"/>
              <a:gd name="T68" fmla="*/ 204350 w 794"/>
              <a:gd name="T69" fmla="*/ 97574 h 429"/>
              <a:gd name="T70" fmla="*/ 75336 w 794"/>
              <a:gd name="T71" fmla="*/ 113678 h 429"/>
              <a:gd name="T72" fmla="*/ 702510 w 794"/>
              <a:gd name="T73" fmla="*/ 263355 h 429"/>
              <a:gd name="T74" fmla="*/ 581031 w 794"/>
              <a:gd name="T75" fmla="*/ 385559 h 429"/>
              <a:gd name="T76" fmla="*/ 459551 w 794"/>
              <a:gd name="T77" fmla="*/ 263355 h 429"/>
              <a:gd name="T78" fmla="*/ 581031 w 794"/>
              <a:gd name="T79" fmla="*/ 141151 h 429"/>
              <a:gd name="T80" fmla="*/ 702510 w 794"/>
              <a:gd name="T81" fmla="*/ 263355 h 4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4"/>
              <a:gd name="T124" fmla="*/ 0 h 429"/>
              <a:gd name="T125" fmla="*/ 794 w 794"/>
              <a:gd name="T126" fmla="*/ 429 h 4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4" h="429">
                <a:moveTo>
                  <a:pt x="274" y="238"/>
                </a:moveTo>
                <a:cubicBezTo>
                  <a:pt x="413" y="414"/>
                  <a:pt x="413" y="414"/>
                  <a:pt x="413" y="414"/>
                </a:cubicBezTo>
                <a:cubicBezTo>
                  <a:pt x="409" y="405"/>
                  <a:pt x="406" y="395"/>
                  <a:pt x="406" y="384"/>
                </a:cubicBezTo>
                <a:cubicBezTo>
                  <a:pt x="406" y="156"/>
                  <a:pt x="406" y="156"/>
                  <a:pt x="406" y="156"/>
                </a:cubicBezTo>
                <a:cubicBezTo>
                  <a:pt x="406" y="123"/>
                  <a:pt x="428" y="96"/>
                  <a:pt x="456" y="96"/>
                </a:cubicBezTo>
                <a:cubicBezTo>
                  <a:pt x="684" y="96"/>
                  <a:pt x="684" y="96"/>
                  <a:pt x="684" y="96"/>
                </a:cubicBezTo>
                <a:cubicBezTo>
                  <a:pt x="447" y="20"/>
                  <a:pt x="447" y="20"/>
                  <a:pt x="447" y="20"/>
                </a:cubicBezTo>
                <a:cubicBezTo>
                  <a:pt x="447" y="20"/>
                  <a:pt x="392" y="3"/>
                  <a:pt x="369" y="3"/>
                </a:cubicBezTo>
                <a:cubicBezTo>
                  <a:pt x="341" y="3"/>
                  <a:pt x="341" y="3"/>
                  <a:pt x="341" y="3"/>
                </a:cubicBezTo>
                <a:cubicBezTo>
                  <a:pt x="344" y="11"/>
                  <a:pt x="345" y="19"/>
                  <a:pt x="345" y="28"/>
                </a:cubicBezTo>
                <a:cubicBezTo>
                  <a:pt x="345" y="67"/>
                  <a:pt x="314" y="98"/>
                  <a:pt x="275" y="98"/>
                </a:cubicBezTo>
                <a:cubicBezTo>
                  <a:pt x="263" y="98"/>
                  <a:pt x="252" y="95"/>
                  <a:pt x="243" y="90"/>
                </a:cubicBezTo>
                <a:cubicBezTo>
                  <a:pt x="243" y="147"/>
                  <a:pt x="243" y="147"/>
                  <a:pt x="243" y="147"/>
                </a:cubicBezTo>
                <a:cubicBezTo>
                  <a:pt x="243" y="206"/>
                  <a:pt x="274" y="238"/>
                  <a:pt x="274" y="238"/>
                </a:cubicBezTo>
                <a:close/>
                <a:moveTo>
                  <a:pt x="751" y="126"/>
                </a:moveTo>
                <a:cubicBezTo>
                  <a:pt x="479" y="126"/>
                  <a:pt x="479" y="126"/>
                  <a:pt x="479" y="126"/>
                </a:cubicBezTo>
                <a:cubicBezTo>
                  <a:pt x="455" y="126"/>
                  <a:pt x="436" y="149"/>
                  <a:pt x="436" y="177"/>
                </a:cubicBezTo>
                <a:cubicBezTo>
                  <a:pt x="436" y="378"/>
                  <a:pt x="436" y="378"/>
                  <a:pt x="436" y="378"/>
                </a:cubicBezTo>
                <a:cubicBezTo>
                  <a:pt x="436" y="406"/>
                  <a:pt x="455" y="429"/>
                  <a:pt x="479" y="429"/>
                </a:cubicBezTo>
                <a:cubicBezTo>
                  <a:pt x="751" y="429"/>
                  <a:pt x="751" y="429"/>
                  <a:pt x="751" y="429"/>
                </a:cubicBezTo>
                <a:cubicBezTo>
                  <a:pt x="775" y="429"/>
                  <a:pt x="794" y="406"/>
                  <a:pt x="794" y="378"/>
                </a:cubicBezTo>
                <a:cubicBezTo>
                  <a:pt x="794" y="177"/>
                  <a:pt x="794" y="177"/>
                  <a:pt x="794" y="177"/>
                </a:cubicBezTo>
                <a:cubicBezTo>
                  <a:pt x="794" y="149"/>
                  <a:pt x="775" y="126"/>
                  <a:pt x="751" y="126"/>
                </a:cubicBezTo>
                <a:close/>
                <a:moveTo>
                  <a:pt x="274" y="55"/>
                </a:moveTo>
                <a:cubicBezTo>
                  <a:pt x="289" y="55"/>
                  <a:pt x="302" y="43"/>
                  <a:pt x="302" y="28"/>
                </a:cubicBezTo>
                <a:cubicBezTo>
                  <a:pt x="302" y="13"/>
                  <a:pt x="289" y="0"/>
                  <a:pt x="274" y="0"/>
                </a:cubicBezTo>
                <a:cubicBezTo>
                  <a:pt x="259" y="0"/>
                  <a:pt x="246" y="13"/>
                  <a:pt x="246" y="28"/>
                </a:cubicBezTo>
                <a:cubicBezTo>
                  <a:pt x="246" y="43"/>
                  <a:pt x="259" y="55"/>
                  <a:pt x="274" y="55"/>
                </a:cubicBezTo>
                <a:close/>
                <a:moveTo>
                  <a:pt x="80" y="120"/>
                </a:moveTo>
                <a:cubicBezTo>
                  <a:pt x="25" y="144"/>
                  <a:pt x="1" y="163"/>
                  <a:pt x="1" y="163"/>
                </a:cubicBezTo>
                <a:cubicBezTo>
                  <a:pt x="1" y="163"/>
                  <a:pt x="0" y="179"/>
                  <a:pt x="6" y="192"/>
                </a:cubicBezTo>
                <a:cubicBezTo>
                  <a:pt x="18" y="214"/>
                  <a:pt x="28" y="214"/>
                  <a:pt x="28" y="214"/>
                </a:cubicBezTo>
                <a:cubicBezTo>
                  <a:pt x="28" y="214"/>
                  <a:pt x="75" y="188"/>
                  <a:pt x="102" y="179"/>
                </a:cubicBezTo>
                <a:cubicBezTo>
                  <a:pt x="160" y="161"/>
                  <a:pt x="217" y="168"/>
                  <a:pt x="217" y="168"/>
                </a:cubicBezTo>
                <a:cubicBezTo>
                  <a:pt x="217" y="103"/>
                  <a:pt x="217" y="103"/>
                  <a:pt x="217" y="103"/>
                </a:cubicBezTo>
                <a:cubicBezTo>
                  <a:pt x="217" y="103"/>
                  <a:pt x="135" y="95"/>
                  <a:pt x="80" y="120"/>
                </a:cubicBezTo>
                <a:close/>
                <a:moveTo>
                  <a:pt x="746" y="278"/>
                </a:moveTo>
                <a:cubicBezTo>
                  <a:pt x="746" y="349"/>
                  <a:pt x="688" y="407"/>
                  <a:pt x="617" y="407"/>
                </a:cubicBezTo>
                <a:cubicBezTo>
                  <a:pt x="546" y="407"/>
                  <a:pt x="488" y="349"/>
                  <a:pt x="488" y="278"/>
                </a:cubicBezTo>
                <a:cubicBezTo>
                  <a:pt x="488" y="207"/>
                  <a:pt x="546" y="149"/>
                  <a:pt x="617" y="149"/>
                </a:cubicBezTo>
                <a:cubicBezTo>
                  <a:pt x="688" y="149"/>
                  <a:pt x="746" y="207"/>
                  <a:pt x="746" y="278"/>
                </a:cubicBezTo>
                <a:close/>
              </a:path>
            </a:pathLst>
          </a:custGeom>
          <a:solidFill>
            <a:schemeClr val="accent4"/>
          </a:solidFill>
          <a:ln w="9525">
            <a:noFill/>
            <a:round/>
            <a:headEnd/>
            <a:tailEnd/>
          </a:ln>
        </p:spPr>
        <p:txBody>
          <a:bodyPr/>
          <a:lstStyle/>
          <a:p>
            <a:pPr>
              <a:defRPr/>
            </a:pPr>
            <a:endParaRPr lang="en-US" sz="2800">
              <a:latin typeface="+mn-lt"/>
            </a:endParaRPr>
          </a:p>
        </p:txBody>
      </p:sp>
      <p:grpSp>
        <p:nvGrpSpPr>
          <p:cNvPr id="295" name="Group 327"/>
          <p:cNvGrpSpPr>
            <a:grpSpLocks/>
          </p:cNvGrpSpPr>
          <p:nvPr/>
        </p:nvGrpSpPr>
        <p:grpSpPr bwMode="auto">
          <a:xfrm>
            <a:off x="5779849" y="3986058"/>
            <a:ext cx="371593" cy="335410"/>
            <a:chOff x="5184" y="2057"/>
            <a:chExt cx="250" cy="224"/>
          </a:xfrm>
        </p:grpSpPr>
        <p:sp>
          <p:nvSpPr>
            <p:cNvPr id="296" name="Freeform 328"/>
            <p:cNvSpPr>
              <a:spLocks noChangeArrowheads="1"/>
            </p:cNvSpPr>
            <p:nvPr/>
          </p:nvSpPr>
          <p:spPr bwMode="auto">
            <a:xfrm>
              <a:off x="5184" y="2069"/>
              <a:ext cx="204" cy="99"/>
            </a:xfrm>
            <a:custGeom>
              <a:avLst/>
              <a:gdLst>
                <a:gd name="T0" fmla="*/ 181 w 904"/>
                <a:gd name="T1" fmla="*/ 0 h 439"/>
                <a:gd name="T2" fmla="*/ 23 w 904"/>
                <a:gd name="T3" fmla="*/ 0 h 439"/>
                <a:gd name="T4" fmla="*/ 0 w 904"/>
                <a:gd name="T5" fmla="*/ 19 h 439"/>
                <a:gd name="T6" fmla="*/ 0 w 904"/>
                <a:gd name="T7" fmla="*/ 79 h 439"/>
                <a:gd name="T8" fmla="*/ 23 w 904"/>
                <a:gd name="T9" fmla="*/ 99 h 439"/>
                <a:gd name="T10" fmla="*/ 181 w 904"/>
                <a:gd name="T11" fmla="*/ 99 h 439"/>
                <a:gd name="T12" fmla="*/ 204 w 904"/>
                <a:gd name="T13" fmla="*/ 79 h 439"/>
                <a:gd name="T14" fmla="*/ 204 w 904"/>
                <a:gd name="T15" fmla="*/ 19 h 439"/>
                <a:gd name="T16" fmla="*/ 181 w 904"/>
                <a:gd name="T17" fmla="*/ 0 h 4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4" h="439">
                  <a:moveTo>
                    <a:pt x="801" y="0"/>
                  </a:moveTo>
                  <a:lnTo>
                    <a:pt x="103" y="0"/>
                  </a:lnTo>
                  <a:cubicBezTo>
                    <a:pt x="46" y="0"/>
                    <a:pt x="0" y="38"/>
                    <a:pt x="0" y="86"/>
                  </a:cubicBezTo>
                  <a:lnTo>
                    <a:pt x="0" y="352"/>
                  </a:lnTo>
                  <a:cubicBezTo>
                    <a:pt x="0" y="399"/>
                    <a:pt x="46" y="438"/>
                    <a:pt x="103" y="438"/>
                  </a:cubicBezTo>
                  <a:lnTo>
                    <a:pt x="801" y="438"/>
                  </a:lnTo>
                  <a:cubicBezTo>
                    <a:pt x="858" y="438"/>
                    <a:pt x="903" y="399"/>
                    <a:pt x="903" y="352"/>
                  </a:cubicBezTo>
                  <a:lnTo>
                    <a:pt x="903" y="86"/>
                  </a:lnTo>
                  <a:cubicBezTo>
                    <a:pt x="903" y="38"/>
                    <a:pt x="858" y="0"/>
                    <a:pt x="801" y="0"/>
                  </a:cubicBezTo>
                </a:path>
              </a:pathLst>
            </a:custGeom>
            <a:solidFill>
              <a:schemeClr val="bg2"/>
            </a:solidFill>
            <a:ln w="9525" cap="flat">
              <a:noFill/>
              <a:bevel/>
              <a:headEnd/>
              <a:tailEnd/>
            </a:ln>
            <a:effectLst/>
          </p:spPr>
          <p:txBody>
            <a:bodyPr wrap="none" anchor="ctr"/>
            <a:lstStyle/>
            <a:p>
              <a:endParaRPr lang="en-US" sz="1050">
                <a:latin typeface="+mn-lt"/>
              </a:endParaRPr>
            </a:p>
          </p:txBody>
        </p:sp>
        <p:sp>
          <p:nvSpPr>
            <p:cNvPr id="297" name="Freeform 329"/>
            <p:cNvSpPr>
              <a:spLocks noChangeArrowheads="1"/>
            </p:cNvSpPr>
            <p:nvPr/>
          </p:nvSpPr>
          <p:spPr bwMode="auto">
            <a:xfrm>
              <a:off x="5399" y="2085"/>
              <a:ext cx="16" cy="16"/>
            </a:xfrm>
            <a:custGeom>
              <a:avLst/>
              <a:gdLst>
                <a:gd name="T0" fmla="*/ 16 w 77"/>
                <a:gd name="T1" fmla="*/ 8 h 76"/>
                <a:gd name="T2" fmla="*/ 8 w 77"/>
                <a:gd name="T3" fmla="*/ 0 h 76"/>
                <a:gd name="T4" fmla="*/ 0 w 77"/>
                <a:gd name="T5" fmla="*/ 8 h 76"/>
                <a:gd name="T6" fmla="*/ 8 w 77"/>
                <a:gd name="T7" fmla="*/ 16 h 76"/>
                <a:gd name="T8" fmla="*/ 16 w 77"/>
                <a:gd name="T9" fmla="*/ 8 h 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7" h="76">
                  <a:moveTo>
                    <a:pt x="76" y="37"/>
                  </a:moveTo>
                  <a:cubicBezTo>
                    <a:pt x="76" y="17"/>
                    <a:pt x="59" y="0"/>
                    <a:pt x="38" y="0"/>
                  </a:cubicBezTo>
                  <a:cubicBezTo>
                    <a:pt x="17" y="0"/>
                    <a:pt x="0" y="17"/>
                    <a:pt x="0" y="37"/>
                  </a:cubicBezTo>
                  <a:cubicBezTo>
                    <a:pt x="0" y="58"/>
                    <a:pt x="17" y="75"/>
                    <a:pt x="38" y="75"/>
                  </a:cubicBezTo>
                  <a:cubicBezTo>
                    <a:pt x="59" y="75"/>
                    <a:pt x="76" y="58"/>
                    <a:pt x="76" y="37"/>
                  </a:cubicBezTo>
                </a:path>
              </a:pathLst>
            </a:custGeom>
            <a:solidFill>
              <a:schemeClr val="bg2"/>
            </a:solidFill>
            <a:ln w="9525" cap="flat">
              <a:noFill/>
              <a:bevel/>
              <a:headEnd/>
              <a:tailEnd/>
            </a:ln>
            <a:effectLst/>
          </p:spPr>
          <p:txBody>
            <a:bodyPr wrap="none" anchor="ctr"/>
            <a:lstStyle/>
            <a:p>
              <a:endParaRPr lang="en-US" sz="1050">
                <a:latin typeface="+mn-lt"/>
              </a:endParaRPr>
            </a:p>
          </p:txBody>
        </p:sp>
        <p:sp>
          <p:nvSpPr>
            <p:cNvPr id="298" name="Freeform 330"/>
            <p:cNvSpPr>
              <a:spLocks noChangeArrowheads="1"/>
            </p:cNvSpPr>
            <p:nvPr/>
          </p:nvSpPr>
          <p:spPr bwMode="auto">
            <a:xfrm>
              <a:off x="5406" y="2057"/>
              <a:ext cx="28" cy="225"/>
            </a:xfrm>
            <a:custGeom>
              <a:avLst/>
              <a:gdLst>
                <a:gd name="T0" fmla="*/ 28 w 128"/>
                <a:gd name="T1" fmla="*/ 216 h 996"/>
                <a:gd name="T2" fmla="*/ 28 w 128"/>
                <a:gd name="T3" fmla="*/ 11 h 996"/>
                <a:gd name="T4" fmla="*/ 14 w 128"/>
                <a:gd name="T5" fmla="*/ 0 h 996"/>
                <a:gd name="T6" fmla="*/ 0 w 128"/>
                <a:gd name="T7" fmla="*/ 11 h 996"/>
                <a:gd name="T8" fmla="*/ 0 w 128"/>
                <a:gd name="T9" fmla="*/ 15 h 996"/>
                <a:gd name="T10" fmla="*/ 1 w 128"/>
                <a:gd name="T11" fmla="*/ 15 h 996"/>
                <a:gd name="T12" fmla="*/ 23 w 128"/>
                <a:gd name="T13" fmla="*/ 37 h 996"/>
                <a:gd name="T14" fmla="*/ 1 w 128"/>
                <a:gd name="T15" fmla="*/ 59 h 996"/>
                <a:gd name="T16" fmla="*/ 0 w 128"/>
                <a:gd name="T17" fmla="*/ 59 h 996"/>
                <a:gd name="T18" fmla="*/ 0 w 128"/>
                <a:gd name="T19" fmla="*/ 216 h 996"/>
                <a:gd name="T20" fmla="*/ 13 w 128"/>
                <a:gd name="T21" fmla="*/ 225 h 996"/>
                <a:gd name="T22" fmla="*/ 28 w 128"/>
                <a:gd name="T23" fmla="*/ 216 h 9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8" h="996">
                  <a:moveTo>
                    <a:pt x="127" y="956"/>
                  </a:moveTo>
                  <a:lnTo>
                    <a:pt x="127" y="47"/>
                  </a:lnTo>
                  <a:cubicBezTo>
                    <a:pt x="127" y="2"/>
                    <a:pt x="65" y="0"/>
                    <a:pt x="65" y="0"/>
                  </a:cubicBezTo>
                  <a:cubicBezTo>
                    <a:pt x="3" y="0"/>
                    <a:pt x="0" y="47"/>
                    <a:pt x="0" y="47"/>
                  </a:cubicBezTo>
                  <a:lnTo>
                    <a:pt x="0" y="66"/>
                  </a:lnTo>
                  <a:cubicBezTo>
                    <a:pt x="3" y="66"/>
                    <a:pt x="4" y="66"/>
                    <a:pt x="5" y="66"/>
                  </a:cubicBezTo>
                  <a:cubicBezTo>
                    <a:pt x="60" y="66"/>
                    <a:pt x="104" y="109"/>
                    <a:pt x="104" y="163"/>
                  </a:cubicBezTo>
                  <a:cubicBezTo>
                    <a:pt x="104" y="217"/>
                    <a:pt x="60" y="261"/>
                    <a:pt x="5" y="261"/>
                  </a:cubicBezTo>
                  <a:cubicBezTo>
                    <a:pt x="4" y="261"/>
                    <a:pt x="3" y="261"/>
                    <a:pt x="0" y="261"/>
                  </a:cubicBezTo>
                  <a:lnTo>
                    <a:pt x="0" y="957"/>
                  </a:lnTo>
                  <a:cubicBezTo>
                    <a:pt x="0" y="957"/>
                    <a:pt x="3" y="994"/>
                    <a:pt x="61" y="994"/>
                  </a:cubicBezTo>
                  <a:cubicBezTo>
                    <a:pt x="61" y="994"/>
                    <a:pt x="127" y="995"/>
                    <a:pt x="127" y="956"/>
                  </a:cubicBezTo>
                </a:path>
              </a:pathLst>
            </a:custGeom>
            <a:solidFill>
              <a:schemeClr val="bg2"/>
            </a:solidFill>
            <a:ln w="9525" cap="flat">
              <a:noFill/>
              <a:bevel/>
              <a:headEnd/>
              <a:tailEnd/>
            </a:ln>
            <a:effectLst/>
          </p:spPr>
          <p:txBody>
            <a:bodyPr wrap="none" anchor="ctr"/>
            <a:lstStyle/>
            <a:p>
              <a:endParaRPr lang="en-US" sz="1050">
                <a:latin typeface="+mn-lt"/>
              </a:endParaRPr>
            </a:p>
          </p:txBody>
        </p:sp>
        <p:sp>
          <p:nvSpPr>
            <p:cNvPr id="299" name="Freeform 331"/>
            <p:cNvSpPr>
              <a:spLocks noChangeArrowheads="1"/>
            </p:cNvSpPr>
            <p:nvPr/>
          </p:nvSpPr>
          <p:spPr bwMode="auto">
            <a:xfrm>
              <a:off x="5200" y="2117"/>
              <a:ext cx="172" cy="5"/>
            </a:xfrm>
            <a:custGeom>
              <a:avLst/>
              <a:gdLst>
                <a:gd name="T0" fmla="*/ 0 w 764"/>
                <a:gd name="T1" fmla="*/ 5 h 28"/>
                <a:gd name="T2" fmla="*/ 0 w 764"/>
                <a:gd name="T3" fmla="*/ 0 h 28"/>
                <a:gd name="T4" fmla="*/ 172 w 764"/>
                <a:gd name="T5" fmla="*/ 0 h 28"/>
                <a:gd name="T6" fmla="*/ 172 w 764"/>
                <a:gd name="T7" fmla="*/ 5 h 28"/>
                <a:gd name="T8" fmla="*/ 0 w 764"/>
                <a:gd name="T9" fmla="*/ 5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64" h="28">
                  <a:moveTo>
                    <a:pt x="0" y="27"/>
                  </a:moveTo>
                  <a:lnTo>
                    <a:pt x="0" y="0"/>
                  </a:lnTo>
                  <a:lnTo>
                    <a:pt x="763" y="0"/>
                  </a:lnTo>
                  <a:lnTo>
                    <a:pt x="763" y="27"/>
                  </a:lnTo>
                  <a:lnTo>
                    <a:pt x="0" y="27"/>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300" name="Freeform 332"/>
            <p:cNvSpPr>
              <a:spLocks noChangeArrowheads="1"/>
            </p:cNvSpPr>
            <p:nvPr/>
          </p:nvSpPr>
          <p:spPr bwMode="auto">
            <a:xfrm>
              <a:off x="5225" y="2093"/>
              <a:ext cx="5" cy="55"/>
            </a:xfrm>
            <a:custGeom>
              <a:avLst/>
              <a:gdLst>
                <a:gd name="T0" fmla="*/ 0 w 28"/>
                <a:gd name="T1" fmla="*/ 55 h 245"/>
                <a:gd name="T2" fmla="*/ 0 w 28"/>
                <a:gd name="T3" fmla="*/ 0 h 245"/>
                <a:gd name="T4" fmla="*/ 5 w 28"/>
                <a:gd name="T5" fmla="*/ 0 h 245"/>
                <a:gd name="T6" fmla="*/ 5 w 28"/>
                <a:gd name="T7" fmla="*/ 55 h 245"/>
                <a:gd name="T8" fmla="*/ 0 w 28"/>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5">
                  <a:moveTo>
                    <a:pt x="0" y="244"/>
                  </a:moveTo>
                  <a:lnTo>
                    <a:pt x="0" y="0"/>
                  </a:lnTo>
                  <a:lnTo>
                    <a:pt x="27" y="0"/>
                  </a:lnTo>
                  <a:lnTo>
                    <a:pt x="27" y="244"/>
                  </a:lnTo>
                  <a:lnTo>
                    <a:pt x="0" y="244"/>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301" name="Freeform 333"/>
            <p:cNvSpPr>
              <a:spLocks noChangeArrowheads="1"/>
            </p:cNvSpPr>
            <p:nvPr/>
          </p:nvSpPr>
          <p:spPr bwMode="auto">
            <a:xfrm>
              <a:off x="5254" y="2093"/>
              <a:ext cx="5" cy="55"/>
            </a:xfrm>
            <a:custGeom>
              <a:avLst/>
              <a:gdLst>
                <a:gd name="T0" fmla="*/ 0 w 28"/>
                <a:gd name="T1" fmla="*/ 55 h 245"/>
                <a:gd name="T2" fmla="*/ 0 w 28"/>
                <a:gd name="T3" fmla="*/ 0 h 245"/>
                <a:gd name="T4" fmla="*/ 5 w 28"/>
                <a:gd name="T5" fmla="*/ 0 h 245"/>
                <a:gd name="T6" fmla="*/ 5 w 28"/>
                <a:gd name="T7" fmla="*/ 55 h 245"/>
                <a:gd name="T8" fmla="*/ 0 w 28"/>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5">
                  <a:moveTo>
                    <a:pt x="0" y="244"/>
                  </a:moveTo>
                  <a:lnTo>
                    <a:pt x="0" y="0"/>
                  </a:lnTo>
                  <a:lnTo>
                    <a:pt x="27" y="0"/>
                  </a:lnTo>
                  <a:lnTo>
                    <a:pt x="27" y="244"/>
                  </a:lnTo>
                  <a:lnTo>
                    <a:pt x="0" y="244"/>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302" name="Freeform 334"/>
            <p:cNvSpPr>
              <a:spLocks noChangeArrowheads="1"/>
            </p:cNvSpPr>
            <p:nvPr/>
          </p:nvSpPr>
          <p:spPr bwMode="auto">
            <a:xfrm>
              <a:off x="5284" y="2094"/>
              <a:ext cx="5" cy="54"/>
            </a:xfrm>
            <a:custGeom>
              <a:avLst/>
              <a:gdLst>
                <a:gd name="T0" fmla="*/ 0 w 28"/>
                <a:gd name="T1" fmla="*/ 54 h 243"/>
                <a:gd name="T2" fmla="*/ 0 w 28"/>
                <a:gd name="T3" fmla="*/ 0 h 243"/>
                <a:gd name="T4" fmla="*/ 5 w 28"/>
                <a:gd name="T5" fmla="*/ 0 h 243"/>
                <a:gd name="T6" fmla="*/ 5 w 28"/>
                <a:gd name="T7" fmla="*/ 54 h 243"/>
                <a:gd name="T8" fmla="*/ 0 w 28"/>
                <a:gd name="T9" fmla="*/ 54 h 2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3">
                  <a:moveTo>
                    <a:pt x="0" y="242"/>
                  </a:moveTo>
                  <a:lnTo>
                    <a:pt x="0" y="0"/>
                  </a:lnTo>
                  <a:lnTo>
                    <a:pt x="27" y="0"/>
                  </a:lnTo>
                  <a:lnTo>
                    <a:pt x="27" y="242"/>
                  </a:lnTo>
                  <a:lnTo>
                    <a:pt x="0" y="242"/>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303" name="Freeform 335"/>
            <p:cNvSpPr>
              <a:spLocks noChangeArrowheads="1"/>
            </p:cNvSpPr>
            <p:nvPr/>
          </p:nvSpPr>
          <p:spPr bwMode="auto">
            <a:xfrm>
              <a:off x="5314" y="2094"/>
              <a:ext cx="5" cy="54"/>
            </a:xfrm>
            <a:custGeom>
              <a:avLst/>
              <a:gdLst>
                <a:gd name="T0" fmla="*/ 3 w 28"/>
                <a:gd name="T1" fmla="*/ 54 h 244"/>
                <a:gd name="T2" fmla="*/ 0 w 28"/>
                <a:gd name="T3" fmla="*/ 54 h 244"/>
                <a:gd name="T4" fmla="*/ 0 w 28"/>
                <a:gd name="T5" fmla="*/ 0 h 244"/>
                <a:gd name="T6" fmla="*/ 5 w 28"/>
                <a:gd name="T7" fmla="*/ 0 h 244"/>
                <a:gd name="T8" fmla="*/ 5 w 28"/>
                <a:gd name="T9" fmla="*/ 54 h 244"/>
                <a:gd name="T10" fmla="*/ 3 w 28"/>
                <a:gd name="T11" fmla="*/ 54 h 24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244">
                  <a:moveTo>
                    <a:pt x="14" y="243"/>
                  </a:moveTo>
                  <a:lnTo>
                    <a:pt x="0" y="243"/>
                  </a:lnTo>
                  <a:lnTo>
                    <a:pt x="0" y="0"/>
                  </a:lnTo>
                  <a:lnTo>
                    <a:pt x="27" y="0"/>
                  </a:lnTo>
                  <a:lnTo>
                    <a:pt x="27" y="243"/>
                  </a:lnTo>
                  <a:lnTo>
                    <a:pt x="14" y="243"/>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304" name="Freeform 336"/>
            <p:cNvSpPr>
              <a:spLocks noChangeArrowheads="1"/>
            </p:cNvSpPr>
            <p:nvPr/>
          </p:nvSpPr>
          <p:spPr bwMode="auto">
            <a:xfrm>
              <a:off x="5342" y="2093"/>
              <a:ext cx="6" cy="55"/>
            </a:xfrm>
            <a:custGeom>
              <a:avLst/>
              <a:gdLst>
                <a:gd name="T0" fmla="*/ 0 w 29"/>
                <a:gd name="T1" fmla="*/ 55 h 245"/>
                <a:gd name="T2" fmla="*/ 0 w 29"/>
                <a:gd name="T3" fmla="*/ 0 h 245"/>
                <a:gd name="T4" fmla="*/ 6 w 29"/>
                <a:gd name="T5" fmla="*/ 0 h 245"/>
                <a:gd name="T6" fmla="*/ 6 w 29"/>
                <a:gd name="T7" fmla="*/ 55 h 245"/>
                <a:gd name="T8" fmla="*/ 0 w 29"/>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 h="245">
                  <a:moveTo>
                    <a:pt x="0" y="244"/>
                  </a:moveTo>
                  <a:lnTo>
                    <a:pt x="0" y="0"/>
                  </a:lnTo>
                  <a:lnTo>
                    <a:pt x="28" y="0"/>
                  </a:lnTo>
                  <a:lnTo>
                    <a:pt x="28" y="244"/>
                  </a:lnTo>
                  <a:lnTo>
                    <a:pt x="0" y="244"/>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305" name="Freeform 337"/>
            <p:cNvSpPr>
              <a:spLocks noChangeArrowheads="1"/>
            </p:cNvSpPr>
            <p:nvPr/>
          </p:nvSpPr>
          <p:spPr bwMode="auto">
            <a:xfrm>
              <a:off x="5195" y="2089"/>
              <a:ext cx="182" cy="62"/>
            </a:xfrm>
            <a:custGeom>
              <a:avLst/>
              <a:gdLst>
                <a:gd name="T0" fmla="*/ 0 w 809"/>
                <a:gd name="T1" fmla="*/ 62 h 278"/>
                <a:gd name="T2" fmla="*/ 0 w 809"/>
                <a:gd name="T3" fmla="*/ 0 h 278"/>
                <a:gd name="T4" fmla="*/ 182 w 809"/>
                <a:gd name="T5" fmla="*/ 0 h 278"/>
                <a:gd name="T6" fmla="*/ 182 w 809"/>
                <a:gd name="T7" fmla="*/ 59 h 278"/>
                <a:gd name="T8" fmla="*/ 182 w 809"/>
                <a:gd name="T9" fmla="*/ 62 h 278"/>
                <a:gd name="T10" fmla="*/ 0 w 809"/>
                <a:gd name="T11" fmla="*/ 62 h 278"/>
                <a:gd name="T12" fmla="*/ 6 w 809"/>
                <a:gd name="T13" fmla="*/ 56 h 278"/>
                <a:gd name="T14" fmla="*/ 175 w 809"/>
                <a:gd name="T15" fmla="*/ 56 h 278"/>
                <a:gd name="T16" fmla="*/ 175 w 809"/>
                <a:gd name="T17" fmla="*/ 6 h 278"/>
                <a:gd name="T18" fmla="*/ 6 w 809"/>
                <a:gd name="T19" fmla="*/ 6 h 278"/>
                <a:gd name="T20" fmla="*/ 6 w 809"/>
                <a:gd name="T21" fmla="*/ 56 h 2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9" h="278">
                  <a:moveTo>
                    <a:pt x="0" y="277"/>
                  </a:moveTo>
                  <a:lnTo>
                    <a:pt x="0" y="0"/>
                  </a:lnTo>
                  <a:lnTo>
                    <a:pt x="808" y="0"/>
                  </a:lnTo>
                  <a:lnTo>
                    <a:pt x="808" y="263"/>
                  </a:lnTo>
                  <a:lnTo>
                    <a:pt x="808" y="277"/>
                  </a:lnTo>
                  <a:lnTo>
                    <a:pt x="0" y="277"/>
                  </a:lnTo>
                  <a:close/>
                  <a:moveTo>
                    <a:pt x="27" y="249"/>
                  </a:moveTo>
                  <a:lnTo>
                    <a:pt x="780" y="249"/>
                  </a:lnTo>
                  <a:lnTo>
                    <a:pt x="780" y="27"/>
                  </a:lnTo>
                  <a:lnTo>
                    <a:pt x="27" y="27"/>
                  </a:lnTo>
                  <a:lnTo>
                    <a:pt x="27" y="249"/>
                  </a:lnTo>
                  <a:close/>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306" name="Freeform 338"/>
            <p:cNvSpPr>
              <a:spLocks noChangeArrowheads="1"/>
            </p:cNvSpPr>
            <p:nvPr/>
          </p:nvSpPr>
          <p:spPr bwMode="auto">
            <a:xfrm>
              <a:off x="5230" y="2094"/>
              <a:ext cx="24" cy="23"/>
            </a:xfrm>
            <a:custGeom>
              <a:avLst/>
              <a:gdLst>
                <a:gd name="T0" fmla="*/ 12 w 111"/>
                <a:gd name="T1" fmla="*/ 23 h 108"/>
                <a:gd name="T2" fmla="*/ 0 w 111"/>
                <a:gd name="T3" fmla="*/ 23 h 108"/>
                <a:gd name="T4" fmla="*/ 0 w 111"/>
                <a:gd name="T5" fmla="*/ 0 h 108"/>
                <a:gd name="T6" fmla="*/ 24 w 111"/>
                <a:gd name="T7" fmla="*/ 0 h 108"/>
                <a:gd name="T8" fmla="*/ 24 w 111"/>
                <a:gd name="T9" fmla="*/ 23 h 108"/>
                <a:gd name="T10" fmla="*/ 12 w 111"/>
                <a:gd name="T11" fmla="*/ 23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8">
                  <a:moveTo>
                    <a:pt x="54" y="107"/>
                  </a:moveTo>
                  <a:lnTo>
                    <a:pt x="0" y="107"/>
                  </a:lnTo>
                  <a:lnTo>
                    <a:pt x="0" y="0"/>
                  </a:lnTo>
                  <a:lnTo>
                    <a:pt x="110" y="0"/>
                  </a:lnTo>
                  <a:lnTo>
                    <a:pt x="110" y="107"/>
                  </a:lnTo>
                  <a:lnTo>
                    <a:pt x="54" y="107"/>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307" name="Freeform 339"/>
            <p:cNvSpPr>
              <a:spLocks noChangeArrowheads="1"/>
            </p:cNvSpPr>
            <p:nvPr/>
          </p:nvSpPr>
          <p:spPr bwMode="auto">
            <a:xfrm>
              <a:off x="5290" y="2094"/>
              <a:ext cx="24" cy="23"/>
            </a:xfrm>
            <a:custGeom>
              <a:avLst/>
              <a:gdLst>
                <a:gd name="T0" fmla="*/ 12 w 111"/>
                <a:gd name="T1" fmla="*/ 23 h 108"/>
                <a:gd name="T2" fmla="*/ 0 w 111"/>
                <a:gd name="T3" fmla="*/ 23 h 108"/>
                <a:gd name="T4" fmla="*/ 0 w 111"/>
                <a:gd name="T5" fmla="*/ 0 h 108"/>
                <a:gd name="T6" fmla="*/ 24 w 111"/>
                <a:gd name="T7" fmla="*/ 0 h 108"/>
                <a:gd name="T8" fmla="*/ 24 w 111"/>
                <a:gd name="T9" fmla="*/ 23 h 108"/>
                <a:gd name="T10" fmla="*/ 12 w 111"/>
                <a:gd name="T11" fmla="*/ 23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8">
                  <a:moveTo>
                    <a:pt x="55" y="107"/>
                  </a:moveTo>
                  <a:lnTo>
                    <a:pt x="0" y="107"/>
                  </a:lnTo>
                  <a:lnTo>
                    <a:pt x="0" y="0"/>
                  </a:lnTo>
                  <a:lnTo>
                    <a:pt x="110" y="0"/>
                  </a:lnTo>
                  <a:lnTo>
                    <a:pt x="110" y="107"/>
                  </a:lnTo>
                  <a:lnTo>
                    <a:pt x="55" y="107"/>
                  </a:lnTo>
                </a:path>
              </a:pathLst>
            </a:custGeom>
            <a:solidFill>
              <a:srgbClr val="FFFFFF"/>
            </a:solidFill>
            <a:ln w="9525" cap="flat">
              <a:noFill/>
              <a:bevel/>
              <a:headEnd/>
              <a:tailEnd/>
            </a:ln>
            <a:effectLst/>
          </p:spPr>
          <p:txBody>
            <a:bodyPr wrap="none" anchor="ctr"/>
            <a:lstStyle/>
            <a:p>
              <a:endParaRPr lang="en-US" sz="1050">
                <a:latin typeface="+mn-lt"/>
              </a:endParaRPr>
            </a:p>
          </p:txBody>
        </p:sp>
        <p:sp>
          <p:nvSpPr>
            <p:cNvPr id="308" name="Freeform 340"/>
            <p:cNvSpPr>
              <a:spLocks noChangeArrowheads="1"/>
            </p:cNvSpPr>
            <p:nvPr/>
          </p:nvSpPr>
          <p:spPr bwMode="auto">
            <a:xfrm>
              <a:off x="5319" y="2122"/>
              <a:ext cx="24" cy="23"/>
            </a:xfrm>
            <a:custGeom>
              <a:avLst/>
              <a:gdLst>
                <a:gd name="T0" fmla="*/ 12 w 111"/>
                <a:gd name="T1" fmla="*/ 23 h 107"/>
                <a:gd name="T2" fmla="*/ 0 w 111"/>
                <a:gd name="T3" fmla="*/ 23 h 107"/>
                <a:gd name="T4" fmla="*/ 0 w 111"/>
                <a:gd name="T5" fmla="*/ 0 h 107"/>
                <a:gd name="T6" fmla="*/ 24 w 111"/>
                <a:gd name="T7" fmla="*/ 0 h 107"/>
                <a:gd name="T8" fmla="*/ 24 w 111"/>
                <a:gd name="T9" fmla="*/ 23 h 107"/>
                <a:gd name="T10" fmla="*/ 12 w 111"/>
                <a:gd name="T11" fmla="*/ 23 h 1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7">
                  <a:moveTo>
                    <a:pt x="54" y="106"/>
                  </a:moveTo>
                  <a:lnTo>
                    <a:pt x="0" y="106"/>
                  </a:lnTo>
                  <a:lnTo>
                    <a:pt x="0" y="0"/>
                  </a:lnTo>
                  <a:lnTo>
                    <a:pt x="110" y="0"/>
                  </a:lnTo>
                  <a:lnTo>
                    <a:pt x="110" y="106"/>
                  </a:lnTo>
                  <a:lnTo>
                    <a:pt x="54" y="106"/>
                  </a:lnTo>
                </a:path>
              </a:pathLst>
            </a:custGeom>
            <a:solidFill>
              <a:srgbClr val="FFFFFF"/>
            </a:solidFill>
            <a:ln w="9525" cap="flat">
              <a:noFill/>
              <a:bevel/>
              <a:headEnd/>
              <a:tailEnd/>
            </a:ln>
            <a:effectLst/>
          </p:spPr>
          <p:txBody>
            <a:bodyPr wrap="none" anchor="ctr"/>
            <a:lstStyle/>
            <a:p>
              <a:endParaRPr lang="en-US" sz="1050">
                <a:latin typeface="+mn-lt"/>
              </a:endParaRPr>
            </a:p>
          </p:txBody>
        </p:sp>
      </p:grpSp>
      <p:grpSp>
        <p:nvGrpSpPr>
          <p:cNvPr id="319" name="Group 72"/>
          <p:cNvGrpSpPr/>
          <p:nvPr/>
        </p:nvGrpSpPr>
        <p:grpSpPr>
          <a:xfrm>
            <a:off x="6289413" y="4137991"/>
            <a:ext cx="272211" cy="245183"/>
            <a:chOff x="5486400" y="1781176"/>
            <a:chExt cx="671513" cy="604837"/>
          </a:xfrm>
          <a:solidFill>
            <a:schemeClr val="accent1"/>
          </a:solidFill>
        </p:grpSpPr>
        <p:sp>
          <p:nvSpPr>
            <p:cNvPr id="320" name="Freeform 58"/>
            <p:cNvSpPr>
              <a:spLocks noEditPoints="1"/>
            </p:cNvSpPr>
            <p:nvPr/>
          </p:nvSpPr>
          <p:spPr bwMode="auto">
            <a:xfrm>
              <a:off x="5486400" y="1865313"/>
              <a:ext cx="671513" cy="520700"/>
            </a:xfrm>
            <a:custGeom>
              <a:avLst/>
              <a:gdLst/>
              <a:ahLst/>
              <a:cxnLst>
                <a:cxn ang="0">
                  <a:pos x="661" y="0"/>
                </a:cxn>
                <a:cxn ang="0">
                  <a:pos x="91" y="0"/>
                </a:cxn>
                <a:cxn ang="0">
                  <a:pos x="102" y="37"/>
                </a:cxn>
                <a:cxn ang="0">
                  <a:pos x="30" y="109"/>
                </a:cxn>
                <a:cxn ang="0">
                  <a:pos x="0" y="102"/>
                </a:cxn>
                <a:cxn ang="0">
                  <a:pos x="0" y="510"/>
                </a:cxn>
                <a:cxn ang="0">
                  <a:pos x="51" y="553"/>
                </a:cxn>
                <a:cxn ang="0">
                  <a:pos x="661" y="553"/>
                </a:cxn>
                <a:cxn ang="0">
                  <a:pos x="712" y="510"/>
                </a:cxn>
                <a:cxn ang="0">
                  <a:pos x="712" y="42"/>
                </a:cxn>
                <a:cxn ang="0">
                  <a:pos x="661" y="0"/>
                </a:cxn>
                <a:cxn ang="0">
                  <a:pos x="31" y="63"/>
                </a:cxn>
                <a:cxn ang="0">
                  <a:pos x="59" y="36"/>
                </a:cxn>
                <a:cxn ang="0">
                  <a:pos x="31" y="8"/>
                </a:cxn>
                <a:cxn ang="0">
                  <a:pos x="4" y="36"/>
                </a:cxn>
                <a:cxn ang="0">
                  <a:pos x="31" y="63"/>
                </a:cxn>
                <a:cxn ang="0">
                  <a:pos x="616" y="447"/>
                </a:cxn>
                <a:cxn ang="0">
                  <a:pos x="102" y="447"/>
                </a:cxn>
                <a:cxn ang="0">
                  <a:pos x="102" y="86"/>
                </a:cxn>
                <a:cxn ang="0">
                  <a:pos x="616" y="86"/>
                </a:cxn>
                <a:cxn ang="0">
                  <a:pos x="616" y="447"/>
                </a:cxn>
                <a:cxn ang="0">
                  <a:pos x="329" y="480"/>
                </a:cxn>
                <a:cxn ang="0">
                  <a:pos x="314" y="495"/>
                </a:cxn>
                <a:cxn ang="0">
                  <a:pos x="300" y="480"/>
                </a:cxn>
                <a:cxn ang="0">
                  <a:pos x="314" y="465"/>
                </a:cxn>
                <a:cxn ang="0">
                  <a:pos x="329" y="480"/>
                </a:cxn>
                <a:cxn ang="0">
                  <a:pos x="281" y="480"/>
                </a:cxn>
                <a:cxn ang="0">
                  <a:pos x="266" y="495"/>
                </a:cxn>
                <a:cxn ang="0">
                  <a:pos x="252" y="480"/>
                </a:cxn>
                <a:cxn ang="0">
                  <a:pos x="266" y="465"/>
                </a:cxn>
                <a:cxn ang="0">
                  <a:pos x="281" y="480"/>
                </a:cxn>
                <a:cxn ang="0">
                  <a:pos x="233" y="480"/>
                </a:cxn>
                <a:cxn ang="0">
                  <a:pos x="219" y="495"/>
                </a:cxn>
                <a:cxn ang="0">
                  <a:pos x="204" y="480"/>
                </a:cxn>
                <a:cxn ang="0">
                  <a:pos x="219" y="465"/>
                </a:cxn>
                <a:cxn ang="0">
                  <a:pos x="233" y="480"/>
                </a:cxn>
                <a:cxn ang="0">
                  <a:pos x="469" y="495"/>
                </a:cxn>
                <a:cxn ang="0">
                  <a:pos x="354" y="495"/>
                </a:cxn>
                <a:cxn ang="0">
                  <a:pos x="354" y="465"/>
                </a:cxn>
                <a:cxn ang="0">
                  <a:pos x="469" y="465"/>
                </a:cxn>
                <a:cxn ang="0">
                  <a:pos x="469" y="495"/>
                </a:cxn>
              </a:cxnLst>
              <a:rect l="0" t="0" r="r" b="b"/>
              <a:pathLst>
                <a:path w="712" h="553">
                  <a:moveTo>
                    <a:pt x="661" y="0"/>
                  </a:moveTo>
                  <a:cubicBezTo>
                    <a:pt x="91" y="0"/>
                    <a:pt x="91" y="0"/>
                    <a:pt x="91" y="0"/>
                  </a:cubicBezTo>
                  <a:cubicBezTo>
                    <a:pt x="98" y="11"/>
                    <a:pt x="102" y="24"/>
                    <a:pt x="102" y="37"/>
                  </a:cubicBezTo>
                  <a:cubicBezTo>
                    <a:pt x="102" y="77"/>
                    <a:pt x="70" y="109"/>
                    <a:pt x="30" y="109"/>
                  </a:cubicBezTo>
                  <a:cubicBezTo>
                    <a:pt x="20" y="109"/>
                    <a:pt x="10" y="107"/>
                    <a:pt x="0" y="102"/>
                  </a:cubicBezTo>
                  <a:cubicBezTo>
                    <a:pt x="0" y="510"/>
                    <a:pt x="0" y="510"/>
                    <a:pt x="0" y="510"/>
                  </a:cubicBezTo>
                  <a:cubicBezTo>
                    <a:pt x="0" y="534"/>
                    <a:pt x="23" y="553"/>
                    <a:pt x="51" y="553"/>
                  </a:cubicBezTo>
                  <a:cubicBezTo>
                    <a:pt x="661" y="553"/>
                    <a:pt x="661" y="553"/>
                    <a:pt x="661" y="553"/>
                  </a:cubicBezTo>
                  <a:cubicBezTo>
                    <a:pt x="689" y="553"/>
                    <a:pt x="712" y="534"/>
                    <a:pt x="712" y="510"/>
                  </a:cubicBezTo>
                  <a:cubicBezTo>
                    <a:pt x="712" y="42"/>
                    <a:pt x="712" y="42"/>
                    <a:pt x="712" y="42"/>
                  </a:cubicBezTo>
                  <a:cubicBezTo>
                    <a:pt x="712" y="19"/>
                    <a:pt x="689" y="0"/>
                    <a:pt x="661" y="0"/>
                  </a:cubicBezTo>
                  <a:close/>
                  <a:moveTo>
                    <a:pt x="31" y="63"/>
                  </a:moveTo>
                  <a:cubicBezTo>
                    <a:pt x="47" y="63"/>
                    <a:pt x="59" y="51"/>
                    <a:pt x="59" y="36"/>
                  </a:cubicBezTo>
                  <a:cubicBezTo>
                    <a:pt x="59" y="20"/>
                    <a:pt x="47" y="8"/>
                    <a:pt x="31" y="8"/>
                  </a:cubicBezTo>
                  <a:cubicBezTo>
                    <a:pt x="16" y="8"/>
                    <a:pt x="4" y="20"/>
                    <a:pt x="4" y="36"/>
                  </a:cubicBezTo>
                  <a:cubicBezTo>
                    <a:pt x="4" y="51"/>
                    <a:pt x="16" y="63"/>
                    <a:pt x="31" y="63"/>
                  </a:cubicBezTo>
                  <a:close/>
                  <a:moveTo>
                    <a:pt x="616" y="447"/>
                  </a:moveTo>
                  <a:cubicBezTo>
                    <a:pt x="102" y="447"/>
                    <a:pt x="102" y="447"/>
                    <a:pt x="102" y="447"/>
                  </a:cubicBezTo>
                  <a:cubicBezTo>
                    <a:pt x="102" y="86"/>
                    <a:pt x="102" y="86"/>
                    <a:pt x="102" y="86"/>
                  </a:cubicBezTo>
                  <a:cubicBezTo>
                    <a:pt x="616" y="86"/>
                    <a:pt x="616" y="86"/>
                    <a:pt x="616" y="86"/>
                  </a:cubicBezTo>
                  <a:lnTo>
                    <a:pt x="616" y="447"/>
                  </a:lnTo>
                  <a:close/>
                  <a:moveTo>
                    <a:pt x="329" y="480"/>
                  </a:moveTo>
                  <a:cubicBezTo>
                    <a:pt x="329" y="488"/>
                    <a:pt x="322" y="495"/>
                    <a:pt x="314" y="495"/>
                  </a:cubicBezTo>
                  <a:cubicBezTo>
                    <a:pt x="306" y="495"/>
                    <a:pt x="300" y="488"/>
                    <a:pt x="300" y="480"/>
                  </a:cubicBezTo>
                  <a:cubicBezTo>
                    <a:pt x="300" y="472"/>
                    <a:pt x="306" y="465"/>
                    <a:pt x="314" y="465"/>
                  </a:cubicBezTo>
                  <a:cubicBezTo>
                    <a:pt x="322" y="465"/>
                    <a:pt x="329" y="472"/>
                    <a:pt x="329" y="480"/>
                  </a:cubicBezTo>
                  <a:close/>
                  <a:moveTo>
                    <a:pt x="281" y="480"/>
                  </a:moveTo>
                  <a:cubicBezTo>
                    <a:pt x="281" y="488"/>
                    <a:pt x="275" y="495"/>
                    <a:pt x="266" y="495"/>
                  </a:cubicBezTo>
                  <a:cubicBezTo>
                    <a:pt x="258" y="495"/>
                    <a:pt x="252" y="488"/>
                    <a:pt x="252" y="480"/>
                  </a:cubicBezTo>
                  <a:cubicBezTo>
                    <a:pt x="252" y="472"/>
                    <a:pt x="258" y="465"/>
                    <a:pt x="266" y="465"/>
                  </a:cubicBezTo>
                  <a:cubicBezTo>
                    <a:pt x="275" y="465"/>
                    <a:pt x="281" y="472"/>
                    <a:pt x="281" y="480"/>
                  </a:cubicBezTo>
                  <a:close/>
                  <a:moveTo>
                    <a:pt x="233" y="480"/>
                  </a:moveTo>
                  <a:cubicBezTo>
                    <a:pt x="233" y="488"/>
                    <a:pt x="227" y="495"/>
                    <a:pt x="219" y="495"/>
                  </a:cubicBezTo>
                  <a:cubicBezTo>
                    <a:pt x="210" y="495"/>
                    <a:pt x="204" y="488"/>
                    <a:pt x="204" y="480"/>
                  </a:cubicBezTo>
                  <a:cubicBezTo>
                    <a:pt x="204" y="472"/>
                    <a:pt x="210" y="465"/>
                    <a:pt x="219" y="465"/>
                  </a:cubicBezTo>
                  <a:cubicBezTo>
                    <a:pt x="227" y="465"/>
                    <a:pt x="233" y="472"/>
                    <a:pt x="233" y="480"/>
                  </a:cubicBezTo>
                  <a:close/>
                  <a:moveTo>
                    <a:pt x="469" y="495"/>
                  </a:moveTo>
                  <a:cubicBezTo>
                    <a:pt x="354" y="495"/>
                    <a:pt x="354" y="495"/>
                    <a:pt x="354" y="495"/>
                  </a:cubicBezTo>
                  <a:cubicBezTo>
                    <a:pt x="354" y="465"/>
                    <a:pt x="354" y="465"/>
                    <a:pt x="354" y="465"/>
                  </a:cubicBezTo>
                  <a:cubicBezTo>
                    <a:pt x="469" y="465"/>
                    <a:pt x="469" y="465"/>
                    <a:pt x="469" y="465"/>
                  </a:cubicBezTo>
                  <a:lnTo>
                    <a:pt x="469" y="495"/>
                  </a:ln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charset="0"/>
                <a:cs typeface="MS PGothic" charset="0"/>
              </a:endParaRPr>
            </a:p>
          </p:txBody>
        </p:sp>
        <p:sp>
          <p:nvSpPr>
            <p:cNvPr id="321" name="Freeform 59"/>
            <p:cNvSpPr>
              <a:spLocks noEditPoints="1"/>
            </p:cNvSpPr>
            <p:nvPr/>
          </p:nvSpPr>
          <p:spPr bwMode="auto">
            <a:xfrm>
              <a:off x="5653088" y="1781176"/>
              <a:ext cx="346075" cy="63500"/>
            </a:xfrm>
            <a:custGeom>
              <a:avLst/>
              <a:gdLst/>
              <a:ahLst/>
              <a:cxnLst>
                <a:cxn ang="0">
                  <a:pos x="367" y="46"/>
                </a:cxn>
                <a:cxn ang="0">
                  <a:pos x="347" y="66"/>
                </a:cxn>
                <a:cxn ang="0">
                  <a:pos x="20" y="66"/>
                </a:cxn>
                <a:cxn ang="0">
                  <a:pos x="0" y="46"/>
                </a:cxn>
                <a:cxn ang="0">
                  <a:pos x="0" y="20"/>
                </a:cxn>
                <a:cxn ang="0">
                  <a:pos x="20" y="0"/>
                </a:cxn>
                <a:cxn ang="0">
                  <a:pos x="347" y="0"/>
                </a:cxn>
                <a:cxn ang="0">
                  <a:pos x="367" y="20"/>
                </a:cxn>
                <a:cxn ang="0">
                  <a:pos x="367" y="46"/>
                </a:cxn>
                <a:cxn ang="0">
                  <a:pos x="54" y="16"/>
                </a:cxn>
                <a:cxn ang="0">
                  <a:pos x="39" y="30"/>
                </a:cxn>
                <a:cxn ang="0">
                  <a:pos x="54" y="44"/>
                </a:cxn>
                <a:cxn ang="0">
                  <a:pos x="68" y="30"/>
                </a:cxn>
                <a:cxn ang="0">
                  <a:pos x="54" y="16"/>
                </a:cxn>
                <a:cxn ang="0">
                  <a:pos x="96" y="16"/>
                </a:cxn>
                <a:cxn ang="0">
                  <a:pos x="82" y="30"/>
                </a:cxn>
                <a:cxn ang="0">
                  <a:pos x="96" y="44"/>
                </a:cxn>
                <a:cxn ang="0">
                  <a:pos x="111" y="30"/>
                </a:cxn>
                <a:cxn ang="0">
                  <a:pos x="96" y="16"/>
                </a:cxn>
              </a:cxnLst>
              <a:rect l="0" t="0" r="r" b="b"/>
              <a:pathLst>
                <a:path w="367" h="66">
                  <a:moveTo>
                    <a:pt x="367" y="46"/>
                  </a:moveTo>
                  <a:cubicBezTo>
                    <a:pt x="367" y="57"/>
                    <a:pt x="358" y="66"/>
                    <a:pt x="347" y="66"/>
                  </a:cubicBezTo>
                  <a:cubicBezTo>
                    <a:pt x="20" y="66"/>
                    <a:pt x="20" y="66"/>
                    <a:pt x="20" y="66"/>
                  </a:cubicBezTo>
                  <a:cubicBezTo>
                    <a:pt x="9" y="66"/>
                    <a:pt x="0" y="57"/>
                    <a:pt x="0" y="46"/>
                  </a:cubicBezTo>
                  <a:cubicBezTo>
                    <a:pt x="0" y="20"/>
                    <a:pt x="0" y="20"/>
                    <a:pt x="0" y="20"/>
                  </a:cubicBezTo>
                  <a:cubicBezTo>
                    <a:pt x="0" y="9"/>
                    <a:pt x="9" y="0"/>
                    <a:pt x="20" y="0"/>
                  </a:cubicBezTo>
                  <a:cubicBezTo>
                    <a:pt x="347" y="0"/>
                    <a:pt x="347" y="0"/>
                    <a:pt x="347" y="0"/>
                  </a:cubicBezTo>
                  <a:cubicBezTo>
                    <a:pt x="358" y="0"/>
                    <a:pt x="367" y="9"/>
                    <a:pt x="367" y="20"/>
                  </a:cubicBezTo>
                  <a:lnTo>
                    <a:pt x="367" y="46"/>
                  </a:lnTo>
                  <a:close/>
                  <a:moveTo>
                    <a:pt x="54" y="16"/>
                  </a:moveTo>
                  <a:cubicBezTo>
                    <a:pt x="46" y="16"/>
                    <a:pt x="39" y="22"/>
                    <a:pt x="39" y="30"/>
                  </a:cubicBezTo>
                  <a:cubicBezTo>
                    <a:pt x="39" y="38"/>
                    <a:pt x="46" y="44"/>
                    <a:pt x="54" y="44"/>
                  </a:cubicBezTo>
                  <a:cubicBezTo>
                    <a:pt x="62" y="44"/>
                    <a:pt x="68" y="38"/>
                    <a:pt x="68" y="30"/>
                  </a:cubicBezTo>
                  <a:cubicBezTo>
                    <a:pt x="68" y="22"/>
                    <a:pt x="62" y="16"/>
                    <a:pt x="54" y="16"/>
                  </a:cubicBezTo>
                  <a:close/>
                  <a:moveTo>
                    <a:pt x="96" y="16"/>
                  </a:moveTo>
                  <a:cubicBezTo>
                    <a:pt x="88" y="16"/>
                    <a:pt x="82" y="22"/>
                    <a:pt x="82" y="30"/>
                  </a:cubicBezTo>
                  <a:cubicBezTo>
                    <a:pt x="82" y="38"/>
                    <a:pt x="88" y="44"/>
                    <a:pt x="96" y="44"/>
                  </a:cubicBezTo>
                  <a:cubicBezTo>
                    <a:pt x="104" y="44"/>
                    <a:pt x="111" y="38"/>
                    <a:pt x="111" y="30"/>
                  </a:cubicBezTo>
                  <a:cubicBezTo>
                    <a:pt x="111" y="22"/>
                    <a:pt x="104" y="16"/>
                    <a:pt x="96" y="16"/>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charset="0"/>
                <a:cs typeface="MS PGothic" charset="0"/>
              </a:endParaRPr>
            </a:p>
          </p:txBody>
        </p:sp>
      </p:grpSp>
      <p:grpSp>
        <p:nvGrpSpPr>
          <p:cNvPr id="322" name="Group 72"/>
          <p:cNvGrpSpPr/>
          <p:nvPr/>
        </p:nvGrpSpPr>
        <p:grpSpPr>
          <a:xfrm>
            <a:off x="4564731" y="3682086"/>
            <a:ext cx="272211" cy="245183"/>
            <a:chOff x="5486400" y="1781176"/>
            <a:chExt cx="671513" cy="604837"/>
          </a:xfrm>
          <a:solidFill>
            <a:schemeClr val="accent1"/>
          </a:solidFill>
        </p:grpSpPr>
        <p:sp>
          <p:nvSpPr>
            <p:cNvPr id="323" name="Freeform 58"/>
            <p:cNvSpPr>
              <a:spLocks noEditPoints="1"/>
            </p:cNvSpPr>
            <p:nvPr/>
          </p:nvSpPr>
          <p:spPr bwMode="auto">
            <a:xfrm>
              <a:off x="5486400" y="1865313"/>
              <a:ext cx="671513" cy="520700"/>
            </a:xfrm>
            <a:custGeom>
              <a:avLst/>
              <a:gdLst/>
              <a:ahLst/>
              <a:cxnLst>
                <a:cxn ang="0">
                  <a:pos x="661" y="0"/>
                </a:cxn>
                <a:cxn ang="0">
                  <a:pos x="91" y="0"/>
                </a:cxn>
                <a:cxn ang="0">
                  <a:pos x="102" y="37"/>
                </a:cxn>
                <a:cxn ang="0">
                  <a:pos x="30" y="109"/>
                </a:cxn>
                <a:cxn ang="0">
                  <a:pos x="0" y="102"/>
                </a:cxn>
                <a:cxn ang="0">
                  <a:pos x="0" y="510"/>
                </a:cxn>
                <a:cxn ang="0">
                  <a:pos x="51" y="553"/>
                </a:cxn>
                <a:cxn ang="0">
                  <a:pos x="661" y="553"/>
                </a:cxn>
                <a:cxn ang="0">
                  <a:pos x="712" y="510"/>
                </a:cxn>
                <a:cxn ang="0">
                  <a:pos x="712" y="42"/>
                </a:cxn>
                <a:cxn ang="0">
                  <a:pos x="661" y="0"/>
                </a:cxn>
                <a:cxn ang="0">
                  <a:pos x="31" y="63"/>
                </a:cxn>
                <a:cxn ang="0">
                  <a:pos x="59" y="36"/>
                </a:cxn>
                <a:cxn ang="0">
                  <a:pos x="31" y="8"/>
                </a:cxn>
                <a:cxn ang="0">
                  <a:pos x="4" y="36"/>
                </a:cxn>
                <a:cxn ang="0">
                  <a:pos x="31" y="63"/>
                </a:cxn>
                <a:cxn ang="0">
                  <a:pos x="616" y="447"/>
                </a:cxn>
                <a:cxn ang="0">
                  <a:pos x="102" y="447"/>
                </a:cxn>
                <a:cxn ang="0">
                  <a:pos x="102" y="86"/>
                </a:cxn>
                <a:cxn ang="0">
                  <a:pos x="616" y="86"/>
                </a:cxn>
                <a:cxn ang="0">
                  <a:pos x="616" y="447"/>
                </a:cxn>
                <a:cxn ang="0">
                  <a:pos x="329" y="480"/>
                </a:cxn>
                <a:cxn ang="0">
                  <a:pos x="314" y="495"/>
                </a:cxn>
                <a:cxn ang="0">
                  <a:pos x="300" y="480"/>
                </a:cxn>
                <a:cxn ang="0">
                  <a:pos x="314" y="465"/>
                </a:cxn>
                <a:cxn ang="0">
                  <a:pos x="329" y="480"/>
                </a:cxn>
                <a:cxn ang="0">
                  <a:pos x="281" y="480"/>
                </a:cxn>
                <a:cxn ang="0">
                  <a:pos x="266" y="495"/>
                </a:cxn>
                <a:cxn ang="0">
                  <a:pos x="252" y="480"/>
                </a:cxn>
                <a:cxn ang="0">
                  <a:pos x="266" y="465"/>
                </a:cxn>
                <a:cxn ang="0">
                  <a:pos x="281" y="480"/>
                </a:cxn>
                <a:cxn ang="0">
                  <a:pos x="233" y="480"/>
                </a:cxn>
                <a:cxn ang="0">
                  <a:pos x="219" y="495"/>
                </a:cxn>
                <a:cxn ang="0">
                  <a:pos x="204" y="480"/>
                </a:cxn>
                <a:cxn ang="0">
                  <a:pos x="219" y="465"/>
                </a:cxn>
                <a:cxn ang="0">
                  <a:pos x="233" y="480"/>
                </a:cxn>
                <a:cxn ang="0">
                  <a:pos x="469" y="495"/>
                </a:cxn>
                <a:cxn ang="0">
                  <a:pos x="354" y="495"/>
                </a:cxn>
                <a:cxn ang="0">
                  <a:pos x="354" y="465"/>
                </a:cxn>
                <a:cxn ang="0">
                  <a:pos x="469" y="465"/>
                </a:cxn>
                <a:cxn ang="0">
                  <a:pos x="469" y="495"/>
                </a:cxn>
              </a:cxnLst>
              <a:rect l="0" t="0" r="r" b="b"/>
              <a:pathLst>
                <a:path w="712" h="553">
                  <a:moveTo>
                    <a:pt x="661" y="0"/>
                  </a:moveTo>
                  <a:cubicBezTo>
                    <a:pt x="91" y="0"/>
                    <a:pt x="91" y="0"/>
                    <a:pt x="91" y="0"/>
                  </a:cubicBezTo>
                  <a:cubicBezTo>
                    <a:pt x="98" y="11"/>
                    <a:pt x="102" y="24"/>
                    <a:pt x="102" y="37"/>
                  </a:cubicBezTo>
                  <a:cubicBezTo>
                    <a:pt x="102" y="77"/>
                    <a:pt x="70" y="109"/>
                    <a:pt x="30" y="109"/>
                  </a:cubicBezTo>
                  <a:cubicBezTo>
                    <a:pt x="20" y="109"/>
                    <a:pt x="10" y="107"/>
                    <a:pt x="0" y="102"/>
                  </a:cubicBezTo>
                  <a:cubicBezTo>
                    <a:pt x="0" y="510"/>
                    <a:pt x="0" y="510"/>
                    <a:pt x="0" y="510"/>
                  </a:cubicBezTo>
                  <a:cubicBezTo>
                    <a:pt x="0" y="534"/>
                    <a:pt x="23" y="553"/>
                    <a:pt x="51" y="553"/>
                  </a:cubicBezTo>
                  <a:cubicBezTo>
                    <a:pt x="661" y="553"/>
                    <a:pt x="661" y="553"/>
                    <a:pt x="661" y="553"/>
                  </a:cubicBezTo>
                  <a:cubicBezTo>
                    <a:pt x="689" y="553"/>
                    <a:pt x="712" y="534"/>
                    <a:pt x="712" y="510"/>
                  </a:cubicBezTo>
                  <a:cubicBezTo>
                    <a:pt x="712" y="42"/>
                    <a:pt x="712" y="42"/>
                    <a:pt x="712" y="42"/>
                  </a:cubicBezTo>
                  <a:cubicBezTo>
                    <a:pt x="712" y="19"/>
                    <a:pt x="689" y="0"/>
                    <a:pt x="661" y="0"/>
                  </a:cubicBezTo>
                  <a:close/>
                  <a:moveTo>
                    <a:pt x="31" y="63"/>
                  </a:moveTo>
                  <a:cubicBezTo>
                    <a:pt x="47" y="63"/>
                    <a:pt x="59" y="51"/>
                    <a:pt x="59" y="36"/>
                  </a:cubicBezTo>
                  <a:cubicBezTo>
                    <a:pt x="59" y="20"/>
                    <a:pt x="47" y="8"/>
                    <a:pt x="31" y="8"/>
                  </a:cubicBezTo>
                  <a:cubicBezTo>
                    <a:pt x="16" y="8"/>
                    <a:pt x="4" y="20"/>
                    <a:pt x="4" y="36"/>
                  </a:cubicBezTo>
                  <a:cubicBezTo>
                    <a:pt x="4" y="51"/>
                    <a:pt x="16" y="63"/>
                    <a:pt x="31" y="63"/>
                  </a:cubicBezTo>
                  <a:close/>
                  <a:moveTo>
                    <a:pt x="616" y="447"/>
                  </a:moveTo>
                  <a:cubicBezTo>
                    <a:pt x="102" y="447"/>
                    <a:pt x="102" y="447"/>
                    <a:pt x="102" y="447"/>
                  </a:cubicBezTo>
                  <a:cubicBezTo>
                    <a:pt x="102" y="86"/>
                    <a:pt x="102" y="86"/>
                    <a:pt x="102" y="86"/>
                  </a:cubicBezTo>
                  <a:cubicBezTo>
                    <a:pt x="616" y="86"/>
                    <a:pt x="616" y="86"/>
                    <a:pt x="616" y="86"/>
                  </a:cubicBezTo>
                  <a:lnTo>
                    <a:pt x="616" y="447"/>
                  </a:lnTo>
                  <a:close/>
                  <a:moveTo>
                    <a:pt x="329" y="480"/>
                  </a:moveTo>
                  <a:cubicBezTo>
                    <a:pt x="329" y="488"/>
                    <a:pt x="322" y="495"/>
                    <a:pt x="314" y="495"/>
                  </a:cubicBezTo>
                  <a:cubicBezTo>
                    <a:pt x="306" y="495"/>
                    <a:pt x="300" y="488"/>
                    <a:pt x="300" y="480"/>
                  </a:cubicBezTo>
                  <a:cubicBezTo>
                    <a:pt x="300" y="472"/>
                    <a:pt x="306" y="465"/>
                    <a:pt x="314" y="465"/>
                  </a:cubicBezTo>
                  <a:cubicBezTo>
                    <a:pt x="322" y="465"/>
                    <a:pt x="329" y="472"/>
                    <a:pt x="329" y="480"/>
                  </a:cubicBezTo>
                  <a:close/>
                  <a:moveTo>
                    <a:pt x="281" y="480"/>
                  </a:moveTo>
                  <a:cubicBezTo>
                    <a:pt x="281" y="488"/>
                    <a:pt x="275" y="495"/>
                    <a:pt x="266" y="495"/>
                  </a:cubicBezTo>
                  <a:cubicBezTo>
                    <a:pt x="258" y="495"/>
                    <a:pt x="252" y="488"/>
                    <a:pt x="252" y="480"/>
                  </a:cubicBezTo>
                  <a:cubicBezTo>
                    <a:pt x="252" y="472"/>
                    <a:pt x="258" y="465"/>
                    <a:pt x="266" y="465"/>
                  </a:cubicBezTo>
                  <a:cubicBezTo>
                    <a:pt x="275" y="465"/>
                    <a:pt x="281" y="472"/>
                    <a:pt x="281" y="480"/>
                  </a:cubicBezTo>
                  <a:close/>
                  <a:moveTo>
                    <a:pt x="233" y="480"/>
                  </a:moveTo>
                  <a:cubicBezTo>
                    <a:pt x="233" y="488"/>
                    <a:pt x="227" y="495"/>
                    <a:pt x="219" y="495"/>
                  </a:cubicBezTo>
                  <a:cubicBezTo>
                    <a:pt x="210" y="495"/>
                    <a:pt x="204" y="488"/>
                    <a:pt x="204" y="480"/>
                  </a:cubicBezTo>
                  <a:cubicBezTo>
                    <a:pt x="204" y="472"/>
                    <a:pt x="210" y="465"/>
                    <a:pt x="219" y="465"/>
                  </a:cubicBezTo>
                  <a:cubicBezTo>
                    <a:pt x="227" y="465"/>
                    <a:pt x="233" y="472"/>
                    <a:pt x="233" y="480"/>
                  </a:cubicBezTo>
                  <a:close/>
                  <a:moveTo>
                    <a:pt x="469" y="495"/>
                  </a:moveTo>
                  <a:cubicBezTo>
                    <a:pt x="354" y="495"/>
                    <a:pt x="354" y="495"/>
                    <a:pt x="354" y="495"/>
                  </a:cubicBezTo>
                  <a:cubicBezTo>
                    <a:pt x="354" y="465"/>
                    <a:pt x="354" y="465"/>
                    <a:pt x="354" y="465"/>
                  </a:cubicBezTo>
                  <a:cubicBezTo>
                    <a:pt x="469" y="465"/>
                    <a:pt x="469" y="465"/>
                    <a:pt x="469" y="465"/>
                  </a:cubicBezTo>
                  <a:lnTo>
                    <a:pt x="469" y="495"/>
                  </a:ln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charset="0"/>
                <a:cs typeface="MS PGothic" charset="0"/>
              </a:endParaRPr>
            </a:p>
          </p:txBody>
        </p:sp>
        <p:sp>
          <p:nvSpPr>
            <p:cNvPr id="324" name="Freeform 59"/>
            <p:cNvSpPr>
              <a:spLocks noEditPoints="1"/>
            </p:cNvSpPr>
            <p:nvPr/>
          </p:nvSpPr>
          <p:spPr bwMode="auto">
            <a:xfrm>
              <a:off x="5653088" y="1781176"/>
              <a:ext cx="346075" cy="63500"/>
            </a:xfrm>
            <a:custGeom>
              <a:avLst/>
              <a:gdLst/>
              <a:ahLst/>
              <a:cxnLst>
                <a:cxn ang="0">
                  <a:pos x="367" y="46"/>
                </a:cxn>
                <a:cxn ang="0">
                  <a:pos x="347" y="66"/>
                </a:cxn>
                <a:cxn ang="0">
                  <a:pos x="20" y="66"/>
                </a:cxn>
                <a:cxn ang="0">
                  <a:pos x="0" y="46"/>
                </a:cxn>
                <a:cxn ang="0">
                  <a:pos x="0" y="20"/>
                </a:cxn>
                <a:cxn ang="0">
                  <a:pos x="20" y="0"/>
                </a:cxn>
                <a:cxn ang="0">
                  <a:pos x="347" y="0"/>
                </a:cxn>
                <a:cxn ang="0">
                  <a:pos x="367" y="20"/>
                </a:cxn>
                <a:cxn ang="0">
                  <a:pos x="367" y="46"/>
                </a:cxn>
                <a:cxn ang="0">
                  <a:pos x="54" y="16"/>
                </a:cxn>
                <a:cxn ang="0">
                  <a:pos x="39" y="30"/>
                </a:cxn>
                <a:cxn ang="0">
                  <a:pos x="54" y="44"/>
                </a:cxn>
                <a:cxn ang="0">
                  <a:pos x="68" y="30"/>
                </a:cxn>
                <a:cxn ang="0">
                  <a:pos x="54" y="16"/>
                </a:cxn>
                <a:cxn ang="0">
                  <a:pos x="96" y="16"/>
                </a:cxn>
                <a:cxn ang="0">
                  <a:pos x="82" y="30"/>
                </a:cxn>
                <a:cxn ang="0">
                  <a:pos x="96" y="44"/>
                </a:cxn>
                <a:cxn ang="0">
                  <a:pos x="111" y="30"/>
                </a:cxn>
                <a:cxn ang="0">
                  <a:pos x="96" y="16"/>
                </a:cxn>
              </a:cxnLst>
              <a:rect l="0" t="0" r="r" b="b"/>
              <a:pathLst>
                <a:path w="367" h="66">
                  <a:moveTo>
                    <a:pt x="367" y="46"/>
                  </a:moveTo>
                  <a:cubicBezTo>
                    <a:pt x="367" y="57"/>
                    <a:pt x="358" y="66"/>
                    <a:pt x="347" y="66"/>
                  </a:cubicBezTo>
                  <a:cubicBezTo>
                    <a:pt x="20" y="66"/>
                    <a:pt x="20" y="66"/>
                    <a:pt x="20" y="66"/>
                  </a:cubicBezTo>
                  <a:cubicBezTo>
                    <a:pt x="9" y="66"/>
                    <a:pt x="0" y="57"/>
                    <a:pt x="0" y="46"/>
                  </a:cubicBezTo>
                  <a:cubicBezTo>
                    <a:pt x="0" y="20"/>
                    <a:pt x="0" y="20"/>
                    <a:pt x="0" y="20"/>
                  </a:cubicBezTo>
                  <a:cubicBezTo>
                    <a:pt x="0" y="9"/>
                    <a:pt x="9" y="0"/>
                    <a:pt x="20" y="0"/>
                  </a:cubicBezTo>
                  <a:cubicBezTo>
                    <a:pt x="347" y="0"/>
                    <a:pt x="347" y="0"/>
                    <a:pt x="347" y="0"/>
                  </a:cubicBezTo>
                  <a:cubicBezTo>
                    <a:pt x="358" y="0"/>
                    <a:pt x="367" y="9"/>
                    <a:pt x="367" y="20"/>
                  </a:cubicBezTo>
                  <a:lnTo>
                    <a:pt x="367" y="46"/>
                  </a:lnTo>
                  <a:close/>
                  <a:moveTo>
                    <a:pt x="54" y="16"/>
                  </a:moveTo>
                  <a:cubicBezTo>
                    <a:pt x="46" y="16"/>
                    <a:pt x="39" y="22"/>
                    <a:pt x="39" y="30"/>
                  </a:cubicBezTo>
                  <a:cubicBezTo>
                    <a:pt x="39" y="38"/>
                    <a:pt x="46" y="44"/>
                    <a:pt x="54" y="44"/>
                  </a:cubicBezTo>
                  <a:cubicBezTo>
                    <a:pt x="62" y="44"/>
                    <a:pt x="68" y="38"/>
                    <a:pt x="68" y="30"/>
                  </a:cubicBezTo>
                  <a:cubicBezTo>
                    <a:pt x="68" y="22"/>
                    <a:pt x="62" y="16"/>
                    <a:pt x="54" y="16"/>
                  </a:cubicBezTo>
                  <a:close/>
                  <a:moveTo>
                    <a:pt x="96" y="16"/>
                  </a:moveTo>
                  <a:cubicBezTo>
                    <a:pt x="88" y="16"/>
                    <a:pt x="82" y="22"/>
                    <a:pt x="82" y="30"/>
                  </a:cubicBezTo>
                  <a:cubicBezTo>
                    <a:pt x="82" y="38"/>
                    <a:pt x="88" y="44"/>
                    <a:pt x="96" y="44"/>
                  </a:cubicBezTo>
                  <a:cubicBezTo>
                    <a:pt x="104" y="44"/>
                    <a:pt x="111" y="38"/>
                    <a:pt x="111" y="30"/>
                  </a:cubicBezTo>
                  <a:cubicBezTo>
                    <a:pt x="111" y="22"/>
                    <a:pt x="104" y="16"/>
                    <a:pt x="96" y="16"/>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charset="0"/>
                <a:cs typeface="MS PGothic" charset="0"/>
              </a:endParaRPr>
            </a:p>
          </p:txBody>
        </p:sp>
      </p:grpSp>
      <p:sp>
        <p:nvSpPr>
          <p:cNvPr id="61" name="Freeform 107"/>
          <p:cNvSpPr>
            <a:spLocks noEditPoints="1"/>
          </p:cNvSpPr>
          <p:nvPr/>
        </p:nvSpPr>
        <p:spPr bwMode="auto">
          <a:xfrm>
            <a:off x="2882372" y="3898733"/>
            <a:ext cx="258969" cy="210585"/>
          </a:xfrm>
          <a:custGeom>
            <a:avLst/>
            <a:gdLst>
              <a:gd name="T0" fmla="*/ 531826 w 605"/>
              <a:gd name="T1" fmla="*/ 0 h 545"/>
              <a:gd name="T2" fmla="*/ 96352 w 605"/>
              <a:gd name="T3" fmla="*/ 0 h 545"/>
              <a:gd name="T4" fmla="*/ 102964 w 605"/>
              <a:gd name="T5" fmla="*/ 28400 h 545"/>
              <a:gd name="T6" fmla="*/ 34951 w 605"/>
              <a:gd name="T7" fmla="*/ 95614 h 545"/>
              <a:gd name="T8" fmla="*/ 0 w 605"/>
              <a:gd name="T9" fmla="*/ 85201 h 545"/>
              <a:gd name="T10" fmla="*/ 0 w 605"/>
              <a:gd name="T11" fmla="*/ 467657 h 545"/>
              <a:gd name="T12" fmla="*/ 39674 w 605"/>
              <a:gd name="T13" fmla="*/ 515937 h 545"/>
              <a:gd name="T14" fmla="*/ 531826 w 605"/>
              <a:gd name="T15" fmla="*/ 515937 h 545"/>
              <a:gd name="T16" fmla="*/ 571500 w 605"/>
              <a:gd name="T17" fmla="*/ 467657 h 545"/>
              <a:gd name="T18" fmla="*/ 571500 w 605"/>
              <a:gd name="T19" fmla="*/ 48280 h 545"/>
              <a:gd name="T20" fmla="*/ 531826 w 605"/>
              <a:gd name="T21" fmla="*/ 0 h 545"/>
              <a:gd name="T22" fmla="*/ 34007 w 605"/>
              <a:gd name="T23" fmla="*/ 54907 h 545"/>
              <a:gd name="T24" fmla="*/ 59512 w 605"/>
              <a:gd name="T25" fmla="*/ 29347 h 545"/>
              <a:gd name="T26" fmla="*/ 34007 w 605"/>
              <a:gd name="T27" fmla="*/ 2840 h 545"/>
              <a:gd name="T28" fmla="*/ 7557 w 605"/>
              <a:gd name="T29" fmla="*/ 29347 h 545"/>
              <a:gd name="T30" fmla="*/ 34007 w 605"/>
              <a:gd name="T31" fmla="*/ 54907 h 545"/>
              <a:gd name="T32" fmla="*/ 364626 w 605"/>
              <a:gd name="T33" fmla="*/ 274535 h 545"/>
              <a:gd name="T34" fmla="*/ 98241 w 605"/>
              <a:gd name="T35" fmla="*/ 274535 h 545"/>
              <a:gd name="T36" fmla="*/ 98241 w 605"/>
              <a:gd name="T37" fmla="*/ 131588 h 545"/>
              <a:gd name="T38" fmla="*/ 364626 w 605"/>
              <a:gd name="T39" fmla="*/ 131588 h 545"/>
              <a:gd name="T40" fmla="*/ 364626 w 605"/>
              <a:gd name="T41" fmla="*/ 274535 h 545"/>
              <a:gd name="T42" fmla="*/ 194593 w 605"/>
              <a:gd name="T43" fmla="*/ 251815 h 545"/>
              <a:gd name="T44" fmla="*/ 194593 w 605"/>
              <a:gd name="T45" fmla="*/ 244242 h 545"/>
              <a:gd name="T46" fmla="*/ 204984 w 605"/>
              <a:gd name="T47" fmla="*/ 234775 h 545"/>
              <a:gd name="T48" fmla="*/ 239936 w 605"/>
              <a:gd name="T49" fmla="*/ 185548 h 545"/>
              <a:gd name="T50" fmla="*/ 221043 w 605"/>
              <a:gd name="T51" fmla="*/ 167561 h 545"/>
              <a:gd name="T52" fmla="*/ 201206 w 605"/>
              <a:gd name="T53" fmla="*/ 175135 h 545"/>
              <a:gd name="T54" fmla="*/ 197427 w 605"/>
              <a:gd name="T55" fmla="*/ 165668 h 545"/>
              <a:gd name="T56" fmla="*/ 223877 w 605"/>
              <a:gd name="T57" fmla="*/ 156201 h 545"/>
              <a:gd name="T58" fmla="*/ 252216 w 605"/>
              <a:gd name="T59" fmla="*/ 183655 h 545"/>
              <a:gd name="T60" fmla="*/ 220098 w 605"/>
              <a:gd name="T61" fmla="*/ 233828 h 545"/>
              <a:gd name="T62" fmla="*/ 212541 w 605"/>
              <a:gd name="T63" fmla="*/ 241402 h 545"/>
              <a:gd name="T64" fmla="*/ 212541 w 605"/>
              <a:gd name="T65" fmla="*/ 241402 h 545"/>
              <a:gd name="T66" fmla="*/ 255050 w 605"/>
              <a:gd name="T67" fmla="*/ 241402 h 545"/>
              <a:gd name="T68" fmla="*/ 255050 w 605"/>
              <a:gd name="T69" fmla="*/ 251815 h 545"/>
              <a:gd name="T70" fmla="*/ 194593 w 605"/>
              <a:gd name="T71" fmla="*/ 251815 h 545"/>
              <a:gd name="T72" fmla="*/ 298502 w 605"/>
              <a:gd name="T73" fmla="*/ 253708 h 545"/>
              <a:gd name="T74" fmla="*/ 267330 w 605"/>
              <a:gd name="T75" fmla="*/ 205428 h 545"/>
              <a:gd name="T76" fmla="*/ 300392 w 605"/>
              <a:gd name="T77" fmla="*/ 156201 h 545"/>
              <a:gd name="T78" fmla="*/ 330620 w 605"/>
              <a:gd name="T79" fmla="*/ 204481 h 545"/>
              <a:gd name="T80" fmla="*/ 298502 w 605"/>
              <a:gd name="T81" fmla="*/ 253708 h 545"/>
              <a:gd name="T82" fmla="*/ 299447 w 605"/>
              <a:gd name="T83" fmla="*/ 243295 h 545"/>
              <a:gd name="T84" fmla="*/ 318340 w 605"/>
              <a:gd name="T85" fmla="*/ 204481 h 545"/>
              <a:gd name="T86" fmla="*/ 299447 w 605"/>
              <a:gd name="T87" fmla="*/ 166615 h 545"/>
              <a:gd name="T88" fmla="*/ 279610 w 605"/>
              <a:gd name="T89" fmla="*/ 204481 h 545"/>
              <a:gd name="T90" fmla="*/ 298502 w 605"/>
              <a:gd name="T91" fmla="*/ 243295 h 545"/>
              <a:gd name="T92" fmla="*/ 299447 w 605"/>
              <a:gd name="T93" fmla="*/ 243295 h 545"/>
              <a:gd name="T94" fmla="*/ 411858 w 605"/>
              <a:gd name="T95" fmla="*/ 184601 h 545"/>
              <a:gd name="T96" fmla="*/ 454366 w 605"/>
              <a:gd name="T97" fmla="*/ 123068 h 545"/>
              <a:gd name="T98" fmla="*/ 497819 w 605"/>
              <a:gd name="T99" fmla="*/ 184601 h 545"/>
              <a:gd name="T100" fmla="*/ 411858 w 605"/>
              <a:gd name="T101" fmla="*/ 184601 h 545"/>
              <a:gd name="T102" fmla="*/ 497819 w 605"/>
              <a:gd name="T103" fmla="*/ 220575 h 545"/>
              <a:gd name="T104" fmla="*/ 454366 w 605"/>
              <a:gd name="T105" fmla="*/ 282109 h 545"/>
              <a:gd name="T106" fmla="*/ 411858 w 605"/>
              <a:gd name="T107" fmla="*/ 220575 h 545"/>
              <a:gd name="T108" fmla="*/ 497819 w 605"/>
              <a:gd name="T109" fmla="*/ 220575 h 545"/>
              <a:gd name="T110" fmla="*/ 478926 w 605"/>
              <a:gd name="T111" fmla="*/ 393816 h 545"/>
              <a:gd name="T112" fmla="*/ 457200 w 605"/>
              <a:gd name="T113" fmla="*/ 415590 h 545"/>
              <a:gd name="T114" fmla="*/ 435474 w 605"/>
              <a:gd name="T115" fmla="*/ 393816 h 545"/>
              <a:gd name="T116" fmla="*/ 457200 w 605"/>
              <a:gd name="T117" fmla="*/ 372043 h 545"/>
              <a:gd name="T118" fmla="*/ 478926 w 605"/>
              <a:gd name="T119" fmla="*/ 393816 h 5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5"/>
              <a:gd name="T181" fmla="*/ 0 h 545"/>
              <a:gd name="T182" fmla="*/ 605 w 605"/>
              <a:gd name="T183" fmla="*/ 545 h 5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5" h="545">
                <a:moveTo>
                  <a:pt x="563" y="0"/>
                </a:moveTo>
                <a:cubicBezTo>
                  <a:pt x="102" y="0"/>
                  <a:pt x="102" y="0"/>
                  <a:pt x="102" y="0"/>
                </a:cubicBezTo>
                <a:cubicBezTo>
                  <a:pt x="107" y="9"/>
                  <a:pt x="109" y="19"/>
                  <a:pt x="109" y="30"/>
                </a:cubicBezTo>
                <a:cubicBezTo>
                  <a:pt x="109" y="69"/>
                  <a:pt x="77" y="101"/>
                  <a:pt x="37" y="101"/>
                </a:cubicBezTo>
                <a:cubicBezTo>
                  <a:pt x="24" y="101"/>
                  <a:pt x="11" y="97"/>
                  <a:pt x="0" y="90"/>
                </a:cubicBezTo>
                <a:cubicBezTo>
                  <a:pt x="0" y="494"/>
                  <a:pt x="0" y="494"/>
                  <a:pt x="0" y="494"/>
                </a:cubicBezTo>
                <a:cubicBezTo>
                  <a:pt x="0" y="522"/>
                  <a:pt x="19" y="545"/>
                  <a:pt x="42" y="545"/>
                </a:cubicBezTo>
                <a:cubicBezTo>
                  <a:pt x="563" y="545"/>
                  <a:pt x="563" y="545"/>
                  <a:pt x="563" y="545"/>
                </a:cubicBezTo>
                <a:cubicBezTo>
                  <a:pt x="586" y="545"/>
                  <a:pt x="605" y="522"/>
                  <a:pt x="605" y="494"/>
                </a:cubicBezTo>
                <a:cubicBezTo>
                  <a:pt x="605" y="51"/>
                  <a:pt x="605" y="51"/>
                  <a:pt x="605" y="51"/>
                </a:cubicBezTo>
                <a:cubicBezTo>
                  <a:pt x="605" y="23"/>
                  <a:pt x="586" y="0"/>
                  <a:pt x="563" y="0"/>
                </a:cubicBezTo>
                <a:close/>
                <a:moveTo>
                  <a:pt x="36" y="58"/>
                </a:moveTo>
                <a:cubicBezTo>
                  <a:pt x="51" y="58"/>
                  <a:pt x="63" y="46"/>
                  <a:pt x="63" y="31"/>
                </a:cubicBezTo>
                <a:cubicBezTo>
                  <a:pt x="63" y="15"/>
                  <a:pt x="51" y="3"/>
                  <a:pt x="36" y="3"/>
                </a:cubicBezTo>
                <a:cubicBezTo>
                  <a:pt x="20" y="3"/>
                  <a:pt x="8" y="15"/>
                  <a:pt x="8" y="31"/>
                </a:cubicBezTo>
                <a:cubicBezTo>
                  <a:pt x="8" y="46"/>
                  <a:pt x="20" y="58"/>
                  <a:pt x="36" y="58"/>
                </a:cubicBezTo>
                <a:close/>
                <a:moveTo>
                  <a:pt x="386" y="290"/>
                </a:moveTo>
                <a:cubicBezTo>
                  <a:pt x="104" y="290"/>
                  <a:pt x="104" y="290"/>
                  <a:pt x="104" y="290"/>
                </a:cubicBezTo>
                <a:cubicBezTo>
                  <a:pt x="104" y="139"/>
                  <a:pt x="104" y="139"/>
                  <a:pt x="104" y="139"/>
                </a:cubicBezTo>
                <a:cubicBezTo>
                  <a:pt x="386" y="139"/>
                  <a:pt x="386" y="139"/>
                  <a:pt x="386" y="139"/>
                </a:cubicBezTo>
                <a:lnTo>
                  <a:pt x="386" y="290"/>
                </a:lnTo>
                <a:close/>
                <a:moveTo>
                  <a:pt x="206" y="266"/>
                </a:moveTo>
                <a:cubicBezTo>
                  <a:pt x="206" y="258"/>
                  <a:pt x="206" y="258"/>
                  <a:pt x="206" y="258"/>
                </a:cubicBezTo>
                <a:cubicBezTo>
                  <a:pt x="217" y="248"/>
                  <a:pt x="217" y="248"/>
                  <a:pt x="217" y="248"/>
                </a:cubicBezTo>
                <a:cubicBezTo>
                  <a:pt x="242" y="224"/>
                  <a:pt x="254" y="211"/>
                  <a:pt x="254" y="196"/>
                </a:cubicBezTo>
                <a:cubicBezTo>
                  <a:pt x="254" y="186"/>
                  <a:pt x="249" y="177"/>
                  <a:pt x="234" y="177"/>
                </a:cubicBezTo>
                <a:cubicBezTo>
                  <a:pt x="225" y="177"/>
                  <a:pt x="218" y="181"/>
                  <a:pt x="213" y="185"/>
                </a:cubicBezTo>
                <a:cubicBezTo>
                  <a:pt x="209" y="175"/>
                  <a:pt x="209" y="175"/>
                  <a:pt x="209" y="175"/>
                </a:cubicBezTo>
                <a:cubicBezTo>
                  <a:pt x="216" y="170"/>
                  <a:pt x="225" y="165"/>
                  <a:pt x="237" y="165"/>
                </a:cubicBezTo>
                <a:cubicBezTo>
                  <a:pt x="258" y="165"/>
                  <a:pt x="267" y="180"/>
                  <a:pt x="267" y="194"/>
                </a:cubicBezTo>
                <a:cubicBezTo>
                  <a:pt x="267" y="212"/>
                  <a:pt x="254" y="227"/>
                  <a:pt x="233" y="247"/>
                </a:cubicBezTo>
                <a:cubicBezTo>
                  <a:pt x="225" y="255"/>
                  <a:pt x="225" y="255"/>
                  <a:pt x="225" y="255"/>
                </a:cubicBezTo>
                <a:cubicBezTo>
                  <a:pt x="225" y="255"/>
                  <a:pt x="225" y="255"/>
                  <a:pt x="225" y="255"/>
                </a:cubicBezTo>
                <a:cubicBezTo>
                  <a:pt x="270" y="255"/>
                  <a:pt x="270" y="255"/>
                  <a:pt x="270" y="255"/>
                </a:cubicBezTo>
                <a:cubicBezTo>
                  <a:pt x="270" y="266"/>
                  <a:pt x="270" y="266"/>
                  <a:pt x="270" y="266"/>
                </a:cubicBezTo>
                <a:lnTo>
                  <a:pt x="206" y="266"/>
                </a:lnTo>
                <a:close/>
                <a:moveTo>
                  <a:pt x="316" y="268"/>
                </a:moveTo>
                <a:cubicBezTo>
                  <a:pt x="297" y="268"/>
                  <a:pt x="283" y="250"/>
                  <a:pt x="283" y="217"/>
                </a:cubicBezTo>
                <a:cubicBezTo>
                  <a:pt x="283" y="183"/>
                  <a:pt x="298" y="165"/>
                  <a:pt x="318" y="165"/>
                </a:cubicBezTo>
                <a:cubicBezTo>
                  <a:pt x="338" y="165"/>
                  <a:pt x="350" y="184"/>
                  <a:pt x="350" y="216"/>
                </a:cubicBezTo>
                <a:cubicBezTo>
                  <a:pt x="350" y="249"/>
                  <a:pt x="338" y="268"/>
                  <a:pt x="316" y="268"/>
                </a:cubicBezTo>
                <a:close/>
                <a:moveTo>
                  <a:pt x="317" y="257"/>
                </a:moveTo>
                <a:cubicBezTo>
                  <a:pt x="330" y="257"/>
                  <a:pt x="337" y="241"/>
                  <a:pt x="337" y="216"/>
                </a:cubicBezTo>
                <a:cubicBezTo>
                  <a:pt x="337" y="192"/>
                  <a:pt x="331" y="176"/>
                  <a:pt x="317" y="176"/>
                </a:cubicBezTo>
                <a:cubicBezTo>
                  <a:pt x="304" y="176"/>
                  <a:pt x="296" y="191"/>
                  <a:pt x="296" y="216"/>
                </a:cubicBezTo>
                <a:cubicBezTo>
                  <a:pt x="296" y="242"/>
                  <a:pt x="304" y="257"/>
                  <a:pt x="316" y="257"/>
                </a:cubicBezTo>
                <a:lnTo>
                  <a:pt x="317" y="257"/>
                </a:lnTo>
                <a:close/>
                <a:moveTo>
                  <a:pt x="436" y="195"/>
                </a:moveTo>
                <a:cubicBezTo>
                  <a:pt x="481" y="130"/>
                  <a:pt x="481" y="130"/>
                  <a:pt x="481" y="130"/>
                </a:cubicBezTo>
                <a:cubicBezTo>
                  <a:pt x="527" y="195"/>
                  <a:pt x="527" y="195"/>
                  <a:pt x="527" y="195"/>
                </a:cubicBezTo>
                <a:lnTo>
                  <a:pt x="436" y="195"/>
                </a:lnTo>
                <a:close/>
                <a:moveTo>
                  <a:pt x="527" y="233"/>
                </a:moveTo>
                <a:cubicBezTo>
                  <a:pt x="481" y="298"/>
                  <a:pt x="481" y="298"/>
                  <a:pt x="481" y="298"/>
                </a:cubicBezTo>
                <a:cubicBezTo>
                  <a:pt x="436" y="233"/>
                  <a:pt x="436" y="233"/>
                  <a:pt x="436" y="233"/>
                </a:cubicBezTo>
                <a:lnTo>
                  <a:pt x="527" y="233"/>
                </a:lnTo>
                <a:close/>
                <a:moveTo>
                  <a:pt x="507" y="416"/>
                </a:moveTo>
                <a:cubicBezTo>
                  <a:pt x="507" y="429"/>
                  <a:pt x="497" y="439"/>
                  <a:pt x="484" y="439"/>
                </a:cubicBezTo>
                <a:cubicBezTo>
                  <a:pt x="471" y="439"/>
                  <a:pt x="461" y="429"/>
                  <a:pt x="461" y="416"/>
                </a:cubicBezTo>
                <a:cubicBezTo>
                  <a:pt x="461" y="403"/>
                  <a:pt x="471" y="393"/>
                  <a:pt x="484" y="393"/>
                </a:cubicBezTo>
                <a:cubicBezTo>
                  <a:pt x="497" y="393"/>
                  <a:pt x="507" y="403"/>
                  <a:pt x="507" y="416"/>
                </a:cubicBezTo>
                <a:close/>
              </a:path>
            </a:pathLst>
          </a:custGeom>
          <a:solidFill>
            <a:schemeClr val="bg2"/>
          </a:solidFill>
          <a:ln w="9525">
            <a:noFill/>
            <a:round/>
            <a:headEnd/>
            <a:tailEnd/>
          </a:ln>
        </p:spPr>
        <p:txBody>
          <a:bodyPr/>
          <a:lstStyle/>
          <a:p>
            <a:pPr>
              <a:defRPr/>
            </a:pPr>
            <a:endParaRPr lang="en-US" sz="2800">
              <a:latin typeface="+mn-lt"/>
            </a:endParaRPr>
          </a:p>
        </p:txBody>
      </p:sp>
      <p:grpSp>
        <p:nvGrpSpPr>
          <p:cNvPr id="25" name="Group 24"/>
          <p:cNvGrpSpPr/>
          <p:nvPr/>
        </p:nvGrpSpPr>
        <p:grpSpPr>
          <a:xfrm>
            <a:off x="2070181" y="2400132"/>
            <a:ext cx="4692667" cy="620504"/>
            <a:chOff x="2070181" y="2127418"/>
            <a:chExt cx="4692667" cy="620504"/>
          </a:xfrm>
        </p:grpSpPr>
        <p:sp>
          <p:nvSpPr>
            <p:cNvPr id="325" name="Flowchart: Data 324"/>
            <p:cNvSpPr/>
            <p:nvPr/>
          </p:nvSpPr>
          <p:spPr>
            <a:xfrm>
              <a:off x="2070181" y="2127418"/>
              <a:ext cx="4692667" cy="620504"/>
            </a:xfrm>
            <a:prstGeom prst="flowChartInputOutput">
              <a:avLst/>
            </a:prstGeom>
            <a:solidFill>
              <a:schemeClr val="accent4">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p:cNvSpPr/>
            <p:nvPr/>
          </p:nvSpPr>
          <p:spPr>
            <a:xfrm>
              <a:off x="4014580" y="2444440"/>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p:cNvSpPr/>
            <p:nvPr/>
          </p:nvSpPr>
          <p:spPr>
            <a:xfrm>
              <a:off x="5315351" y="2476630"/>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p:cNvSpPr/>
            <p:nvPr/>
          </p:nvSpPr>
          <p:spPr>
            <a:xfrm>
              <a:off x="4700836" y="2238585"/>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p:cNvSpPr/>
            <p:nvPr/>
          </p:nvSpPr>
          <p:spPr>
            <a:xfrm>
              <a:off x="5857858" y="2227435"/>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1" name="Straight Connector 330"/>
            <p:cNvCxnSpPr>
              <a:stCxn id="328" idx="5"/>
              <a:endCxn id="327" idx="2"/>
            </p:cNvCxnSpPr>
            <p:nvPr/>
          </p:nvCxnSpPr>
          <p:spPr>
            <a:xfrm>
              <a:off x="4867077" y="2404826"/>
              <a:ext cx="448274" cy="16918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2" name="Straight Connector 331"/>
            <p:cNvCxnSpPr>
              <a:stCxn id="328" idx="7"/>
              <a:endCxn id="329" idx="2"/>
            </p:cNvCxnSpPr>
            <p:nvPr/>
          </p:nvCxnSpPr>
          <p:spPr>
            <a:xfrm>
              <a:off x="4867077" y="2267108"/>
              <a:ext cx="990781" cy="5770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3" name="Straight Connector 332"/>
            <p:cNvCxnSpPr>
              <a:stCxn id="329" idx="4"/>
              <a:endCxn id="327" idx="7"/>
            </p:cNvCxnSpPr>
            <p:nvPr/>
          </p:nvCxnSpPr>
          <p:spPr>
            <a:xfrm flipH="1">
              <a:off x="5481592" y="2422199"/>
              <a:ext cx="473648" cy="8295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4" name="Straight Connector 333"/>
            <p:cNvCxnSpPr>
              <a:stCxn id="327" idx="2"/>
              <a:endCxn id="326" idx="6"/>
            </p:cNvCxnSpPr>
            <p:nvPr/>
          </p:nvCxnSpPr>
          <p:spPr bwMode="auto">
            <a:xfrm flipH="1" flipV="1">
              <a:off x="4209344" y="2541822"/>
              <a:ext cx="1106007" cy="32190"/>
            </a:xfrm>
            <a:prstGeom prst="line">
              <a:avLst/>
            </a:prstGeom>
            <a:noFill/>
            <a:ln w="9525" cap="flat" cmpd="sng" algn="ctr">
              <a:solidFill>
                <a:schemeClr val="tx1"/>
              </a:solidFill>
              <a:prstDash val="solid"/>
              <a:round/>
              <a:headEnd type="none" w="med" len="med"/>
              <a:tailEnd type="none"/>
            </a:ln>
            <a:effectLst/>
          </p:spPr>
        </p:cxnSp>
        <p:sp>
          <p:nvSpPr>
            <p:cNvPr id="346" name="Oval 345"/>
            <p:cNvSpPr/>
            <p:nvPr/>
          </p:nvSpPr>
          <p:spPr>
            <a:xfrm>
              <a:off x="2798160" y="2433255"/>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7" name="Oval 346"/>
            <p:cNvSpPr/>
            <p:nvPr/>
          </p:nvSpPr>
          <p:spPr>
            <a:xfrm>
              <a:off x="3691559" y="2186390"/>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8" name="Oval 347"/>
            <p:cNvSpPr/>
            <p:nvPr/>
          </p:nvSpPr>
          <p:spPr>
            <a:xfrm>
              <a:off x="3427949" y="2515447"/>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58" name="Straight Connector 357"/>
            <p:cNvCxnSpPr>
              <a:stCxn id="348" idx="0"/>
              <a:endCxn id="347" idx="3"/>
            </p:cNvCxnSpPr>
            <p:nvPr/>
          </p:nvCxnSpPr>
          <p:spPr bwMode="auto">
            <a:xfrm flipV="1">
              <a:off x="3525331" y="2352631"/>
              <a:ext cx="194751" cy="162816"/>
            </a:xfrm>
            <a:prstGeom prst="line">
              <a:avLst/>
            </a:prstGeom>
            <a:noFill/>
            <a:ln w="9525" cap="flat" cmpd="sng" algn="ctr">
              <a:solidFill>
                <a:schemeClr val="tx1"/>
              </a:solidFill>
              <a:prstDash val="solid"/>
              <a:round/>
              <a:headEnd type="none" w="med" len="med"/>
              <a:tailEnd type="none"/>
            </a:ln>
            <a:effectLst/>
          </p:spPr>
        </p:cxnSp>
        <p:cxnSp>
          <p:nvCxnSpPr>
            <p:cNvPr id="360" name="Straight Connector 359"/>
            <p:cNvCxnSpPr>
              <a:stCxn id="348" idx="2"/>
              <a:endCxn id="346" idx="6"/>
            </p:cNvCxnSpPr>
            <p:nvPr/>
          </p:nvCxnSpPr>
          <p:spPr bwMode="auto">
            <a:xfrm flipH="1" flipV="1">
              <a:off x="2992924" y="2530637"/>
              <a:ext cx="435025" cy="82192"/>
            </a:xfrm>
            <a:prstGeom prst="line">
              <a:avLst/>
            </a:prstGeom>
            <a:noFill/>
            <a:ln w="9525" cap="flat" cmpd="sng" algn="ctr">
              <a:solidFill>
                <a:schemeClr val="tx1"/>
              </a:solidFill>
              <a:prstDash val="solid"/>
              <a:round/>
              <a:headEnd type="none" w="med" len="med"/>
              <a:tailEnd type="none"/>
            </a:ln>
            <a:effectLst/>
          </p:spPr>
        </p:cxnSp>
        <p:cxnSp>
          <p:nvCxnSpPr>
            <p:cNvPr id="362" name="Straight Connector 361"/>
            <p:cNvCxnSpPr>
              <a:stCxn id="346" idx="7"/>
              <a:endCxn id="347" idx="2"/>
            </p:cNvCxnSpPr>
            <p:nvPr/>
          </p:nvCxnSpPr>
          <p:spPr bwMode="auto">
            <a:xfrm flipV="1">
              <a:off x="2964401" y="2283772"/>
              <a:ext cx="727158" cy="178006"/>
            </a:xfrm>
            <a:prstGeom prst="line">
              <a:avLst/>
            </a:prstGeom>
            <a:noFill/>
            <a:ln w="9525" cap="flat" cmpd="sng" algn="ctr">
              <a:solidFill>
                <a:schemeClr val="tx1"/>
              </a:solidFill>
              <a:prstDash val="solid"/>
              <a:round/>
              <a:headEnd type="none" w="med" len="med"/>
              <a:tailEnd type="none"/>
            </a:ln>
            <a:effectLst/>
          </p:spPr>
        </p:cxnSp>
        <p:cxnSp>
          <p:nvCxnSpPr>
            <p:cNvPr id="364" name="Straight Connector 363"/>
            <p:cNvCxnSpPr>
              <a:stCxn id="347" idx="5"/>
              <a:endCxn id="326" idx="1"/>
            </p:cNvCxnSpPr>
            <p:nvPr/>
          </p:nvCxnSpPr>
          <p:spPr bwMode="auto">
            <a:xfrm>
              <a:off x="3857800" y="2352631"/>
              <a:ext cx="185303" cy="120332"/>
            </a:xfrm>
            <a:prstGeom prst="line">
              <a:avLst/>
            </a:prstGeom>
            <a:noFill/>
            <a:ln w="9525" cap="flat" cmpd="sng" algn="ctr">
              <a:solidFill>
                <a:schemeClr val="tx1"/>
              </a:solidFill>
              <a:prstDash val="solid"/>
              <a:round/>
              <a:headEnd type="none" w="med" len="med"/>
              <a:tailEnd type="none"/>
            </a:ln>
            <a:effectLst/>
          </p:spPr>
        </p:cxnSp>
        <p:cxnSp>
          <p:nvCxnSpPr>
            <p:cNvPr id="366" name="Straight Connector 365"/>
            <p:cNvCxnSpPr>
              <a:stCxn id="347" idx="6"/>
              <a:endCxn id="328" idx="1"/>
            </p:cNvCxnSpPr>
            <p:nvPr/>
          </p:nvCxnSpPr>
          <p:spPr bwMode="auto">
            <a:xfrm flipV="1">
              <a:off x="3886323" y="2267108"/>
              <a:ext cx="843036" cy="16664"/>
            </a:xfrm>
            <a:prstGeom prst="line">
              <a:avLst/>
            </a:prstGeom>
            <a:noFill/>
            <a:ln w="9525" cap="flat" cmpd="sng" algn="ctr">
              <a:solidFill>
                <a:schemeClr val="tx1"/>
              </a:solidFill>
              <a:prstDash val="solid"/>
              <a:round/>
              <a:headEnd type="none" w="med" len="med"/>
              <a:tailEnd type="none"/>
            </a:ln>
            <a:effectLst/>
          </p:spPr>
        </p:cxnSp>
        <p:cxnSp>
          <p:nvCxnSpPr>
            <p:cNvPr id="368" name="Straight Connector 367"/>
            <p:cNvCxnSpPr>
              <a:stCxn id="348" idx="6"/>
              <a:endCxn id="326" idx="2"/>
            </p:cNvCxnSpPr>
            <p:nvPr/>
          </p:nvCxnSpPr>
          <p:spPr bwMode="auto">
            <a:xfrm flipV="1">
              <a:off x="3622713" y="2541822"/>
              <a:ext cx="391867" cy="71007"/>
            </a:xfrm>
            <a:prstGeom prst="line">
              <a:avLst/>
            </a:prstGeom>
            <a:noFill/>
            <a:ln w="9525" cap="flat" cmpd="sng" algn="ctr">
              <a:solidFill>
                <a:schemeClr val="tx1"/>
              </a:solidFill>
              <a:prstDash val="solid"/>
              <a:round/>
              <a:headEnd type="none" w="med" len="med"/>
              <a:tailEnd type="none"/>
            </a:ln>
            <a:effectLst/>
          </p:spPr>
        </p:cxnSp>
      </p:grpSp>
      <p:grpSp>
        <p:nvGrpSpPr>
          <p:cNvPr id="13" name="Group 12"/>
          <p:cNvGrpSpPr/>
          <p:nvPr/>
        </p:nvGrpSpPr>
        <p:grpSpPr>
          <a:xfrm>
            <a:off x="2070181" y="2666390"/>
            <a:ext cx="4885003" cy="1510584"/>
            <a:chOff x="2070181" y="2666390"/>
            <a:chExt cx="4885003" cy="1510584"/>
          </a:xfrm>
        </p:grpSpPr>
        <p:cxnSp>
          <p:nvCxnSpPr>
            <p:cNvPr id="372" name="Straight Connector 371"/>
            <p:cNvCxnSpPr>
              <a:endCxn id="346" idx="4"/>
            </p:cNvCxnSpPr>
            <p:nvPr/>
          </p:nvCxnSpPr>
          <p:spPr bwMode="auto">
            <a:xfrm flipV="1">
              <a:off x="2453540" y="2900733"/>
              <a:ext cx="442002" cy="1033000"/>
            </a:xfrm>
            <a:prstGeom prst="line">
              <a:avLst/>
            </a:prstGeom>
            <a:noFill/>
            <a:ln w="12700" cap="flat" cmpd="sng" algn="ctr">
              <a:solidFill>
                <a:schemeClr val="accent4"/>
              </a:solidFill>
              <a:prstDash val="solid"/>
              <a:round/>
              <a:headEnd type="none" w="med" len="med"/>
              <a:tailEnd type="none"/>
            </a:ln>
            <a:effectLst/>
          </p:spPr>
        </p:cxnSp>
        <p:cxnSp>
          <p:nvCxnSpPr>
            <p:cNvPr id="374" name="Straight Connector 373"/>
            <p:cNvCxnSpPr>
              <a:stCxn id="232" idx="0"/>
              <a:endCxn id="346" idx="3"/>
            </p:cNvCxnSpPr>
            <p:nvPr/>
          </p:nvCxnSpPr>
          <p:spPr bwMode="auto">
            <a:xfrm flipV="1">
              <a:off x="2070181" y="2872210"/>
              <a:ext cx="756502" cy="1304764"/>
            </a:xfrm>
            <a:prstGeom prst="line">
              <a:avLst/>
            </a:prstGeom>
            <a:noFill/>
            <a:ln w="12700" cap="flat" cmpd="sng" algn="ctr">
              <a:solidFill>
                <a:schemeClr val="accent4"/>
              </a:solidFill>
              <a:prstDash val="dash"/>
              <a:round/>
              <a:headEnd type="none" w="med" len="med"/>
              <a:tailEnd type="none"/>
            </a:ln>
            <a:effectLst/>
          </p:spPr>
        </p:cxnSp>
        <p:cxnSp>
          <p:nvCxnSpPr>
            <p:cNvPr id="383" name="Straight Connector 382"/>
            <p:cNvCxnSpPr>
              <a:stCxn id="236" idx="0"/>
              <a:endCxn id="348" idx="4"/>
            </p:cNvCxnSpPr>
            <p:nvPr/>
          </p:nvCxnSpPr>
          <p:spPr bwMode="auto">
            <a:xfrm flipV="1">
              <a:off x="3247831" y="2982925"/>
              <a:ext cx="277500" cy="1096971"/>
            </a:xfrm>
            <a:prstGeom prst="line">
              <a:avLst/>
            </a:prstGeom>
            <a:noFill/>
            <a:ln w="12700" cap="flat" cmpd="sng" algn="ctr">
              <a:solidFill>
                <a:schemeClr val="accent4"/>
              </a:solidFill>
              <a:prstDash val="dash"/>
              <a:round/>
              <a:headEnd type="none" w="med" len="med"/>
              <a:tailEnd type="none"/>
            </a:ln>
            <a:effectLst/>
          </p:spPr>
        </p:cxnSp>
        <p:cxnSp>
          <p:nvCxnSpPr>
            <p:cNvPr id="385" name="Straight Connector 384"/>
            <p:cNvCxnSpPr>
              <a:endCxn id="348" idx="5"/>
            </p:cNvCxnSpPr>
            <p:nvPr/>
          </p:nvCxnSpPr>
          <p:spPr bwMode="auto">
            <a:xfrm flipH="1" flipV="1">
              <a:off x="3594190" y="2954402"/>
              <a:ext cx="151496" cy="876561"/>
            </a:xfrm>
            <a:prstGeom prst="line">
              <a:avLst/>
            </a:prstGeom>
            <a:noFill/>
            <a:ln w="12700" cap="flat" cmpd="sng" algn="ctr">
              <a:solidFill>
                <a:schemeClr val="accent4"/>
              </a:solidFill>
              <a:prstDash val="solid"/>
              <a:round/>
              <a:headEnd type="none" w="med" len="med"/>
              <a:tailEnd type="none"/>
            </a:ln>
            <a:effectLst/>
          </p:spPr>
        </p:cxnSp>
        <p:cxnSp>
          <p:nvCxnSpPr>
            <p:cNvPr id="394" name="Straight Connector 393"/>
            <p:cNvCxnSpPr>
              <a:stCxn id="240" idx="0"/>
              <a:endCxn id="327" idx="3"/>
            </p:cNvCxnSpPr>
            <p:nvPr/>
          </p:nvCxnSpPr>
          <p:spPr bwMode="auto">
            <a:xfrm flipV="1">
              <a:off x="5252069" y="2915585"/>
              <a:ext cx="91805" cy="1055137"/>
            </a:xfrm>
            <a:prstGeom prst="line">
              <a:avLst/>
            </a:prstGeom>
            <a:noFill/>
            <a:ln w="12700" cap="flat" cmpd="sng" algn="ctr">
              <a:solidFill>
                <a:schemeClr val="accent4"/>
              </a:solidFill>
              <a:prstDash val="dash"/>
              <a:round/>
              <a:headEnd type="none" w="med" len="med"/>
              <a:tailEnd type="none"/>
            </a:ln>
            <a:effectLst/>
          </p:spPr>
        </p:cxnSp>
        <p:cxnSp>
          <p:nvCxnSpPr>
            <p:cNvPr id="396" name="Straight Connector 395"/>
            <p:cNvCxnSpPr>
              <a:endCxn id="327" idx="4"/>
            </p:cNvCxnSpPr>
            <p:nvPr/>
          </p:nvCxnSpPr>
          <p:spPr bwMode="auto">
            <a:xfrm flipH="1" flipV="1">
              <a:off x="5412733" y="2944108"/>
              <a:ext cx="77925" cy="674334"/>
            </a:xfrm>
            <a:prstGeom prst="line">
              <a:avLst/>
            </a:prstGeom>
            <a:noFill/>
            <a:ln w="12700" cap="flat" cmpd="sng" algn="ctr">
              <a:solidFill>
                <a:schemeClr val="accent4"/>
              </a:solidFill>
              <a:prstDash val="solid"/>
              <a:round/>
              <a:headEnd type="none" w="med" len="med"/>
              <a:tailEnd type="none"/>
            </a:ln>
            <a:effectLst/>
          </p:spPr>
        </p:cxnSp>
        <p:cxnSp>
          <p:nvCxnSpPr>
            <p:cNvPr id="404" name="Straight Connector 403"/>
            <p:cNvCxnSpPr>
              <a:endCxn id="329" idx="5"/>
            </p:cNvCxnSpPr>
            <p:nvPr/>
          </p:nvCxnSpPr>
          <p:spPr bwMode="auto">
            <a:xfrm flipH="1" flipV="1">
              <a:off x="6024099" y="2666390"/>
              <a:ext cx="931085" cy="1294712"/>
            </a:xfrm>
            <a:prstGeom prst="line">
              <a:avLst/>
            </a:prstGeom>
            <a:noFill/>
            <a:ln w="12700" cap="flat" cmpd="sng" algn="ctr">
              <a:solidFill>
                <a:schemeClr val="accent4"/>
              </a:solidFill>
              <a:prstDash val="solid"/>
              <a:round/>
              <a:headEnd type="none" w="med" len="med"/>
              <a:tailEnd type="none"/>
            </a:ln>
            <a:effectLst/>
          </p:spPr>
        </p:cxnSp>
      </p:grpSp>
      <p:grpSp>
        <p:nvGrpSpPr>
          <p:cNvPr id="17" name="Group 16"/>
          <p:cNvGrpSpPr/>
          <p:nvPr/>
        </p:nvGrpSpPr>
        <p:grpSpPr>
          <a:xfrm>
            <a:off x="2070181" y="2406456"/>
            <a:ext cx="4692667" cy="620504"/>
            <a:chOff x="2106879" y="1251432"/>
            <a:chExt cx="4692667" cy="620504"/>
          </a:xfrm>
        </p:grpSpPr>
        <p:sp>
          <p:nvSpPr>
            <p:cNvPr id="112" name="Flowchart: Data 111"/>
            <p:cNvSpPr/>
            <p:nvPr/>
          </p:nvSpPr>
          <p:spPr>
            <a:xfrm>
              <a:off x="2106879" y="1251432"/>
              <a:ext cx="4692667" cy="620504"/>
            </a:xfrm>
            <a:prstGeom prst="flowChartInputOutput">
              <a:avLst/>
            </a:prstGeom>
            <a:solidFill>
              <a:schemeClr val="bg2">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Oval 112"/>
            <p:cNvSpPr/>
            <p:nvPr/>
          </p:nvSpPr>
          <p:spPr>
            <a:xfrm>
              <a:off x="4051278" y="1560433"/>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Oval 113"/>
            <p:cNvSpPr/>
            <p:nvPr/>
          </p:nvSpPr>
          <p:spPr>
            <a:xfrm>
              <a:off x="5352049" y="1592623"/>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p:cNvSpPr/>
            <p:nvPr/>
          </p:nvSpPr>
          <p:spPr>
            <a:xfrm>
              <a:off x="4737534" y="1354578"/>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p:cNvSpPr/>
            <p:nvPr/>
          </p:nvSpPr>
          <p:spPr>
            <a:xfrm>
              <a:off x="5894556" y="1343428"/>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7" name="Straight Connector 116"/>
            <p:cNvCxnSpPr>
              <a:stCxn id="115" idx="5"/>
              <a:endCxn id="114" idx="2"/>
            </p:cNvCxnSpPr>
            <p:nvPr/>
          </p:nvCxnSpPr>
          <p:spPr>
            <a:xfrm>
              <a:off x="4903775" y="1520819"/>
              <a:ext cx="448274" cy="16918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stCxn id="115" idx="7"/>
              <a:endCxn id="116" idx="2"/>
            </p:cNvCxnSpPr>
            <p:nvPr/>
          </p:nvCxnSpPr>
          <p:spPr>
            <a:xfrm>
              <a:off x="4903775" y="1383101"/>
              <a:ext cx="990781" cy="5770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stCxn id="116" idx="4"/>
              <a:endCxn id="114" idx="7"/>
            </p:cNvCxnSpPr>
            <p:nvPr/>
          </p:nvCxnSpPr>
          <p:spPr>
            <a:xfrm flipH="1">
              <a:off x="5518290" y="1538192"/>
              <a:ext cx="473648" cy="8295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a:stCxn id="114" idx="2"/>
              <a:endCxn id="113" idx="6"/>
            </p:cNvCxnSpPr>
            <p:nvPr/>
          </p:nvCxnSpPr>
          <p:spPr bwMode="auto">
            <a:xfrm flipH="1" flipV="1">
              <a:off x="4246042" y="1657815"/>
              <a:ext cx="1106007" cy="32190"/>
            </a:xfrm>
            <a:prstGeom prst="line">
              <a:avLst/>
            </a:prstGeom>
            <a:noFill/>
            <a:ln w="9525" cap="flat" cmpd="sng" algn="ctr">
              <a:solidFill>
                <a:schemeClr val="tx1"/>
              </a:solidFill>
              <a:prstDash val="solid"/>
              <a:round/>
              <a:headEnd type="none" w="med" len="med"/>
              <a:tailEnd type="none"/>
            </a:ln>
            <a:effectLst/>
          </p:spPr>
        </p:cxnSp>
        <p:sp>
          <p:nvSpPr>
            <p:cNvPr id="121" name="Oval 120"/>
            <p:cNvSpPr/>
            <p:nvPr/>
          </p:nvSpPr>
          <p:spPr>
            <a:xfrm>
              <a:off x="2834858" y="1549248"/>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p:cNvSpPr/>
            <p:nvPr/>
          </p:nvSpPr>
          <p:spPr>
            <a:xfrm>
              <a:off x="3728257" y="1302383"/>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p:cNvSpPr/>
            <p:nvPr/>
          </p:nvSpPr>
          <p:spPr>
            <a:xfrm>
              <a:off x="3464647" y="1631440"/>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4" name="Straight Connector 123"/>
            <p:cNvCxnSpPr>
              <a:stCxn id="123" idx="0"/>
              <a:endCxn id="122" idx="3"/>
            </p:cNvCxnSpPr>
            <p:nvPr/>
          </p:nvCxnSpPr>
          <p:spPr bwMode="auto">
            <a:xfrm flipV="1">
              <a:off x="3562029" y="1468624"/>
              <a:ext cx="194751" cy="162816"/>
            </a:xfrm>
            <a:prstGeom prst="line">
              <a:avLst/>
            </a:prstGeom>
            <a:noFill/>
            <a:ln w="9525" cap="flat" cmpd="sng" algn="ctr">
              <a:solidFill>
                <a:schemeClr val="tx1"/>
              </a:solidFill>
              <a:prstDash val="solid"/>
              <a:round/>
              <a:headEnd type="none" w="med" len="med"/>
              <a:tailEnd type="none"/>
            </a:ln>
            <a:effectLst/>
          </p:spPr>
        </p:cxnSp>
        <p:cxnSp>
          <p:nvCxnSpPr>
            <p:cNvPr id="125" name="Straight Connector 124"/>
            <p:cNvCxnSpPr>
              <a:stCxn id="123" idx="2"/>
              <a:endCxn id="121" idx="6"/>
            </p:cNvCxnSpPr>
            <p:nvPr/>
          </p:nvCxnSpPr>
          <p:spPr bwMode="auto">
            <a:xfrm flipH="1" flipV="1">
              <a:off x="3029622" y="1646630"/>
              <a:ext cx="435025" cy="82192"/>
            </a:xfrm>
            <a:prstGeom prst="line">
              <a:avLst/>
            </a:prstGeom>
            <a:noFill/>
            <a:ln w="9525" cap="flat" cmpd="sng" algn="ctr">
              <a:solidFill>
                <a:schemeClr val="tx1"/>
              </a:solidFill>
              <a:prstDash val="solid"/>
              <a:round/>
              <a:headEnd type="none" w="med" len="med"/>
              <a:tailEnd type="none"/>
            </a:ln>
            <a:effectLst/>
          </p:spPr>
        </p:cxnSp>
        <p:cxnSp>
          <p:nvCxnSpPr>
            <p:cNvPr id="126" name="Straight Connector 125"/>
            <p:cNvCxnSpPr>
              <a:stCxn id="121" idx="7"/>
              <a:endCxn id="122" idx="2"/>
            </p:cNvCxnSpPr>
            <p:nvPr/>
          </p:nvCxnSpPr>
          <p:spPr bwMode="auto">
            <a:xfrm flipV="1">
              <a:off x="3001099" y="1399765"/>
              <a:ext cx="727158" cy="178006"/>
            </a:xfrm>
            <a:prstGeom prst="line">
              <a:avLst/>
            </a:prstGeom>
            <a:noFill/>
            <a:ln w="9525" cap="flat" cmpd="sng" algn="ctr">
              <a:solidFill>
                <a:schemeClr val="tx1"/>
              </a:solidFill>
              <a:prstDash val="solid"/>
              <a:round/>
              <a:headEnd type="none" w="med" len="med"/>
              <a:tailEnd type="none"/>
            </a:ln>
            <a:effectLst/>
          </p:spPr>
        </p:cxnSp>
        <p:cxnSp>
          <p:nvCxnSpPr>
            <p:cNvPr id="127" name="Straight Connector 126"/>
            <p:cNvCxnSpPr>
              <a:stCxn id="122" idx="5"/>
              <a:endCxn id="113" idx="1"/>
            </p:cNvCxnSpPr>
            <p:nvPr/>
          </p:nvCxnSpPr>
          <p:spPr bwMode="auto">
            <a:xfrm>
              <a:off x="3894498" y="1468624"/>
              <a:ext cx="185303" cy="120332"/>
            </a:xfrm>
            <a:prstGeom prst="line">
              <a:avLst/>
            </a:prstGeom>
            <a:noFill/>
            <a:ln w="9525" cap="flat" cmpd="sng" algn="ctr">
              <a:solidFill>
                <a:schemeClr val="tx1"/>
              </a:solidFill>
              <a:prstDash val="solid"/>
              <a:round/>
              <a:headEnd type="none" w="med" len="med"/>
              <a:tailEnd type="none"/>
            </a:ln>
            <a:effectLst/>
          </p:spPr>
        </p:cxnSp>
        <p:cxnSp>
          <p:nvCxnSpPr>
            <p:cNvPr id="128" name="Straight Connector 127"/>
            <p:cNvCxnSpPr>
              <a:stCxn id="122" idx="6"/>
              <a:endCxn id="115" idx="1"/>
            </p:cNvCxnSpPr>
            <p:nvPr/>
          </p:nvCxnSpPr>
          <p:spPr bwMode="auto">
            <a:xfrm flipV="1">
              <a:off x="3923021" y="1383101"/>
              <a:ext cx="843036" cy="16664"/>
            </a:xfrm>
            <a:prstGeom prst="line">
              <a:avLst/>
            </a:prstGeom>
            <a:noFill/>
            <a:ln w="9525" cap="flat" cmpd="sng" algn="ctr">
              <a:solidFill>
                <a:schemeClr val="tx1"/>
              </a:solidFill>
              <a:prstDash val="solid"/>
              <a:round/>
              <a:headEnd type="none" w="med" len="med"/>
              <a:tailEnd type="none"/>
            </a:ln>
            <a:effectLst/>
          </p:spPr>
        </p:cxnSp>
        <p:cxnSp>
          <p:nvCxnSpPr>
            <p:cNvPr id="129" name="Straight Connector 128"/>
            <p:cNvCxnSpPr>
              <a:stCxn id="123" idx="6"/>
              <a:endCxn id="113" idx="2"/>
            </p:cNvCxnSpPr>
            <p:nvPr/>
          </p:nvCxnSpPr>
          <p:spPr bwMode="auto">
            <a:xfrm flipV="1">
              <a:off x="3659411" y="1657815"/>
              <a:ext cx="391867" cy="71007"/>
            </a:xfrm>
            <a:prstGeom prst="line">
              <a:avLst/>
            </a:prstGeom>
            <a:noFill/>
            <a:ln w="9525" cap="flat" cmpd="sng" algn="ctr">
              <a:solidFill>
                <a:schemeClr val="tx1"/>
              </a:solidFill>
              <a:prstDash val="solid"/>
              <a:round/>
              <a:headEnd type="none" w="med" len="med"/>
              <a:tailEnd type="none"/>
            </a:ln>
            <a:effectLst/>
          </p:spPr>
        </p:cxnSp>
      </p:grpSp>
      <p:grpSp>
        <p:nvGrpSpPr>
          <p:cNvPr id="36" name="Group 35"/>
          <p:cNvGrpSpPr/>
          <p:nvPr/>
        </p:nvGrpSpPr>
        <p:grpSpPr>
          <a:xfrm>
            <a:off x="2070181" y="2401196"/>
            <a:ext cx="4692667" cy="620504"/>
            <a:chOff x="2070181" y="1045644"/>
            <a:chExt cx="4692667" cy="620504"/>
          </a:xfrm>
        </p:grpSpPr>
        <p:sp>
          <p:nvSpPr>
            <p:cNvPr id="133" name="Flowchart: Data 132"/>
            <p:cNvSpPr/>
            <p:nvPr/>
          </p:nvSpPr>
          <p:spPr>
            <a:xfrm>
              <a:off x="2070181" y="1045644"/>
              <a:ext cx="4692667" cy="620504"/>
            </a:xfrm>
            <a:prstGeom prst="flowChartInputOutput">
              <a:avLst/>
            </a:prstGeom>
            <a:solidFill>
              <a:schemeClr val="accent1">
                <a:alpha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 name="Oval 133"/>
            <p:cNvSpPr/>
            <p:nvPr/>
          </p:nvSpPr>
          <p:spPr>
            <a:xfrm>
              <a:off x="4014580" y="1362666"/>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Oval 134"/>
            <p:cNvSpPr/>
            <p:nvPr/>
          </p:nvSpPr>
          <p:spPr>
            <a:xfrm>
              <a:off x="5315351" y="1394856"/>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Oval 135"/>
            <p:cNvSpPr/>
            <p:nvPr/>
          </p:nvSpPr>
          <p:spPr>
            <a:xfrm>
              <a:off x="4700836" y="1156811"/>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7" name="Oval 136"/>
            <p:cNvSpPr/>
            <p:nvPr/>
          </p:nvSpPr>
          <p:spPr>
            <a:xfrm>
              <a:off x="5857858" y="1145661"/>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8" name="Straight Connector 137"/>
            <p:cNvCxnSpPr>
              <a:stCxn id="136" idx="5"/>
              <a:endCxn id="135" idx="2"/>
            </p:cNvCxnSpPr>
            <p:nvPr/>
          </p:nvCxnSpPr>
          <p:spPr>
            <a:xfrm>
              <a:off x="4867077" y="1323052"/>
              <a:ext cx="448274" cy="16918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6" idx="7"/>
              <a:endCxn id="137" idx="2"/>
            </p:cNvCxnSpPr>
            <p:nvPr/>
          </p:nvCxnSpPr>
          <p:spPr>
            <a:xfrm>
              <a:off x="4867077" y="1185334"/>
              <a:ext cx="990781" cy="57709"/>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a:stCxn id="137" idx="4"/>
              <a:endCxn id="135" idx="7"/>
            </p:cNvCxnSpPr>
            <p:nvPr/>
          </p:nvCxnSpPr>
          <p:spPr>
            <a:xfrm flipH="1">
              <a:off x="5481592" y="1340425"/>
              <a:ext cx="473648" cy="82954"/>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a:stCxn id="135" idx="2"/>
              <a:endCxn id="134" idx="6"/>
            </p:cNvCxnSpPr>
            <p:nvPr/>
          </p:nvCxnSpPr>
          <p:spPr bwMode="auto">
            <a:xfrm flipH="1" flipV="1">
              <a:off x="4209344" y="1460048"/>
              <a:ext cx="1106007" cy="32190"/>
            </a:xfrm>
            <a:prstGeom prst="line">
              <a:avLst/>
            </a:prstGeom>
            <a:noFill/>
            <a:ln w="9525" cap="flat" cmpd="sng" algn="ctr">
              <a:solidFill>
                <a:schemeClr val="tx1"/>
              </a:solidFill>
              <a:prstDash val="solid"/>
              <a:round/>
              <a:headEnd type="none" w="med" len="med"/>
              <a:tailEnd type="none"/>
            </a:ln>
            <a:effectLst/>
          </p:spPr>
        </p:cxnSp>
        <p:sp>
          <p:nvSpPr>
            <p:cNvPr id="142" name="Oval 141"/>
            <p:cNvSpPr/>
            <p:nvPr/>
          </p:nvSpPr>
          <p:spPr>
            <a:xfrm>
              <a:off x="2798160" y="1351481"/>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3" name="Oval 142"/>
            <p:cNvSpPr/>
            <p:nvPr/>
          </p:nvSpPr>
          <p:spPr>
            <a:xfrm>
              <a:off x="3691559" y="1104616"/>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Oval 143"/>
            <p:cNvSpPr/>
            <p:nvPr/>
          </p:nvSpPr>
          <p:spPr>
            <a:xfrm>
              <a:off x="3427949" y="1433673"/>
              <a:ext cx="194764" cy="19476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5" name="Straight Connector 144"/>
            <p:cNvCxnSpPr>
              <a:stCxn id="144" idx="0"/>
              <a:endCxn id="143" idx="3"/>
            </p:cNvCxnSpPr>
            <p:nvPr/>
          </p:nvCxnSpPr>
          <p:spPr bwMode="auto">
            <a:xfrm flipV="1">
              <a:off x="3525331" y="1270857"/>
              <a:ext cx="194751" cy="162816"/>
            </a:xfrm>
            <a:prstGeom prst="line">
              <a:avLst/>
            </a:prstGeom>
            <a:noFill/>
            <a:ln w="9525" cap="flat" cmpd="sng" algn="ctr">
              <a:solidFill>
                <a:schemeClr val="tx1"/>
              </a:solidFill>
              <a:prstDash val="solid"/>
              <a:round/>
              <a:headEnd type="none" w="med" len="med"/>
              <a:tailEnd type="none"/>
            </a:ln>
            <a:effectLst/>
          </p:spPr>
        </p:cxnSp>
        <p:cxnSp>
          <p:nvCxnSpPr>
            <p:cNvPr id="146" name="Straight Connector 145"/>
            <p:cNvCxnSpPr>
              <a:stCxn id="144" idx="2"/>
              <a:endCxn id="142" idx="6"/>
            </p:cNvCxnSpPr>
            <p:nvPr/>
          </p:nvCxnSpPr>
          <p:spPr bwMode="auto">
            <a:xfrm flipH="1" flipV="1">
              <a:off x="2992924" y="1448863"/>
              <a:ext cx="435025" cy="82192"/>
            </a:xfrm>
            <a:prstGeom prst="line">
              <a:avLst/>
            </a:prstGeom>
            <a:noFill/>
            <a:ln w="9525" cap="flat" cmpd="sng" algn="ctr">
              <a:solidFill>
                <a:schemeClr val="tx1"/>
              </a:solidFill>
              <a:prstDash val="solid"/>
              <a:round/>
              <a:headEnd type="none" w="med" len="med"/>
              <a:tailEnd type="none"/>
            </a:ln>
            <a:effectLst/>
          </p:spPr>
        </p:cxnSp>
        <p:cxnSp>
          <p:nvCxnSpPr>
            <p:cNvPr id="147" name="Straight Connector 146"/>
            <p:cNvCxnSpPr>
              <a:stCxn id="142" idx="7"/>
              <a:endCxn id="143" idx="2"/>
            </p:cNvCxnSpPr>
            <p:nvPr/>
          </p:nvCxnSpPr>
          <p:spPr bwMode="auto">
            <a:xfrm flipV="1">
              <a:off x="2964401" y="1201998"/>
              <a:ext cx="727158" cy="178006"/>
            </a:xfrm>
            <a:prstGeom prst="line">
              <a:avLst/>
            </a:prstGeom>
            <a:noFill/>
            <a:ln w="9525" cap="flat" cmpd="sng" algn="ctr">
              <a:solidFill>
                <a:schemeClr val="tx1"/>
              </a:solidFill>
              <a:prstDash val="solid"/>
              <a:round/>
              <a:headEnd type="none" w="med" len="med"/>
              <a:tailEnd type="none"/>
            </a:ln>
            <a:effectLst/>
          </p:spPr>
        </p:cxnSp>
        <p:cxnSp>
          <p:nvCxnSpPr>
            <p:cNvPr id="148" name="Straight Connector 147"/>
            <p:cNvCxnSpPr>
              <a:stCxn id="143" idx="5"/>
              <a:endCxn id="134" idx="1"/>
            </p:cNvCxnSpPr>
            <p:nvPr/>
          </p:nvCxnSpPr>
          <p:spPr bwMode="auto">
            <a:xfrm>
              <a:off x="3857800" y="1270857"/>
              <a:ext cx="185303" cy="120332"/>
            </a:xfrm>
            <a:prstGeom prst="line">
              <a:avLst/>
            </a:prstGeom>
            <a:noFill/>
            <a:ln w="9525" cap="flat" cmpd="sng" algn="ctr">
              <a:solidFill>
                <a:schemeClr val="tx1"/>
              </a:solidFill>
              <a:prstDash val="solid"/>
              <a:round/>
              <a:headEnd type="none" w="med" len="med"/>
              <a:tailEnd type="none"/>
            </a:ln>
            <a:effectLst/>
          </p:spPr>
        </p:cxnSp>
        <p:cxnSp>
          <p:nvCxnSpPr>
            <p:cNvPr id="149" name="Straight Connector 148"/>
            <p:cNvCxnSpPr>
              <a:stCxn id="143" idx="6"/>
              <a:endCxn id="136" idx="1"/>
            </p:cNvCxnSpPr>
            <p:nvPr/>
          </p:nvCxnSpPr>
          <p:spPr bwMode="auto">
            <a:xfrm flipV="1">
              <a:off x="3886323" y="1185334"/>
              <a:ext cx="843036" cy="16664"/>
            </a:xfrm>
            <a:prstGeom prst="line">
              <a:avLst/>
            </a:prstGeom>
            <a:noFill/>
            <a:ln w="9525" cap="flat" cmpd="sng" algn="ctr">
              <a:solidFill>
                <a:schemeClr val="tx1"/>
              </a:solidFill>
              <a:prstDash val="solid"/>
              <a:round/>
              <a:headEnd type="none" w="med" len="med"/>
              <a:tailEnd type="none"/>
            </a:ln>
            <a:effectLst/>
          </p:spPr>
        </p:cxnSp>
        <p:cxnSp>
          <p:nvCxnSpPr>
            <p:cNvPr id="150" name="Straight Connector 149"/>
            <p:cNvCxnSpPr>
              <a:stCxn id="144" idx="6"/>
              <a:endCxn id="134" idx="2"/>
            </p:cNvCxnSpPr>
            <p:nvPr/>
          </p:nvCxnSpPr>
          <p:spPr bwMode="auto">
            <a:xfrm flipV="1">
              <a:off x="3622713" y="1460048"/>
              <a:ext cx="391867" cy="71007"/>
            </a:xfrm>
            <a:prstGeom prst="line">
              <a:avLst/>
            </a:prstGeom>
            <a:noFill/>
            <a:ln w="9525" cap="flat" cmpd="sng" algn="ctr">
              <a:solidFill>
                <a:schemeClr val="tx1"/>
              </a:solidFill>
              <a:prstDash val="solid"/>
              <a:round/>
              <a:headEnd type="none" w="med" len="med"/>
              <a:tailEnd type="none"/>
            </a:ln>
            <a:effectLst/>
          </p:spPr>
        </p:cxnSp>
      </p:grpSp>
      <p:grpSp>
        <p:nvGrpSpPr>
          <p:cNvPr id="53" name="Group 52"/>
          <p:cNvGrpSpPr/>
          <p:nvPr/>
        </p:nvGrpSpPr>
        <p:grpSpPr>
          <a:xfrm>
            <a:off x="2068505" y="1041371"/>
            <a:ext cx="4701437" cy="1979265"/>
            <a:chOff x="2068505" y="1041371"/>
            <a:chExt cx="4701437" cy="1979265"/>
          </a:xfrm>
        </p:grpSpPr>
        <p:cxnSp>
          <p:nvCxnSpPr>
            <p:cNvPr id="181" name="Straight Connector 180"/>
            <p:cNvCxnSpPr/>
            <p:nvPr/>
          </p:nvCxnSpPr>
          <p:spPr bwMode="auto">
            <a:xfrm flipV="1">
              <a:off x="3009214" y="1049393"/>
              <a:ext cx="0" cy="1350739"/>
            </a:xfrm>
            <a:prstGeom prst="line">
              <a:avLst/>
            </a:prstGeom>
            <a:noFill/>
            <a:ln w="6350" cap="flat" cmpd="sng" algn="ctr">
              <a:solidFill>
                <a:schemeClr val="tx2"/>
              </a:solidFill>
              <a:prstDash val="sysDash"/>
              <a:round/>
              <a:headEnd type="none" w="med" len="med"/>
              <a:tailEnd type="none"/>
            </a:ln>
            <a:effectLst/>
          </p:spPr>
        </p:cxnSp>
        <p:cxnSp>
          <p:nvCxnSpPr>
            <p:cNvPr id="34" name="Straight Connector 33"/>
            <p:cNvCxnSpPr/>
            <p:nvPr/>
          </p:nvCxnSpPr>
          <p:spPr bwMode="auto">
            <a:xfrm flipV="1">
              <a:off x="2068505" y="1667402"/>
              <a:ext cx="0" cy="1353234"/>
            </a:xfrm>
            <a:prstGeom prst="line">
              <a:avLst/>
            </a:prstGeom>
            <a:noFill/>
            <a:ln w="6350" cap="flat" cmpd="sng" algn="ctr">
              <a:solidFill>
                <a:schemeClr val="tx2"/>
              </a:solidFill>
              <a:prstDash val="sysDash"/>
              <a:round/>
              <a:headEnd type="none" w="med" len="med"/>
              <a:tailEnd type="none"/>
            </a:ln>
            <a:effectLst/>
          </p:spPr>
        </p:cxnSp>
        <p:cxnSp>
          <p:nvCxnSpPr>
            <p:cNvPr id="182" name="Straight Connector 181"/>
            <p:cNvCxnSpPr/>
            <p:nvPr/>
          </p:nvCxnSpPr>
          <p:spPr bwMode="auto">
            <a:xfrm flipV="1">
              <a:off x="6769942" y="1041371"/>
              <a:ext cx="0" cy="1358761"/>
            </a:xfrm>
            <a:prstGeom prst="line">
              <a:avLst/>
            </a:prstGeom>
            <a:noFill/>
            <a:ln w="6350" cap="flat" cmpd="sng" algn="ctr">
              <a:solidFill>
                <a:schemeClr val="tx2"/>
              </a:solidFill>
              <a:prstDash val="sysDash"/>
              <a:round/>
              <a:headEnd type="none" w="med" len="med"/>
              <a:tailEnd type="none"/>
            </a:ln>
            <a:effectLst/>
          </p:spPr>
        </p:cxnSp>
        <p:cxnSp>
          <p:nvCxnSpPr>
            <p:cNvPr id="183" name="Straight Connector 182"/>
            <p:cNvCxnSpPr/>
            <p:nvPr/>
          </p:nvCxnSpPr>
          <p:spPr bwMode="auto">
            <a:xfrm flipV="1">
              <a:off x="5823821" y="1655459"/>
              <a:ext cx="0" cy="1365177"/>
            </a:xfrm>
            <a:prstGeom prst="line">
              <a:avLst/>
            </a:prstGeom>
            <a:noFill/>
            <a:ln w="6350" cap="flat" cmpd="sng" algn="ctr">
              <a:solidFill>
                <a:schemeClr val="tx2"/>
              </a:solidFill>
              <a:prstDash val="sysDash"/>
              <a:round/>
              <a:headEnd type="none" w="med" len="med"/>
              <a:tailEnd type="none"/>
            </a:ln>
            <a:effectLst/>
          </p:spPr>
        </p:cxnSp>
      </p:grpSp>
      <p:grpSp>
        <p:nvGrpSpPr>
          <p:cNvPr id="160" name="Group 159"/>
          <p:cNvGrpSpPr/>
          <p:nvPr/>
        </p:nvGrpSpPr>
        <p:grpSpPr>
          <a:xfrm>
            <a:off x="1754980" y="2119869"/>
            <a:ext cx="4093295" cy="2043014"/>
            <a:chOff x="1754980" y="2119869"/>
            <a:chExt cx="4093295" cy="2043014"/>
          </a:xfrm>
        </p:grpSpPr>
        <p:cxnSp>
          <p:nvCxnSpPr>
            <p:cNvPr id="161" name="Straight Connector 160"/>
            <p:cNvCxnSpPr/>
            <p:nvPr/>
          </p:nvCxnSpPr>
          <p:spPr bwMode="auto">
            <a:xfrm flipV="1">
              <a:off x="1868477" y="2188728"/>
              <a:ext cx="958206" cy="1974155"/>
            </a:xfrm>
            <a:prstGeom prst="line">
              <a:avLst/>
            </a:prstGeom>
            <a:noFill/>
            <a:ln w="12700" cap="flat" cmpd="sng" algn="ctr">
              <a:solidFill>
                <a:schemeClr val="bg2"/>
              </a:solidFill>
              <a:prstDash val="solid"/>
              <a:round/>
              <a:headEnd type="none" w="med" len="med"/>
              <a:tailEnd type="none"/>
            </a:ln>
            <a:effectLst/>
          </p:spPr>
        </p:cxnSp>
        <p:cxnSp>
          <p:nvCxnSpPr>
            <p:cNvPr id="162" name="Straight Connector 161"/>
            <p:cNvCxnSpPr/>
            <p:nvPr/>
          </p:nvCxnSpPr>
          <p:spPr bwMode="auto">
            <a:xfrm flipV="1">
              <a:off x="1754980" y="2119869"/>
              <a:ext cx="1043180" cy="1719942"/>
            </a:xfrm>
            <a:prstGeom prst="line">
              <a:avLst/>
            </a:prstGeom>
            <a:noFill/>
            <a:ln w="12700" cap="flat" cmpd="sng" algn="ctr">
              <a:solidFill>
                <a:schemeClr val="bg2"/>
              </a:solidFill>
              <a:prstDash val="dash"/>
              <a:round/>
              <a:headEnd type="none" w="med" len="med"/>
              <a:tailEnd type="none"/>
            </a:ln>
            <a:effectLst/>
          </p:spPr>
        </p:cxnSp>
        <p:cxnSp>
          <p:nvCxnSpPr>
            <p:cNvPr id="163" name="Straight Connector 162"/>
            <p:cNvCxnSpPr/>
            <p:nvPr/>
          </p:nvCxnSpPr>
          <p:spPr bwMode="auto">
            <a:xfrm flipV="1">
              <a:off x="2993409" y="2270920"/>
              <a:ext cx="463063" cy="1650922"/>
            </a:xfrm>
            <a:prstGeom prst="line">
              <a:avLst/>
            </a:prstGeom>
            <a:noFill/>
            <a:ln w="12700" cap="flat" cmpd="sng" algn="ctr">
              <a:solidFill>
                <a:schemeClr val="bg2"/>
              </a:solidFill>
              <a:prstDash val="solid"/>
              <a:round/>
              <a:headEnd type="none" w="med" len="med"/>
              <a:tailEnd type="none"/>
            </a:ln>
            <a:effectLst/>
          </p:spPr>
        </p:cxnSp>
        <p:cxnSp>
          <p:nvCxnSpPr>
            <p:cNvPr id="164" name="Straight Connector 163"/>
            <p:cNvCxnSpPr/>
            <p:nvPr/>
          </p:nvCxnSpPr>
          <p:spPr bwMode="auto">
            <a:xfrm flipH="1" flipV="1">
              <a:off x="4111962" y="2228436"/>
              <a:ext cx="61762" cy="1793205"/>
            </a:xfrm>
            <a:prstGeom prst="line">
              <a:avLst/>
            </a:prstGeom>
            <a:noFill/>
            <a:ln w="12700" cap="flat" cmpd="sng" algn="ctr">
              <a:solidFill>
                <a:schemeClr val="bg2"/>
              </a:solidFill>
              <a:prstDash val="dash"/>
              <a:round/>
              <a:headEnd type="none" w="med" len="med"/>
              <a:tailEnd type="none"/>
            </a:ln>
            <a:effectLst/>
          </p:spPr>
        </p:cxnSp>
        <p:cxnSp>
          <p:nvCxnSpPr>
            <p:cNvPr id="165" name="Straight Connector 164"/>
            <p:cNvCxnSpPr/>
            <p:nvPr/>
          </p:nvCxnSpPr>
          <p:spPr bwMode="auto">
            <a:xfrm flipH="1" flipV="1">
              <a:off x="4180821" y="2199913"/>
              <a:ext cx="883926" cy="1381496"/>
            </a:xfrm>
            <a:prstGeom prst="line">
              <a:avLst/>
            </a:prstGeom>
            <a:noFill/>
            <a:ln w="12700" cap="flat" cmpd="sng" algn="ctr">
              <a:solidFill>
                <a:schemeClr val="bg2"/>
              </a:solidFill>
              <a:prstDash val="dash"/>
              <a:round/>
              <a:headEnd type="none" w="med" len="med"/>
              <a:tailEnd type="none"/>
            </a:ln>
            <a:effectLst/>
          </p:spPr>
        </p:cxnSp>
        <p:cxnSp>
          <p:nvCxnSpPr>
            <p:cNvPr id="166" name="Straight Connector 165"/>
            <p:cNvCxnSpPr/>
            <p:nvPr/>
          </p:nvCxnSpPr>
          <p:spPr bwMode="auto">
            <a:xfrm flipH="1" flipV="1">
              <a:off x="5481592" y="2232103"/>
              <a:ext cx="366683" cy="1778339"/>
            </a:xfrm>
            <a:prstGeom prst="line">
              <a:avLst/>
            </a:prstGeom>
            <a:noFill/>
            <a:ln w="12700" cap="flat" cmpd="sng" algn="ctr">
              <a:solidFill>
                <a:schemeClr val="bg2"/>
              </a:solidFill>
              <a:prstDash val="dash"/>
              <a:round/>
              <a:headEnd type="none" w="med" len="med"/>
              <a:tailEnd type="none"/>
            </a:ln>
            <a:effectLst/>
          </p:spPr>
        </p:cxnSp>
      </p:grpSp>
      <p:grpSp>
        <p:nvGrpSpPr>
          <p:cNvPr id="167" name="Group 166"/>
          <p:cNvGrpSpPr/>
          <p:nvPr/>
        </p:nvGrpSpPr>
        <p:grpSpPr>
          <a:xfrm>
            <a:off x="4180821" y="1311902"/>
            <a:ext cx="2176529" cy="2826135"/>
            <a:chOff x="4180821" y="1311902"/>
            <a:chExt cx="2176529" cy="2826135"/>
          </a:xfrm>
        </p:grpSpPr>
        <p:cxnSp>
          <p:nvCxnSpPr>
            <p:cNvPr id="168" name="Straight Connector 167"/>
            <p:cNvCxnSpPr/>
            <p:nvPr/>
          </p:nvCxnSpPr>
          <p:spPr bwMode="auto">
            <a:xfrm flipH="1" flipV="1">
              <a:off x="4180821" y="1528907"/>
              <a:ext cx="451847" cy="2153199"/>
            </a:xfrm>
            <a:prstGeom prst="line">
              <a:avLst/>
            </a:prstGeom>
            <a:noFill/>
            <a:ln w="12700" cap="flat" cmpd="sng" algn="ctr">
              <a:solidFill>
                <a:schemeClr val="accent1"/>
              </a:solidFill>
              <a:prstDash val="solid"/>
              <a:round/>
              <a:headEnd type="none" w="med" len="med"/>
              <a:tailEnd type="none"/>
            </a:ln>
            <a:effectLst/>
          </p:spPr>
        </p:cxnSp>
        <p:cxnSp>
          <p:nvCxnSpPr>
            <p:cNvPr id="169" name="Straight Connector 168"/>
            <p:cNvCxnSpPr/>
            <p:nvPr/>
          </p:nvCxnSpPr>
          <p:spPr bwMode="auto">
            <a:xfrm flipH="1" flipV="1">
              <a:off x="6024099" y="1311902"/>
              <a:ext cx="333251" cy="2826135"/>
            </a:xfrm>
            <a:prstGeom prst="line">
              <a:avLst/>
            </a:prstGeom>
            <a:noFill/>
            <a:ln w="12700" cap="flat" cmpd="sng" algn="ctr">
              <a:solidFill>
                <a:schemeClr val="accent1"/>
              </a:solidFill>
              <a:prstDash val="solid"/>
              <a:round/>
              <a:headEnd type="none" w="med" len="med"/>
              <a:tailEnd type="none"/>
            </a:ln>
            <a:effectLst/>
          </p:spPr>
        </p:cxnSp>
      </p:grpSp>
      <p:grpSp>
        <p:nvGrpSpPr>
          <p:cNvPr id="14" name="Group 13"/>
          <p:cNvGrpSpPr/>
          <p:nvPr/>
        </p:nvGrpSpPr>
        <p:grpSpPr>
          <a:xfrm>
            <a:off x="222473" y="2004695"/>
            <a:ext cx="1572267" cy="1194919"/>
            <a:chOff x="222473" y="2004695"/>
            <a:chExt cx="1572267" cy="1194919"/>
          </a:xfrm>
        </p:grpSpPr>
        <p:sp>
          <p:nvSpPr>
            <p:cNvPr id="266" name="Rounded Rectangle 280"/>
            <p:cNvSpPr/>
            <p:nvPr/>
          </p:nvSpPr>
          <p:spPr>
            <a:xfrm>
              <a:off x="222473" y="2004695"/>
              <a:ext cx="1572267" cy="1194919"/>
            </a:xfrm>
            <a:prstGeom prst="roundRect">
              <a:avLst>
                <a:gd name="adj" fmla="val 11943"/>
              </a:avLst>
            </a:prstGeom>
            <a:solidFill>
              <a:schemeClr val="bg1">
                <a:lumMod val="85000"/>
              </a:schemeClr>
            </a:solidFill>
            <a:ln w="28575">
              <a:solidFill>
                <a:schemeClr val="accent4"/>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a:latin typeface="Trebuchet MS"/>
                <a:cs typeface="Trebuchet MS"/>
              </a:endParaRPr>
            </a:p>
          </p:txBody>
        </p:sp>
        <p:sp>
          <p:nvSpPr>
            <p:cNvPr id="267" name="Rounded Rectangle 282"/>
            <p:cNvSpPr/>
            <p:nvPr/>
          </p:nvSpPr>
          <p:spPr>
            <a:xfrm>
              <a:off x="879136" y="2674088"/>
              <a:ext cx="819778" cy="432809"/>
            </a:xfrm>
            <a:prstGeom prst="roundRect">
              <a:avLst/>
            </a:prstGeom>
            <a:solidFill>
              <a:schemeClr val="bg1">
                <a:lumMod val="75000"/>
              </a:schemeClr>
            </a:solidFill>
            <a:ln>
              <a:solidFill>
                <a:schemeClr val="accent4"/>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buFont typeface="Wingdings" pitchFamily="2" charset="2"/>
                <a:buChar char="ü"/>
              </a:pPr>
              <a:r>
                <a:rPr lang="en-US" sz="825" dirty="0">
                  <a:latin typeface="Trebuchet MS"/>
                  <a:cs typeface="Trebuchet MS"/>
                </a:rPr>
                <a:t>Container</a:t>
              </a:r>
            </a:p>
            <a:p>
              <a:pPr>
                <a:spcBef>
                  <a:spcPts val="0"/>
                </a:spcBef>
                <a:buFont typeface="Wingdings" pitchFamily="2" charset="2"/>
                <a:buChar char="ü"/>
              </a:pPr>
              <a:r>
                <a:rPr lang="en-US" sz="825" dirty="0">
                  <a:latin typeface="Trebuchet MS"/>
                  <a:cs typeface="Trebuchet MS"/>
                </a:rPr>
                <a:t>Quality</a:t>
              </a:r>
            </a:p>
            <a:p>
              <a:pPr>
                <a:spcBef>
                  <a:spcPts val="0"/>
                </a:spcBef>
                <a:buFont typeface="Wingdings" pitchFamily="2" charset="2"/>
                <a:buChar char="ü"/>
              </a:pPr>
              <a:r>
                <a:rPr lang="en-US" sz="825" dirty="0">
                  <a:latin typeface="Trebuchet MS"/>
                  <a:cs typeface="Trebuchet MS"/>
                </a:rPr>
                <a:t>Security</a:t>
              </a:r>
            </a:p>
          </p:txBody>
        </p:sp>
        <p:sp>
          <p:nvSpPr>
            <p:cNvPr id="268" name="Rectangle 267"/>
            <p:cNvSpPr/>
            <p:nvPr/>
          </p:nvSpPr>
          <p:spPr>
            <a:xfrm>
              <a:off x="403129" y="2094614"/>
              <a:ext cx="1295786" cy="147842"/>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r>
                <a:rPr lang="en-US" sz="825" b="1" dirty="0">
                  <a:solidFill>
                    <a:schemeClr val="accent4"/>
                  </a:solidFill>
                  <a:latin typeface="Trebuchet MS"/>
                  <a:cs typeface="Trebuchet MS"/>
                </a:rPr>
                <a:t>Security Profile</a:t>
              </a:r>
            </a:p>
          </p:txBody>
        </p:sp>
        <p:sp>
          <p:nvSpPr>
            <p:cNvPr id="269" name="Rectangle 268"/>
            <p:cNvSpPr/>
            <p:nvPr/>
          </p:nvSpPr>
          <p:spPr>
            <a:xfrm>
              <a:off x="225949" y="2583001"/>
              <a:ext cx="584350" cy="140277"/>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Classify</a:t>
              </a:r>
            </a:p>
          </p:txBody>
        </p:sp>
        <p:sp>
          <p:nvSpPr>
            <p:cNvPr id="270" name="Rectangle 269"/>
            <p:cNvSpPr/>
            <p:nvPr/>
          </p:nvSpPr>
          <p:spPr>
            <a:xfrm>
              <a:off x="225949" y="2342982"/>
              <a:ext cx="761561" cy="191165"/>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henticate</a:t>
              </a:r>
            </a:p>
          </p:txBody>
        </p:sp>
        <p:sp>
          <p:nvSpPr>
            <p:cNvPr id="271" name="Rectangle 270"/>
            <p:cNvSpPr/>
            <p:nvPr/>
          </p:nvSpPr>
          <p:spPr>
            <a:xfrm>
              <a:off x="225949" y="2772049"/>
              <a:ext cx="662615" cy="220982"/>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o Provision</a:t>
              </a:r>
            </a:p>
          </p:txBody>
        </p:sp>
        <p:sp>
          <p:nvSpPr>
            <p:cNvPr id="272" name="Freeform 63"/>
            <p:cNvSpPr>
              <a:spLocks noEditPoints="1"/>
            </p:cNvSpPr>
            <p:nvPr/>
          </p:nvSpPr>
          <p:spPr bwMode="auto">
            <a:xfrm>
              <a:off x="1042975" y="2366779"/>
              <a:ext cx="393579" cy="213920"/>
            </a:xfrm>
            <a:custGeom>
              <a:avLst/>
              <a:gdLst>
                <a:gd name="T0" fmla="*/ 258027 w 794"/>
                <a:gd name="T1" fmla="*/ 225462 h 429"/>
                <a:gd name="T2" fmla="*/ 388923 w 794"/>
                <a:gd name="T3" fmla="*/ 392190 h 429"/>
                <a:gd name="T4" fmla="*/ 382331 w 794"/>
                <a:gd name="T5" fmla="*/ 363771 h 429"/>
                <a:gd name="T6" fmla="*/ 382331 w 794"/>
                <a:gd name="T7" fmla="*/ 147782 h 429"/>
                <a:gd name="T8" fmla="*/ 429416 w 794"/>
                <a:gd name="T9" fmla="*/ 90943 h 429"/>
                <a:gd name="T10" fmla="*/ 644125 w 794"/>
                <a:gd name="T11" fmla="*/ 90943 h 429"/>
                <a:gd name="T12" fmla="*/ 420941 w 794"/>
                <a:gd name="T13" fmla="*/ 18946 h 429"/>
                <a:gd name="T14" fmla="*/ 347488 w 794"/>
                <a:gd name="T15" fmla="*/ 2842 h 429"/>
                <a:gd name="T16" fmla="*/ 321121 w 794"/>
                <a:gd name="T17" fmla="*/ 2842 h 429"/>
                <a:gd name="T18" fmla="*/ 324887 w 794"/>
                <a:gd name="T19" fmla="*/ 26525 h 429"/>
                <a:gd name="T20" fmla="*/ 258968 w 794"/>
                <a:gd name="T21" fmla="*/ 92837 h 429"/>
                <a:gd name="T22" fmla="*/ 228834 w 794"/>
                <a:gd name="T23" fmla="*/ 85259 h 429"/>
                <a:gd name="T24" fmla="*/ 228834 w 794"/>
                <a:gd name="T25" fmla="*/ 139256 h 429"/>
                <a:gd name="T26" fmla="*/ 258027 w 794"/>
                <a:gd name="T27" fmla="*/ 225462 h 429"/>
                <a:gd name="T28" fmla="*/ 707219 w 794"/>
                <a:gd name="T29" fmla="*/ 119362 h 429"/>
                <a:gd name="T30" fmla="*/ 451076 w 794"/>
                <a:gd name="T31" fmla="*/ 119362 h 429"/>
                <a:gd name="T32" fmla="*/ 410582 w 794"/>
                <a:gd name="T33" fmla="*/ 167676 h 429"/>
                <a:gd name="T34" fmla="*/ 410582 w 794"/>
                <a:gd name="T35" fmla="*/ 358087 h 429"/>
                <a:gd name="T36" fmla="*/ 451076 w 794"/>
                <a:gd name="T37" fmla="*/ 406400 h 429"/>
                <a:gd name="T38" fmla="*/ 707219 w 794"/>
                <a:gd name="T39" fmla="*/ 406400 h 429"/>
                <a:gd name="T40" fmla="*/ 747712 w 794"/>
                <a:gd name="T41" fmla="*/ 358087 h 429"/>
                <a:gd name="T42" fmla="*/ 747712 w 794"/>
                <a:gd name="T43" fmla="*/ 167676 h 429"/>
                <a:gd name="T44" fmla="*/ 707219 w 794"/>
                <a:gd name="T45" fmla="*/ 119362 h 429"/>
                <a:gd name="T46" fmla="*/ 258027 w 794"/>
                <a:gd name="T47" fmla="*/ 52103 h 429"/>
                <a:gd name="T48" fmla="*/ 284394 w 794"/>
                <a:gd name="T49" fmla="*/ 26525 h 429"/>
                <a:gd name="T50" fmla="*/ 258027 w 794"/>
                <a:gd name="T51" fmla="*/ 0 h 429"/>
                <a:gd name="T52" fmla="*/ 231659 w 794"/>
                <a:gd name="T53" fmla="*/ 26525 h 429"/>
                <a:gd name="T54" fmla="*/ 258027 w 794"/>
                <a:gd name="T55" fmla="*/ 52103 h 429"/>
                <a:gd name="T56" fmla="*/ 75336 w 794"/>
                <a:gd name="T57" fmla="*/ 113678 h 429"/>
                <a:gd name="T58" fmla="*/ 942 w 794"/>
                <a:gd name="T59" fmla="*/ 154413 h 429"/>
                <a:gd name="T60" fmla="*/ 5650 w 794"/>
                <a:gd name="T61" fmla="*/ 181885 h 429"/>
                <a:gd name="T62" fmla="*/ 26368 w 794"/>
                <a:gd name="T63" fmla="*/ 202726 h 429"/>
                <a:gd name="T64" fmla="*/ 96054 w 794"/>
                <a:gd name="T65" fmla="*/ 169570 h 429"/>
                <a:gd name="T66" fmla="*/ 204350 w 794"/>
                <a:gd name="T67" fmla="*/ 159150 h 429"/>
                <a:gd name="T68" fmla="*/ 204350 w 794"/>
                <a:gd name="T69" fmla="*/ 97574 h 429"/>
                <a:gd name="T70" fmla="*/ 75336 w 794"/>
                <a:gd name="T71" fmla="*/ 113678 h 429"/>
                <a:gd name="T72" fmla="*/ 702510 w 794"/>
                <a:gd name="T73" fmla="*/ 263355 h 429"/>
                <a:gd name="T74" fmla="*/ 581031 w 794"/>
                <a:gd name="T75" fmla="*/ 385559 h 429"/>
                <a:gd name="T76" fmla="*/ 459551 w 794"/>
                <a:gd name="T77" fmla="*/ 263355 h 429"/>
                <a:gd name="T78" fmla="*/ 581031 w 794"/>
                <a:gd name="T79" fmla="*/ 141151 h 429"/>
                <a:gd name="T80" fmla="*/ 702510 w 794"/>
                <a:gd name="T81" fmla="*/ 263355 h 42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94"/>
                <a:gd name="T124" fmla="*/ 0 h 429"/>
                <a:gd name="T125" fmla="*/ 794 w 794"/>
                <a:gd name="T126" fmla="*/ 429 h 42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94" h="429">
                  <a:moveTo>
                    <a:pt x="274" y="238"/>
                  </a:moveTo>
                  <a:cubicBezTo>
                    <a:pt x="413" y="414"/>
                    <a:pt x="413" y="414"/>
                    <a:pt x="413" y="414"/>
                  </a:cubicBezTo>
                  <a:cubicBezTo>
                    <a:pt x="409" y="405"/>
                    <a:pt x="406" y="395"/>
                    <a:pt x="406" y="384"/>
                  </a:cubicBezTo>
                  <a:cubicBezTo>
                    <a:pt x="406" y="156"/>
                    <a:pt x="406" y="156"/>
                    <a:pt x="406" y="156"/>
                  </a:cubicBezTo>
                  <a:cubicBezTo>
                    <a:pt x="406" y="123"/>
                    <a:pt x="428" y="96"/>
                    <a:pt x="456" y="96"/>
                  </a:cubicBezTo>
                  <a:cubicBezTo>
                    <a:pt x="684" y="96"/>
                    <a:pt x="684" y="96"/>
                    <a:pt x="684" y="96"/>
                  </a:cubicBezTo>
                  <a:cubicBezTo>
                    <a:pt x="447" y="20"/>
                    <a:pt x="447" y="20"/>
                    <a:pt x="447" y="20"/>
                  </a:cubicBezTo>
                  <a:cubicBezTo>
                    <a:pt x="447" y="20"/>
                    <a:pt x="392" y="3"/>
                    <a:pt x="369" y="3"/>
                  </a:cubicBezTo>
                  <a:cubicBezTo>
                    <a:pt x="341" y="3"/>
                    <a:pt x="341" y="3"/>
                    <a:pt x="341" y="3"/>
                  </a:cubicBezTo>
                  <a:cubicBezTo>
                    <a:pt x="344" y="11"/>
                    <a:pt x="345" y="19"/>
                    <a:pt x="345" y="28"/>
                  </a:cubicBezTo>
                  <a:cubicBezTo>
                    <a:pt x="345" y="67"/>
                    <a:pt x="314" y="98"/>
                    <a:pt x="275" y="98"/>
                  </a:cubicBezTo>
                  <a:cubicBezTo>
                    <a:pt x="263" y="98"/>
                    <a:pt x="252" y="95"/>
                    <a:pt x="243" y="90"/>
                  </a:cubicBezTo>
                  <a:cubicBezTo>
                    <a:pt x="243" y="147"/>
                    <a:pt x="243" y="147"/>
                    <a:pt x="243" y="147"/>
                  </a:cubicBezTo>
                  <a:cubicBezTo>
                    <a:pt x="243" y="206"/>
                    <a:pt x="274" y="238"/>
                    <a:pt x="274" y="238"/>
                  </a:cubicBezTo>
                  <a:close/>
                  <a:moveTo>
                    <a:pt x="751" y="126"/>
                  </a:moveTo>
                  <a:cubicBezTo>
                    <a:pt x="479" y="126"/>
                    <a:pt x="479" y="126"/>
                    <a:pt x="479" y="126"/>
                  </a:cubicBezTo>
                  <a:cubicBezTo>
                    <a:pt x="455" y="126"/>
                    <a:pt x="436" y="149"/>
                    <a:pt x="436" y="177"/>
                  </a:cubicBezTo>
                  <a:cubicBezTo>
                    <a:pt x="436" y="378"/>
                    <a:pt x="436" y="378"/>
                    <a:pt x="436" y="378"/>
                  </a:cubicBezTo>
                  <a:cubicBezTo>
                    <a:pt x="436" y="406"/>
                    <a:pt x="455" y="429"/>
                    <a:pt x="479" y="429"/>
                  </a:cubicBezTo>
                  <a:cubicBezTo>
                    <a:pt x="751" y="429"/>
                    <a:pt x="751" y="429"/>
                    <a:pt x="751" y="429"/>
                  </a:cubicBezTo>
                  <a:cubicBezTo>
                    <a:pt x="775" y="429"/>
                    <a:pt x="794" y="406"/>
                    <a:pt x="794" y="378"/>
                  </a:cubicBezTo>
                  <a:cubicBezTo>
                    <a:pt x="794" y="177"/>
                    <a:pt x="794" y="177"/>
                    <a:pt x="794" y="177"/>
                  </a:cubicBezTo>
                  <a:cubicBezTo>
                    <a:pt x="794" y="149"/>
                    <a:pt x="775" y="126"/>
                    <a:pt x="751" y="126"/>
                  </a:cubicBezTo>
                  <a:close/>
                  <a:moveTo>
                    <a:pt x="274" y="55"/>
                  </a:moveTo>
                  <a:cubicBezTo>
                    <a:pt x="289" y="55"/>
                    <a:pt x="302" y="43"/>
                    <a:pt x="302" y="28"/>
                  </a:cubicBezTo>
                  <a:cubicBezTo>
                    <a:pt x="302" y="13"/>
                    <a:pt x="289" y="0"/>
                    <a:pt x="274" y="0"/>
                  </a:cubicBezTo>
                  <a:cubicBezTo>
                    <a:pt x="259" y="0"/>
                    <a:pt x="246" y="13"/>
                    <a:pt x="246" y="28"/>
                  </a:cubicBezTo>
                  <a:cubicBezTo>
                    <a:pt x="246" y="43"/>
                    <a:pt x="259" y="55"/>
                    <a:pt x="274" y="55"/>
                  </a:cubicBezTo>
                  <a:close/>
                  <a:moveTo>
                    <a:pt x="80" y="120"/>
                  </a:moveTo>
                  <a:cubicBezTo>
                    <a:pt x="25" y="144"/>
                    <a:pt x="1" y="163"/>
                    <a:pt x="1" y="163"/>
                  </a:cubicBezTo>
                  <a:cubicBezTo>
                    <a:pt x="1" y="163"/>
                    <a:pt x="0" y="179"/>
                    <a:pt x="6" y="192"/>
                  </a:cubicBezTo>
                  <a:cubicBezTo>
                    <a:pt x="18" y="214"/>
                    <a:pt x="28" y="214"/>
                    <a:pt x="28" y="214"/>
                  </a:cubicBezTo>
                  <a:cubicBezTo>
                    <a:pt x="28" y="214"/>
                    <a:pt x="75" y="188"/>
                    <a:pt x="102" y="179"/>
                  </a:cubicBezTo>
                  <a:cubicBezTo>
                    <a:pt x="160" y="161"/>
                    <a:pt x="217" y="168"/>
                    <a:pt x="217" y="168"/>
                  </a:cubicBezTo>
                  <a:cubicBezTo>
                    <a:pt x="217" y="103"/>
                    <a:pt x="217" y="103"/>
                    <a:pt x="217" y="103"/>
                  </a:cubicBezTo>
                  <a:cubicBezTo>
                    <a:pt x="217" y="103"/>
                    <a:pt x="135" y="95"/>
                    <a:pt x="80" y="120"/>
                  </a:cubicBezTo>
                  <a:close/>
                  <a:moveTo>
                    <a:pt x="746" y="278"/>
                  </a:moveTo>
                  <a:cubicBezTo>
                    <a:pt x="746" y="349"/>
                    <a:pt x="688" y="407"/>
                    <a:pt x="617" y="407"/>
                  </a:cubicBezTo>
                  <a:cubicBezTo>
                    <a:pt x="546" y="407"/>
                    <a:pt x="488" y="349"/>
                    <a:pt x="488" y="278"/>
                  </a:cubicBezTo>
                  <a:cubicBezTo>
                    <a:pt x="488" y="207"/>
                    <a:pt x="546" y="149"/>
                    <a:pt x="617" y="149"/>
                  </a:cubicBezTo>
                  <a:cubicBezTo>
                    <a:pt x="688" y="149"/>
                    <a:pt x="746" y="207"/>
                    <a:pt x="746" y="278"/>
                  </a:cubicBezTo>
                  <a:close/>
                </a:path>
              </a:pathLst>
            </a:custGeom>
            <a:solidFill>
              <a:schemeClr val="accent4"/>
            </a:solidFill>
            <a:ln w="9525">
              <a:noFill/>
              <a:round/>
              <a:headEnd/>
              <a:tailEnd/>
            </a:ln>
          </p:spPr>
          <p:txBody>
            <a:bodyPr/>
            <a:lstStyle>
              <a:defPPr>
                <a:defRPr lang="en-US"/>
              </a:defPPr>
              <a:lvl1pPr algn="l" rtl="0" fontAlgn="base">
                <a:spcBef>
                  <a:spcPct val="50000"/>
                </a:spcBef>
                <a:spcAft>
                  <a:spcPct val="0"/>
                </a:spcAft>
                <a:defRPr kern="1200">
                  <a:solidFill>
                    <a:schemeClr val="tx1"/>
                  </a:solidFill>
                  <a:latin typeface="Trebuchet MS" pitchFamily="34" charset="0"/>
                  <a:ea typeface="+mn-ea"/>
                  <a:cs typeface="+mn-cs"/>
                </a:defRPr>
              </a:lvl1pPr>
              <a:lvl2pPr marL="348389" algn="l" rtl="0" fontAlgn="base">
                <a:spcBef>
                  <a:spcPct val="50000"/>
                </a:spcBef>
                <a:spcAft>
                  <a:spcPct val="0"/>
                </a:spcAft>
                <a:defRPr kern="1200">
                  <a:solidFill>
                    <a:schemeClr val="tx1"/>
                  </a:solidFill>
                  <a:latin typeface="Trebuchet MS" pitchFamily="34" charset="0"/>
                  <a:ea typeface="+mn-ea"/>
                  <a:cs typeface="+mn-cs"/>
                </a:defRPr>
              </a:lvl2pPr>
              <a:lvl3pPr marL="696777" algn="l" rtl="0" fontAlgn="base">
                <a:spcBef>
                  <a:spcPct val="50000"/>
                </a:spcBef>
                <a:spcAft>
                  <a:spcPct val="0"/>
                </a:spcAft>
                <a:defRPr kern="1200">
                  <a:solidFill>
                    <a:schemeClr val="tx1"/>
                  </a:solidFill>
                  <a:latin typeface="Trebuchet MS" pitchFamily="34" charset="0"/>
                  <a:ea typeface="+mn-ea"/>
                  <a:cs typeface="+mn-cs"/>
                </a:defRPr>
              </a:lvl3pPr>
              <a:lvl4pPr marL="1045165" algn="l" rtl="0" fontAlgn="base">
                <a:spcBef>
                  <a:spcPct val="50000"/>
                </a:spcBef>
                <a:spcAft>
                  <a:spcPct val="0"/>
                </a:spcAft>
                <a:defRPr kern="1200">
                  <a:solidFill>
                    <a:schemeClr val="tx1"/>
                  </a:solidFill>
                  <a:latin typeface="Trebuchet MS" pitchFamily="34" charset="0"/>
                  <a:ea typeface="+mn-ea"/>
                  <a:cs typeface="+mn-cs"/>
                </a:defRPr>
              </a:lvl4pPr>
              <a:lvl5pPr marL="1393554" algn="l" rtl="0" fontAlgn="base">
                <a:spcBef>
                  <a:spcPct val="50000"/>
                </a:spcBef>
                <a:spcAft>
                  <a:spcPct val="0"/>
                </a:spcAft>
                <a:defRPr kern="1200">
                  <a:solidFill>
                    <a:schemeClr val="tx1"/>
                  </a:solidFill>
                  <a:latin typeface="Trebuchet MS" pitchFamily="34" charset="0"/>
                  <a:ea typeface="+mn-ea"/>
                  <a:cs typeface="+mn-cs"/>
                </a:defRPr>
              </a:lvl5pPr>
              <a:lvl6pPr marL="1741943" algn="l" defTabSz="696777" rtl="0" eaLnBrk="1" latinLnBrk="0" hangingPunct="1">
                <a:defRPr kern="1200">
                  <a:solidFill>
                    <a:schemeClr val="tx1"/>
                  </a:solidFill>
                  <a:latin typeface="Trebuchet MS" pitchFamily="34" charset="0"/>
                  <a:ea typeface="+mn-ea"/>
                  <a:cs typeface="+mn-cs"/>
                </a:defRPr>
              </a:lvl6pPr>
              <a:lvl7pPr marL="2090332" algn="l" defTabSz="696777" rtl="0" eaLnBrk="1" latinLnBrk="0" hangingPunct="1">
                <a:defRPr kern="1200">
                  <a:solidFill>
                    <a:schemeClr val="tx1"/>
                  </a:solidFill>
                  <a:latin typeface="Trebuchet MS" pitchFamily="34" charset="0"/>
                  <a:ea typeface="+mn-ea"/>
                  <a:cs typeface="+mn-cs"/>
                </a:defRPr>
              </a:lvl7pPr>
              <a:lvl8pPr marL="2438721" algn="l" defTabSz="696777" rtl="0" eaLnBrk="1" latinLnBrk="0" hangingPunct="1">
                <a:defRPr kern="1200">
                  <a:solidFill>
                    <a:schemeClr val="tx1"/>
                  </a:solidFill>
                  <a:latin typeface="Trebuchet MS" pitchFamily="34" charset="0"/>
                  <a:ea typeface="+mn-ea"/>
                  <a:cs typeface="+mn-cs"/>
                </a:defRPr>
              </a:lvl8pPr>
              <a:lvl9pPr marL="2787109" algn="l" defTabSz="696777" rtl="0" eaLnBrk="1" latinLnBrk="0" hangingPunct="1">
                <a:defRPr kern="1200">
                  <a:solidFill>
                    <a:schemeClr val="tx1"/>
                  </a:solidFill>
                  <a:latin typeface="Trebuchet MS" pitchFamily="34" charset="0"/>
                  <a:ea typeface="+mn-ea"/>
                  <a:cs typeface="+mn-cs"/>
                </a:defRPr>
              </a:lvl9pPr>
            </a:lstStyle>
            <a:p>
              <a:endParaRPr lang="en-US" sz="2100">
                <a:latin typeface="+mn-lt"/>
              </a:endParaRPr>
            </a:p>
          </p:txBody>
        </p:sp>
        <p:grpSp>
          <p:nvGrpSpPr>
            <p:cNvPr id="273" name="Group 351"/>
            <p:cNvGrpSpPr/>
            <p:nvPr/>
          </p:nvGrpSpPr>
          <p:grpSpPr>
            <a:xfrm>
              <a:off x="1509348" y="2336535"/>
              <a:ext cx="234442" cy="223404"/>
              <a:chOff x="4705771" y="2257424"/>
              <a:chExt cx="439809" cy="419101"/>
            </a:xfrm>
          </p:grpSpPr>
          <p:sp>
            <p:nvSpPr>
              <p:cNvPr id="274" name="Oval 273"/>
              <p:cNvSpPr/>
              <p:nvPr/>
            </p:nvSpPr>
            <p:spPr>
              <a:xfrm>
                <a:off x="4762501" y="2476501"/>
                <a:ext cx="152400" cy="152400"/>
              </a:xfrm>
              <a:prstGeom prst="ellipse">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400">
                  <a:latin typeface="Trebuchet MS"/>
                  <a:cs typeface="Trebuchet MS"/>
                </a:endParaRPr>
              </a:p>
            </p:txBody>
          </p:sp>
          <p:sp>
            <p:nvSpPr>
              <p:cNvPr id="275" name="Rounded Rectangle 312"/>
              <p:cNvSpPr/>
              <p:nvPr/>
            </p:nvSpPr>
            <p:spPr>
              <a:xfrm>
                <a:off x="4791077" y="2499474"/>
                <a:ext cx="354503" cy="106351"/>
              </a:xfrm>
              <a:prstGeom prst="roundRect">
                <a:avLst>
                  <a:gd name="adj" fmla="val 50000"/>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400">
                  <a:latin typeface="Trebuchet MS"/>
                  <a:cs typeface="Trebuchet MS"/>
                </a:endParaRPr>
              </a:p>
            </p:txBody>
          </p:sp>
          <p:sp>
            <p:nvSpPr>
              <p:cNvPr id="276" name="Rounded Rectangle 313"/>
              <p:cNvSpPr/>
              <p:nvPr/>
            </p:nvSpPr>
            <p:spPr>
              <a:xfrm>
                <a:off x="4705771" y="2257424"/>
                <a:ext cx="256959" cy="419101"/>
              </a:xfrm>
              <a:prstGeom prst="roundRect">
                <a:avLst/>
              </a:prstGeom>
              <a:noFill/>
              <a:ln w="38100">
                <a:solidFill>
                  <a:schemeClr val="accent4"/>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400">
                  <a:latin typeface="Trebuchet MS"/>
                  <a:cs typeface="Trebuchet MS"/>
                </a:endParaRPr>
              </a:p>
            </p:txBody>
          </p:sp>
          <p:sp>
            <p:nvSpPr>
              <p:cNvPr id="277" name="Rounded Rectangle 314"/>
              <p:cNvSpPr/>
              <p:nvPr/>
            </p:nvSpPr>
            <p:spPr>
              <a:xfrm>
                <a:off x="4764176" y="2333621"/>
                <a:ext cx="133351" cy="114299"/>
              </a:xfrm>
              <a:prstGeom prst="roundRect">
                <a:avLst/>
              </a:prstGeom>
              <a:solidFill>
                <a:schemeClr val="accent4"/>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sz="1400">
                  <a:latin typeface="Trebuchet MS"/>
                  <a:cs typeface="Trebuchet MS"/>
                </a:endParaRPr>
              </a:p>
            </p:txBody>
          </p:sp>
        </p:grpSp>
      </p:grpSp>
      <p:grpSp>
        <p:nvGrpSpPr>
          <p:cNvPr id="26" name="Group 25"/>
          <p:cNvGrpSpPr/>
          <p:nvPr/>
        </p:nvGrpSpPr>
        <p:grpSpPr>
          <a:xfrm>
            <a:off x="7104211" y="646254"/>
            <a:ext cx="1572267" cy="1194919"/>
            <a:chOff x="7104211" y="646254"/>
            <a:chExt cx="1572267" cy="1194919"/>
          </a:xfrm>
        </p:grpSpPr>
        <p:sp>
          <p:nvSpPr>
            <p:cNvPr id="278" name="Rounded Rectangle 280"/>
            <p:cNvSpPr/>
            <p:nvPr/>
          </p:nvSpPr>
          <p:spPr>
            <a:xfrm>
              <a:off x="7104211" y="646254"/>
              <a:ext cx="1572267" cy="1194919"/>
            </a:xfrm>
            <a:prstGeom prst="roundRect">
              <a:avLst>
                <a:gd name="adj" fmla="val 11943"/>
              </a:avLst>
            </a:prstGeom>
            <a:solidFill>
              <a:schemeClr val="bg1">
                <a:lumMod val="85000"/>
              </a:schemeClr>
            </a:solidFill>
            <a:ln w="28575">
              <a:solidFill>
                <a:schemeClr val="accent1"/>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a:latin typeface="Trebuchet MS"/>
                <a:cs typeface="Trebuchet MS"/>
              </a:endParaRPr>
            </a:p>
          </p:txBody>
        </p:sp>
        <p:sp>
          <p:nvSpPr>
            <p:cNvPr id="279" name="Rounded Rectangle 282"/>
            <p:cNvSpPr/>
            <p:nvPr/>
          </p:nvSpPr>
          <p:spPr>
            <a:xfrm>
              <a:off x="7760874" y="1315647"/>
              <a:ext cx="819778" cy="432809"/>
            </a:xfrm>
            <a:prstGeom prst="roundRect">
              <a:avLst/>
            </a:prstGeom>
            <a:solidFill>
              <a:schemeClr val="bg1">
                <a:lumMod val="75000"/>
              </a:schemeClr>
            </a:solidFill>
            <a:ln>
              <a:solidFill>
                <a:schemeClr val="accent1"/>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buFont typeface="Wingdings" pitchFamily="2" charset="2"/>
                <a:buChar char="ü"/>
              </a:pPr>
              <a:r>
                <a:rPr lang="en-US" sz="825" dirty="0">
                  <a:latin typeface="Trebuchet MS"/>
                  <a:cs typeface="Trebuchet MS"/>
                </a:rPr>
                <a:t>Container</a:t>
              </a:r>
            </a:p>
            <a:p>
              <a:pPr>
                <a:spcBef>
                  <a:spcPts val="0"/>
                </a:spcBef>
                <a:buFont typeface="Wingdings" pitchFamily="2" charset="2"/>
                <a:buChar char="ü"/>
              </a:pPr>
              <a:r>
                <a:rPr lang="en-US" sz="825" dirty="0">
                  <a:latin typeface="Trebuchet MS"/>
                  <a:cs typeface="Trebuchet MS"/>
                </a:rPr>
                <a:t>Quality</a:t>
              </a:r>
            </a:p>
            <a:p>
              <a:pPr>
                <a:spcBef>
                  <a:spcPts val="0"/>
                </a:spcBef>
                <a:buFont typeface="Wingdings" pitchFamily="2" charset="2"/>
                <a:buChar char="ü"/>
              </a:pPr>
              <a:r>
                <a:rPr lang="en-US" sz="825" dirty="0">
                  <a:latin typeface="Trebuchet MS"/>
                  <a:cs typeface="Trebuchet MS"/>
                </a:rPr>
                <a:t>Security</a:t>
              </a:r>
            </a:p>
          </p:txBody>
        </p:sp>
        <p:sp>
          <p:nvSpPr>
            <p:cNvPr id="280" name="Rectangle 279"/>
            <p:cNvSpPr/>
            <p:nvPr/>
          </p:nvSpPr>
          <p:spPr>
            <a:xfrm>
              <a:off x="7284867" y="736173"/>
              <a:ext cx="1295786" cy="147842"/>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r>
                <a:rPr lang="en-US" sz="825" b="1" dirty="0">
                  <a:solidFill>
                    <a:schemeClr val="accent1"/>
                  </a:solidFill>
                  <a:latin typeface="Trebuchet MS"/>
                  <a:cs typeface="Trebuchet MS"/>
                </a:rPr>
                <a:t>Audio/Visual Profile</a:t>
              </a:r>
            </a:p>
          </p:txBody>
        </p:sp>
        <p:sp>
          <p:nvSpPr>
            <p:cNvPr id="281" name="Rectangle 280"/>
            <p:cNvSpPr/>
            <p:nvPr/>
          </p:nvSpPr>
          <p:spPr>
            <a:xfrm>
              <a:off x="7107687" y="1224560"/>
              <a:ext cx="584350" cy="140277"/>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Classify</a:t>
              </a:r>
            </a:p>
          </p:txBody>
        </p:sp>
        <p:sp>
          <p:nvSpPr>
            <p:cNvPr id="282" name="Rectangle 281"/>
            <p:cNvSpPr/>
            <p:nvPr/>
          </p:nvSpPr>
          <p:spPr>
            <a:xfrm>
              <a:off x="7107687" y="984541"/>
              <a:ext cx="761561" cy="191165"/>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henticate</a:t>
              </a:r>
            </a:p>
          </p:txBody>
        </p:sp>
        <p:sp>
          <p:nvSpPr>
            <p:cNvPr id="283" name="Rectangle 282"/>
            <p:cNvSpPr/>
            <p:nvPr/>
          </p:nvSpPr>
          <p:spPr>
            <a:xfrm>
              <a:off x="7107687" y="1413608"/>
              <a:ext cx="662615" cy="220982"/>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o Provision</a:t>
              </a:r>
            </a:p>
          </p:txBody>
        </p:sp>
        <p:grpSp>
          <p:nvGrpSpPr>
            <p:cNvPr id="284" name="Group 72"/>
            <p:cNvGrpSpPr/>
            <p:nvPr/>
          </p:nvGrpSpPr>
          <p:grpSpPr>
            <a:xfrm>
              <a:off x="8025256" y="922393"/>
              <a:ext cx="347803" cy="313269"/>
              <a:chOff x="5486400" y="1781176"/>
              <a:chExt cx="671513" cy="604837"/>
            </a:xfrm>
            <a:solidFill>
              <a:schemeClr val="accent1"/>
            </a:solidFill>
          </p:grpSpPr>
          <p:sp>
            <p:nvSpPr>
              <p:cNvPr id="285" name="Freeform 58"/>
              <p:cNvSpPr>
                <a:spLocks noEditPoints="1"/>
              </p:cNvSpPr>
              <p:nvPr/>
            </p:nvSpPr>
            <p:spPr bwMode="auto">
              <a:xfrm>
                <a:off x="5486400" y="1865313"/>
                <a:ext cx="671513" cy="520700"/>
              </a:xfrm>
              <a:custGeom>
                <a:avLst/>
                <a:gdLst/>
                <a:ahLst/>
                <a:cxnLst>
                  <a:cxn ang="0">
                    <a:pos x="661" y="0"/>
                  </a:cxn>
                  <a:cxn ang="0">
                    <a:pos x="91" y="0"/>
                  </a:cxn>
                  <a:cxn ang="0">
                    <a:pos x="102" y="37"/>
                  </a:cxn>
                  <a:cxn ang="0">
                    <a:pos x="30" y="109"/>
                  </a:cxn>
                  <a:cxn ang="0">
                    <a:pos x="0" y="102"/>
                  </a:cxn>
                  <a:cxn ang="0">
                    <a:pos x="0" y="510"/>
                  </a:cxn>
                  <a:cxn ang="0">
                    <a:pos x="51" y="553"/>
                  </a:cxn>
                  <a:cxn ang="0">
                    <a:pos x="661" y="553"/>
                  </a:cxn>
                  <a:cxn ang="0">
                    <a:pos x="712" y="510"/>
                  </a:cxn>
                  <a:cxn ang="0">
                    <a:pos x="712" y="42"/>
                  </a:cxn>
                  <a:cxn ang="0">
                    <a:pos x="661" y="0"/>
                  </a:cxn>
                  <a:cxn ang="0">
                    <a:pos x="31" y="63"/>
                  </a:cxn>
                  <a:cxn ang="0">
                    <a:pos x="59" y="36"/>
                  </a:cxn>
                  <a:cxn ang="0">
                    <a:pos x="31" y="8"/>
                  </a:cxn>
                  <a:cxn ang="0">
                    <a:pos x="4" y="36"/>
                  </a:cxn>
                  <a:cxn ang="0">
                    <a:pos x="31" y="63"/>
                  </a:cxn>
                  <a:cxn ang="0">
                    <a:pos x="616" y="447"/>
                  </a:cxn>
                  <a:cxn ang="0">
                    <a:pos x="102" y="447"/>
                  </a:cxn>
                  <a:cxn ang="0">
                    <a:pos x="102" y="86"/>
                  </a:cxn>
                  <a:cxn ang="0">
                    <a:pos x="616" y="86"/>
                  </a:cxn>
                  <a:cxn ang="0">
                    <a:pos x="616" y="447"/>
                  </a:cxn>
                  <a:cxn ang="0">
                    <a:pos x="329" y="480"/>
                  </a:cxn>
                  <a:cxn ang="0">
                    <a:pos x="314" y="495"/>
                  </a:cxn>
                  <a:cxn ang="0">
                    <a:pos x="300" y="480"/>
                  </a:cxn>
                  <a:cxn ang="0">
                    <a:pos x="314" y="465"/>
                  </a:cxn>
                  <a:cxn ang="0">
                    <a:pos x="329" y="480"/>
                  </a:cxn>
                  <a:cxn ang="0">
                    <a:pos x="281" y="480"/>
                  </a:cxn>
                  <a:cxn ang="0">
                    <a:pos x="266" y="495"/>
                  </a:cxn>
                  <a:cxn ang="0">
                    <a:pos x="252" y="480"/>
                  </a:cxn>
                  <a:cxn ang="0">
                    <a:pos x="266" y="465"/>
                  </a:cxn>
                  <a:cxn ang="0">
                    <a:pos x="281" y="480"/>
                  </a:cxn>
                  <a:cxn ang="0">
                    <a:pos x="233" y="480"/>
                  </a:cxn>
                  <a:cxn ang="0">
                    <a:pos x="219" y="495"/>
                  </a:cxn>
                  <a:cxn ang="0">
                    <a:pos x="204" y="480"/>
                  </a:cxn>
                  <a:cxn ang="0">
                    <a:pos x="219" y="465"/>
                  </a:cxn>
                  <a:cxn ang="0">
                    <a:pos x="233" y="480"/>
                  </a:cxn>
                  <a:cxn ang="0">
                    <a:pos x="469" y="495"/>
                  </a:cxn>
                  <a:cxn ang="0">
                    <a:pos x="354" y="495"/>
                  </a:cxn>
                  <a:cxn ang="0">
                    <a:pos x="354" y="465"/>
                  </a:cxn>
                  <a:cxn ang="0">
                    <a:pos x="469" y="465"/>
                  </a:cxn>
                  <a:cxn ang="0">
                    <a:pos x="469" y="495"/>
                  </a:cxn>
                </a:cxnLst>
                <a:rect l="0" t="0" r="r" b="b"/>
                <a:pathLst>
                  <a:path w="712" h="553">
                    <a:moveTo>
                      <a:pt x="661" y="0"/>
                    </a:moveTo>
                    <a:cubicBezTo>
                      <a:pt x="91" y="0"/>
                      <a:pt x="91" y="0"/>
                      <a:pt x="91" y="0"/>
                    </a:cubicBezTo>
                    <a:cubicBezTo>
                      <a:pt x="98" y="11"/>
                      <a:pt x="102" y="24"/>
                      <a:pt x="102" y="37"/>
                    </a:cubicBezTo>
                    <a:cubicBezTo>
                      <a:pt x="102" y="77"/>
                      <a:pt x="70" y="109"/>
                      <a:pt x="30" y="109"/>
                    </a:cubicBezTo>
                    <a:cubicBezTo>
                      <a:pt x="20" y="109"/>
                      <a:pt x="10" y="107"/>
                      <a:pt x="0" y="102"/>
                    </a:cubicBezTo>
                    <a:cubicBezTo>
                      <a:pt x="0" y="510"/>
                      <a:pt x="0" y="510"/>
                      <a:pt x="0" y="510"/>
                    </a:cubicBezTo>
                    <a:cubicBezTo>
                      <a:pt x="0" y="534"/>
                      <a:pt x="23" y="553"/>
                      <a:pt x="51" y="553"/>
                    </a:cubicBezTo>
                    <a:cubicBezTo>
                      <a:pt x="661" y="553"/>
                      <a:pt x="661" y="553"/>
                      <a:pt x="661" y="553"/>
                    </a:cubicBezTo>
                    <a:cubicBezTo>
                      <a:pt x="689" y="553"/>
                      <a:pt x="712" y="534"/>
                      <a:pt x="712" y="510"/>
                    </a:cubicBezTo>
                    <a:cubicBezTo>
                      <a:pt x="712" y="42"/>
                      <a:pt x="712" y="42"/>
                      <a:pt x="712" y="42"/>
                    </a:cubicBezTo>
                    <a:cubicBezTo>
                      <a:pt x="712" y="19"/>
                      <a:pt x="689" y="0"/>
                      <a:pt x="661" y="0"/>
                    </a:cubicBezTo>
                    <a:close/>
                    <a:moveTo>
                      <a:pt x="31" y="63"/>
                    </a:moveTo>
                    <a:cubicBezTo>
                      <a:pt x="47" y="63"/>
                      <a:pt x="59" y="51"/>
                      <a:pt x="59" y="36"/>
                    </a:cubicBezTo>
                    <a:cubicBezTo>
                      <a:pt x="59" y="20"/>
                      <a:pt x="47" y="8"/>
                      <a:pt x="31" y="8"/>
                    </a:cubicBezTo>
                    <a:cubicBezTo>
                      <a:pt x="16" y="8"/>
                      <a:pt x="4" y="20"/>
                      <a:pt x="4" y="36"/>
                    </a:cubicBezTo>
                    <a:cubicBezTo>
                      <a:pt x="4" y="51"/>
                      <a:pt x="16" y="63"/>
                      <a:pt x="31" y="63"/>
                    </a:cubicBezTo>
                    <a:close/>
                    <a:moveTo>
                      <a:pt x="616" y="447"/>
                    </a:moveTo>
                    <a:cubicBezTo>
                      <a:pt x="102" y="447"/>
                      <a:pt x="102" y="447"/>
                      <a:pt x="102" y="447"/>
                    </a:cubicBezTo>
                    <a:cubicBezTo>
                      <a:pt x="102" y="86"/>
                      <a:pt x="102" y="86"/>
                      <a:pt x="102" y="86"/>
                    </a:cubicBezTo>
                    <a:cubicBezTo>
                      <a:pt x="616" y="86"/>
                      <a:pt x="616" y="86"/>
                      <a:pt x="616" y="86"/>
                    </a:cubicBezTo>
                    <a:lnTo>
                      <a:pt x="616" y="447"/>
                    </a:lnTo>
                    <a:close/>
                    <a:moveTo>
                      <a:pt x="329" y="480"/>
                    </a:moveTo>
                    <a:cubicBezTo>
                      <a:pt x="329" y="488"/>
                      <a:pt x="322" y="495"/>
                      <a:pt x="314" y="495"/>
                    </a:cubicBezTo>
                    <a:cubicBezTo>
                      <a:pt x="306" y="495"/>
                      <a:pt x="300" y="488"/>
                      <a:pt x="300" y="480"/>
                    </a:cubicBezTo>
                    <a:cubicBezTo>
                      <a:pt x="300" y="472"/>
                      <a:pt x="306" y="465"/>
                      <a:pt x="314" y="465"/>
                    </a:cubicBezTo>
                    <a:cubicBezTo>
                      <a:pt x="322" y="465"/>
                      <a:pt x="329" y="472"/>
                      <a:pt x="329" y="480"/>
                    </a:cubicBezTo>
                    <a:close/>
                    <a:moveTo>
                      <a:pt x="281" y="480"/>
                    </a:moveTo>
                    <a:cubicBezTo>
                      <a:pt x="281" y="488"/>
                      <a:pt x="275" y="495"/>
                      <a:pt x="266" y="495"/>
                    </a:cubicBezTo>
                    <a:cubicBezTo>
                      <a:pt x="258" y="495"/>
                      <a:pt x="252" y="488"/>
                      <a:pt x="252" y="480"/>
                    </a:cubicBezTo>
                    <a:cubicBezTo>
                      <a:pt x="252" y="472"/>
                      <a:pt x="258" y="465"/>
                      <a:pt x="266" y="465"/>
                    </a:cubicBezTo>
                    <a:cubicBezTo>
                      <a:pt x="275" y="465"/>
                      <a:pt x="281" y="472"/>
                      <a:pt x="281" y="480"/>
                    </a:cubicBezTo>
                    <a:close/>
                    <a:moveTo>
                      <a:pt x="233" y="480"/>
                    </a:moveTo>
                    <a:cubicBezTo>
                      <a:pt x="233" y="488"/>
                      <a:pt x="227" y="495"/>
                      <a:pt x="219" y="495"/>
                    </a:cubicBezTo>
                    <a:cubicBezTo>
                      <a:pt x="210" y="495"/>
                      <a:pt x="204" y="488"/>
                      <a:pt x="204" y="480"/>
                    </a:cubicBezTo>
                    <a:cubicBezTo>
                      <a:pt x="204" y="472"/>
                      <a:pt x="210" y="465"/>
                      <a:pt x="219" y="465"/>
                    </a:cubicBezTo>
                    <a:cubicBezTo>
                      <a:pt x="227" y="465"/>
                      <a:pt x="233" y="472"/>
                      <a:pt x="233" y="480"/>
                    </a:cubicBezTo>
                    <a:close/>
                    <a:moveTo>
                      <a:pt x="469" y="495"/>
                    </a:moveTo>
                    <a:cubicBezTo>
                      <a:pt x="354" y="495"/>
                      <a:pt x="354" y="495"/>
                      <a:pt x="354" y="495"/>
                    </a:cubicBezTo>
                    <a:cubicBezTo>
                      <a:pt x="354" y="465"/>
                      <a:pt x="354" y="465"/>
                      <a:pt x="354" y="465"/>
                    </a:cubicBezTo>
                    <a:cubicBezTo>
                      <a:pt x="469" y="465"/>
                      <a:pt x="469" y="465"/>
                      <a:pt x="469" y="465"/>
                    </a:cubicBezTo>
                    <a:lnTo>
                      <a:pt x="469" y="495"/>
                    </a:ln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charset="0"/>
                  <a:cs typeface="MS PGothic" charset="0"/>
                </a:endParaRPr>
              </a:p>
            </p:txBody>
          </p:sp>
          <p:sp>
            <p:nvSpPr>
              <p:cNvPr id="286" name="Freeform 59"/>
              <p:cNvSpPr>
                <a:spLocks noEditPoints="1"/>
              </p:cNvSpPr>
              <p:nvPr/>
            </p:nvSpPr>
            <p:spPr bwMode="auto">
              <a:xfrm>
                <a:off x="5653088" y="1781176"/>
                <a:ext cx="346075" cy="63500"/>
              </a:xfrm>
              <a:custGeom>
                <a:avLst/>
                <a:gdLst/>
                <a:ahLst/>
                <a:cxnLst>
                  <a:cxn ang="0">
                    <a:pos x="367" y="46"/>
                  </a:cxn>
                  <a:cxn ang="0">
                    <a:pos x="347" y="66"/>
                  </a:cxn>
                  <a:cxn ang="0">
                    <a:pos x="20" y="66"/>
                  </a:cxn>
                  <a:cxn ang="0">
                    <a:pos x="0" y="46"/>
                  </a:cxn>
                  <a:cxn ang="0">
                    <a:pos x="0" y="20"/>
                  </a:cxn>
                  <a:cxn ang="0">
                    <a:pos x="20" y="0"/>
                  </a:cxn>
                  <a:cxn ang="0">
                    <a:pos x="347" y="0"/>
                  </a:cxn>
                  <a:cxn ang="0">
                    <a:pos x="367" y="20"/>
                  </a:cxn>
                  <a:cxn ang="0">
                    <a:pos x="367" y="46"/>
                  </a:cxn>
                  <a:cxn ang="0">
                    <a:pos x="54" y="16"/>
                  </a:cxn>
                  <a:cxn ang="0">
                    <a:pos x="39" y="30"/>
                  </a:cxn>
                  <a:cxn ang="0">
                    <a:pos x="54" y="44"/>
                  </a:cxn>
                  <a:cxn ang="0">
                    <a:pos x="68" y="30"/>
                  </a:cxn>
                  <a:cxn ang="0">
                    <a:pos x="54" y="16"/>
                  </a:cxn>
                  <a:cxn ang="0">
                    <a:pos x="96" y="16"/>
                  </a:cxn>
                  <a:cxn ang="0">
                    <a:pos x="82" y="30"/>
                  </a:cxn>
                  <a:cxn ang="0">
                    <a:pos x="96" y="44"/>
                  </a:cxn>
                  <a:cxn ang="0">
                    <a:pos x="111" y="30"/>
                  </a:cxn>
                  <a:cxn ang="0">
                    <a:pos x="96" y="16"/>
                  </a:cxn>
                </a:cxnLst>
                <a:rect l="0" t="0" r="r" b="b"/>
                <a:pathLst>
                  <a:path w="367" h="66">
                    <a:moveTo>
                      <a:pt x="367" y="46"/>
                    </a:moveTo>
                    <a:cubicBezTo>
                      <a:pt x="367" y="57"/>
                      <a:pt x="358" y="66"/>
                      <a:pt x="347" y="66"/>
                    </a:cubicBezTo>
                    <a:cubicBezTo>
                      <a:pt x="20" y="66"/>
                      <a:pt x="20" y="66"/>
                      <a:pt x="20" y="66"/>
                    </a:cubicBezTo>
                    <a:cubicBezTo>
                      <a:pt x="9" y="66"/>
                      <a:pt x="0" y="57"/>
                      <a:pt x="0" y="46"/>
                    </a:cubicBezTo>
                    <a:cubicBezTo>
                      <a:pt x="0" y="20"/>
                      <a:pt x="0" y="20"/>
                      <a:pt x="0" y="20"/>
                    </a:cubicBezTo>
                    <a:cubicBezTo>
                      <a:pt x="0" y="9"/>
                      <a:pt x="9" y="0"/>
                      <a:pt x="20" y="0"/>
                    </a:cubicBezTo>
                    <a:cubicBezTo>
                      <a:pt x="347" y="0"/>
                      <a:pt x="347" y="0"/>
                      <a:pt x="347" y="0"/>
                    </a:cubicBezTo>
                    <a:cubicBezTo>
                      <a:pt x="358" y="0"/>
                      <a:pt x="367" y="9"/>
                      <a:pt x="367" y="20"/>
                    </a:cubicBezTo>
                    <a:lnTo>
                      <a:pt x="367" y="46"/>
                    </a:lnTo>
                    <a:close/>
                    <a:moveTo>
                      <a:pt x="54" y="16"/>
                    </a:moveTo>
                    <a:cubicBezTo>
                      <a:pt x="46" y="16"/>
                      <a:pt x="39" y="22"/>
                      <a:pt x="39" y="30"/>
                    </a:cubicBezTo>
                    <a:cubicBezTo>
                      <a:pt x="39" y="38"/>
                      <a:pt x="46" y="44"/>
                      <a:pt x="54" y="44"/>
                    </a:cubicBezTo>
                    <a:cubicBezTo>
                      <a:pt x="62" y="44"/>
                      <a:pt x="68" y="38"/>
                      <a:pt x="68" y="30"/>
                    </a:cubicBezTo>
                    <a:cubicBezTo>
                      <a:pt x="68" y="22"/>
                      <a:pt x="62" y="16"/>
                      <a:pt x="54" y="16"/>
                    </a:cubicBezTo>
                    <a:close/>
                    <a:moveTo>
                      <a:pt x="96" y="16"/>
                    </a:moveTo>
                    <a:cubicBezTo>
                      <a:pt x="88" y="16"/>
                      <a:pt x="82" y="22"/>
                      <a:pt x="82" y="30"/>
                    </a:cubicBezTo>
                    <a:cubicBezTo>
                      <a:pt x="82" y="38"/>
                      <a:pt x="88" y="44"/>
                      <a:pt x="96" y="44"/>
                    </a:cubicBezTo>
                    <a:cubicBezTo>
                      <a:pt x="104" y="44"/>
                      <a:pt x="111" y="38"/>
                      <a:pt x="111" y="30"/>
                    </a:cubicBezTo>
                    <a:cubicBezTo>
                      <a:pt x="111" y="22"/>
                      <a:pt x="104" y="16"/>
                      <a:pt x="96" y="16"/>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charset="0"/>
                  <a:cs typeface="MS PGothic" charset="0"/>
                </a:endParaRPr>
              </a:p>
            </p:txBody>
          </p:sp>
        </p:grpSp>
      </p:grpSp>
      <p:grpSp>
        <p:nvGrpSpPr>
          <p:cNvPr id="24" name="Group 23"/>
          <p:cNvGrpSpPr/>
          <p:nvPr/>
        </p:nvGrpSpPr>
        <p:grpSpPr>
          <a:xfrm>
            <a:off x="7121425" y="1944227"/>
            <a:ext cx="1572267" cy="1194919"/>
            <a:chOff x="7121425" y="1944227"/>
            <a:chExt cx="1572267" cy="1194919"/>
          </a:xfrm>
        </p:grpSpPr>
        <p:sp>
          <p:nvSpPr>
            <p:cNvPr id="287" name="Rounded Rectangle 280"/>
            <p:cNvSpPr/>
            <p:nvPr/>
          </p:nvSpPr>
          <p:spPr>
            <a:xfrm>
              <a:off x="7121425" y="1944227"/>
              <a:ext cx="1572267" cy="1194919"/>
            </a:xfrm>
            <a:prstGeom prst="roundRect">
              <a:avLst>
                <a:gd name="adj" fmla="val 11943"/>
              </a:avLst>
            </a:prstGeom>
            <a:solidFill>
              <a:schemeClr val="bg1">
                <a:lumMod val="85000"/>
              </a:schemeClr>
            </a:solidFill>
            <a:ln w="28575">
              <a:solidFill>
                <a:schemeClr val="bg2"/>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endParaRPr lang="en-US" sz="1050">
                <a:latin typeface="Trebuchet MS"/>
                <a:cs typeface="Trebuchet MS"/>
              </a:endParaRPr>
            </a:p>
          </p:txBody>
        </p:sp>
        <p:sp>
          <p:nvSpPr>
            <p:cNvPr id="288" name="Rounded Rectangle 282"/>
            <p:cNvSpPr/>
            <p:nvPr/>
          </p:nvSpPr>
          <p:spPr>
            <a:xfrm>
              <a:off x="7778088" y="2613620"/>
              <a:ext cx="819778" cy="432809"/>
            </a:xfrm>
            <a:prstGeom prst="roundRect">
              <a:avLst/>
            </a:prstGeom>
            <a:solidFill>
              <a:schemeClr val="bg1">
                <a:lumMod val="75000"/>
              </a:schemeClr>
            </a:solidFill>
            <a:ln>
              <a:solidFill>
                <a:schemeClr val="bg2"/>
              </a:solid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buFont typeface="Wingdings" pitchFamily="2" charset="2"/>
                <a:buChar char="ü"/>
              </a:pPr>
              <a:r>
                <a:rPr lang="en-US" sz="825" dirty="0">
                  <a:latin typeface="Trebuchet MS"/>
                  <a:cs typeface="Trebuchet MS"/>
                </a:rPr>
                <a:t>Container</a:t>
              </a:r>
            </a:p>
            <a:p>
              <a:pPr>
                <a:spcBef>
                  <a:spcPts val="0"/>
                </a:spcBef>
                <a:buFont typeface="Wingdings" pitchFamily="2" charset="2"/>
                <a:buChar char="ü"/>
              </a:pPr>
              <a:r>
                <a:rPr lang="en-US" sz="825" dirty="0">
                  <a:latin typeface="Trebuchet MS"/>
                  <a:cs typeface="Trebuchet MS"/>
                </a:rPr>
                <a:t>Quality</a:t>
              </a:r>
            </a:p>
            <a:p>
              <a:pPr>
                <a:spcBef>
                  <a:spcPts val="0"/>
                </a:spcBef>
                <a:buFont typeface="Wingdings" pitchFamily="2" charset="2"/>
                <a:buChar char="ü"/>
              </a:pPr>
              <a:r>
                <a:rPr lang="en-US" sz="825" dirty="0">
                  <a:latin typeface="Trebuchet MS"/>
                  <a:cs typeface="Trebuchet MS"/>
                </a:rPr>
                <a:t>Security</a:t>
              </a:r>
            </a:p>
          </p:txBody>
        </p:sp>
        <p:sp>
          <p:nvSpPr>
            <p:cNvPr id="289" name="Rectangle 288"/>
            <p:cNvSpPr/>
            <p:nvPr/>
          </p:nvSpPr>
          <p:spPr>
            <a:xfrm>
              <a:off x="7302081" y="2034146"/>
              <a:ext cx="1295786" cy="147842"/>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spcBef>
                  <a:spcPts val="0"/>
                </a:spcBef>
              </a:pPr>
              <a:r>
                <a:rPr lang="en-US" sz="825" b="1" dirty="0">
                  <a:solidFill>
                    <a:schemeClr val="bg2"/>
                  </a:solidFill>
                  <a:latin typeface="Trebuchet MS"/>
                  <a:cs typeface="Trebuchet MS"/>
                </a:rPr>
                <a:t>Campus Operation Profile</a:t>
              </a:r>
            </a:p>
          </p:txBody>
        </p:sp>
        <p:sp>
          <p:nvSpPr>
            <p:cNvPr id="290" name="Rectangle 289"/>
            <p:cNvSpPr/>
            <p:nvPr/>
          </p:nvSpPr>
          <p:spPr>
            <a:xfrm>
              <a:off x="7124901" y="2522533"/>
              <a:ext cx="584350" cy="140277"/>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Classify</a:t>
              </a:r>
            </a:p>
          </p:txBody>
        </p:sp>
        <p:sp>
          <p:nvSpPr>
            <p:cNvPr id="291" name="Rectangle 290"/>
            <p:cNvSpPr/>
            <p:nvPr/>
          </p:nvSpPr>
          <p:spPr>
            <a:xfrm>
              <a:off x="7124901" y="2282514"/>
              <a:ext cx="761561" cy="191165"/>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henticate</a:t>
              </a:r>
            </a:p>
          </p:txBody>
        </p:sp>
        <p:sp>
          <p:nvSpPr>
            <p:cNvPr id="292" name="Rectangle 291"/>
            <p:cNvSpPr/>
            <p:nvPr/>
          </p:nvSpPr>
          <p:spPr>
            <a:xfrm>
              <a:off x="7124901" y="2711581"/>
              <a:ext cx="662615" cy="220982"/>
            </a:xfrm>
            <a:prstGeom prst="rect">
              <a:avLst/>
            </a:prstGeom>
            <a:no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spcBef>
                  <a:spcPts val="0"/>
                </a:spcBef>
              </a:pPr>
              <a:r>
                <a:rPr lang="en-US" sz="788" b="1" dirty="0">
                  <a:solidFill>
                    <a:schemeClr val="tx1">
                      <a:lumMod val="75000"/>
                      <a:lumOff val="25000"/>
                    </a:schemeClr>
                  </a:solidFill>
                  <a:latin typeface="Trebuchet MS"/>
                  <a:cs typeface="Trebuchet MS"/>
                </a:rPr>
                <a:t>Auto Provision</a:t>
              </a:r>
            </a:p>
          </p:txBody>
        </p:sp>
        <p:sp>
          <p:nvSpPr>
            <p:cNvPr id="293" name="Freeform 107"/>
            <p:cNvSpPr>
              <a:spLocks noEditPoints="1"/>
            </p:cNvSpPr>
            <p:nvPr/>
          </p:nvSpPr>
          <p:spPr bwMode="auto">
            <a:xfrm>
              <a:off x="7925086" y="2297716"/>
              <a:ext cx="227541" cy="185029"/>
            </a:xfrm>
            <a:custGeom>
              <a:avLst/>
              <a:gdLst>
                <a:gd name="T0" fmla="*/ 531826 w 605"/>
                <a:gd name="T1" fmla="*/ 0 h 545"/>
                <a:gd name="T2" fmla="*/ 96352 w 605"/>
                <a:gd name="T3" fmla="*/ 0 h 545"/>
                <a:gd name="T4" fmla="*/ 102964 w 605"/>
                <a:gd name="T5" fmla="*/ 28400 h 545"/>
                <a:gd name="T6" fmla="*/ 34951 w 605"/>
                <a:gd name="T7" fmla="*/ 95614 h 545"/>
                <a:gd name="T8" fmla="*/ 0 w 605"/>
                <a:gd name="T9" fmla="*/ 85201 h 545"/>
                <a:gd name="T10" fmla="*/ 0 w 605"/>
                <a:gd name="T11" fmla="*/ 467657 h 545"/>
                <a:gd name="T12" fmla="*/ 39674 w 605"/>
                <a:gd name="T13" fmla="*/ 515937 h 545"/>
                <a:gd name="T14" fmla="*/ 531826 w 605"/>
                <a:gd name="T15" fmla="*/ 515937 h 545"/>
                <a:gd name="T16" fmla="*/ 571500 w 605"/>
                <a:gd name="T17" fmla="*/ 467657 h 545"/>
                <a:gd name="T18" fmla="*/ 571500 w 605"/>
                <a:gd name="T19" fmla="*/ 48280 h 545"/>
                <a:gd name="T20" fmla="*/ 531826 w 605"/>
                <a:gd name="T21" fmla="*/ 0 h 545"/>
                <a:gd name="T22" fmla="*/ 34007 w 605"/>
                <a:gd name="T23" fmla="*/ 54907 h 545"/>
                <a:gd name="T24" fmla="*/ 59512 w 605"/>
                <a:gd name="T25" fmla="*/ 29347 h 545"/>
                <a:gd name="T26" fmla="*/ 34007 w 605"/>
                <a:gd name="T27" fmla="*/ 2840 h 545"/>
                <a:gd name="T28" fmla="*/ 7557 w 605"/>
                <a:gd name="T29" fmla="*/ 29347 h 545"/>
                <a:gd name="T30" fmla="*/ 34007 w 605"/>
                <a:gd name="T31" fmla="*/ 54907 h 545"/>
                <a:gd name="T32" fmla="*/ 364626 w 605"/>
                <a:gd name="T33" fmla="*/ 274535 h 545"/>
                <a:gd name="T34" fmla="*/ 98241 w 605"/>
                <a:gd name="T35" fmla="*/ 274535 h 545"/>
                <a:gd name="T36" fmla="*/ 98241 w 605"/>
                <a:gd name="T37" fmla="*/ 131588 h 545"/>
                <a:gd name="T38" fmla="*/ 364626 w 605"/>
                <a:gd name="T39" fmla="*/ 131588 h 545"/>
                <a:gd name="T40" fmla="*/ 364626 w 605"/>
                <a:gd name="T41" fmla="*/ 274535 h 545"/>
                <a:gd name="T42" fmla="*/ 194593 w 605"/>
                <a:gd name="T43" fmla="*/ 251815 h 545"/>
                <a:gd name="T44" fmla="*/ 194593 w 605"/>
                <a:gd name="T45" fmla="*/ 244242 h 545"/>
                <a:gd name="T46" fmla="*/ 204984 w 605"/>
                <a:gd name="T47" fmla="*/ 234775 h 545"/>
                <a:gd name="T48" fmla="*/ 239936 w 605"/>
                <a:gd name="T49" fmla="*/ 185548 h 545"/>
                <a:gd name="T50" fmla="*/ 221043 w 605"/>
                <a:gd name="T51" fmla="*/ 167561 h 545"/>
                <a:gd name="T52" fmla="*/ 201206 w 605"/>
                <a:gd name="T53" fmla="*/ 175135 h 545"/>
                <a:gd name="T54" fmla="*/ 197427 w 605"/>
                <a:gd name="T55" fmla="*/ 165668 h 545"/>
                <a:gd name="T56" fmla="*/ 223877 w 605"/>
                <a:gd name="T57" fmla="*/ 156201 h 545"/>
                <a:gd name="T58" fmla="*/ 252216 w 605"/>
                <a:gd name="T59" fmla="*/ 183655 h 545"/>
                <a:gd name="T60" fmla="*/ 220098 w 605"/>
                <a:gd name="T61" fmla="*/ 233828 h 545"/>
                <a:gd name="T62" fmla="*/ 212541 w 605"/>
                <a:gd name="T63" fmla="*/ 241402 h 545"/>
                <a:gd name="T64" fmla="*/ 212541 w 605"/>
                <a:gd name="T65" fmla="*/ 241402 h 545"/>
                <a:gd name="T66" fmla="*/ 255050 w 605"/>
                <a:gd name="T67" fmla="*/ 241402 h 545"/>
                <a:gd name="T68" fmla="*/ 255050 w 605"/>
                <a:gd name="T69" fmla="*/ 251815 h 545"/>
                <a:gd name="T70" fmla="*/ 194593 w 605"/>
                <a:gd name="T71" fmla="*/ 251815 h 545"/>
                <a:gd name="T72" fmla="*/ 298502 w 605"/>
                <a:gd name="T73" fmla="*/ 253708 h 545"/>
                <a:gd name="T74" fmla="*/ 267330 w 605"/>
                <a:gd name="T75" fmla="*/ 205428 h 545"/>
                <a:gd name="T76" fmla="*/ 300392 w 605"/>
                <a:gd name="T77" fmla="*/ 156201 h 545"/>
                <a:gd name="T78" fmla="*/ 330620 w 605"/>
                <a:gd name="T79" fmla="*/ 204481 h 545"/>
                <a:gd name="T80" fmla="*/ 298502 w 605"/>
                <a:gd name="T81" fmla="*/ 253708 h 545"/>
                <a:gd name="T82" fmla="*/ 299447 w 605"/>
                <a:gd name="T83" fmla="*/ 243295 h 545"/>
                <a:gd name="T84" fmla="*/ 318340 w 605"/>
                <a:gd name="T85" fmla="*/ 204481 h 545"/>
                <a:gd name="T86" fmla="*/ 299447 w 605"/>
                <a:gd name="T87" fmla="*/ 166615 h 545"/>
                <a:gd name="T88" fmla="*/ 279610 w 605"/>
                <a:gd name="T89" fmla="*/ 204481 h 545"/>
                <a:gd name="T90" fmla="*/ 298502 w 605"/>
                <a:gd name="T91" fmla="*/ 243295 h 545"/>
                <a:gd name="T92" fmla="*/ 299447 w 605"/>
                <a:gd name="T93" fmla="*/ 243295 h 545"/>
                <a:gd name="T94" fmla="*/ 411858 w 605"/>
                <a:gd name="T95" fmla="*/ 184601 h 545"/>
                <a:gd name="T96" fmla="*/ 454366 w 605"/>
                <a:gd name="T97" fmla="*/ 123068 h 545"/>
                <a:gd name="T98" fmla="*/ 497819 w 605"/>
                <a:gd name="T99" fmla="*/ 184601 h 545"/>
                <a:gd name="T100" fmla="*/ 411858 w 605"/>
                <a:gd name="T101" fmla="*/ 184601 h 545"/>
                <a:gd name="T102" fmla="*/ 497819 w 605"/>
                <a:gd name="T103" fmla="*/ 220575 h 545"/>
                <a:gd name="T104" fmla="*/ 454366 w 605"/>
                <a:gd name="T105" fmla="*/ 282109 h 545"/>
                <a:gd name="T106" fmla="*/ 411858 w 605"/>
                <a:gd name="T107" fmla="*/ 220575 h 545"/>
                <a:gd name="T108" fmla="*/ 497819 w 605"/>
                <a:gd name="T109" fmla="*/ 220575 h 545"/>
                <a:gd name="T110" fmla="*/ 478926 w 605"/>
                <a:gd name="T111" fmla="*/ 393816 h 545"/>
                <a:gd name="T112" fmla="*/ 457200 w 605"/>
                <a:gd name="T113" fmla="*/ 415590 h 545"/>
                <a:gd name="T114" fmla="*/ 435474 w 605"/>
                <a:gd name="T115" fmla="*/ 393816 h 545"/>
                <a:gd name="T116" fmla="*/ 457200 w 605"/>
                <a:gd name="T117" fmla="*/ 372043 h 545"/>
                <a:gd name="T118" fmla="*/ 478926 w 605"/>
                <a:gd name="T119" fmla="*/ 393816 h 54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5"/>
                <a:gd name="T181" fmla="*/ 0 h 545"/>
                <a:gd name="T182" fmla="*/ 605 w 605"/>
                <a:gd name="T183" fmla="*/ 545 h 54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5" h="545">
                  <a:moveTo>
                    <a:pt x="563" y="0"/>
                  </a:moveTo>
                  <a:cubicBezTo>
                    <a:pt x="102" y="0"/>
                    <a:pt x="102" y="0"/>
                    <a:pt x="102" y="0"/>
                  </a:cubicBezTo>
                  <a:cubicBezTo>
                    <a:pt x="107" y="9"/>
                    <a:pt x="109" y="19"/>
                    <a:pt x="109" y="30"/>
                  </a:cubicBezTo>
                  <a:cubicBezTo>
                    <a:pt x="109" y="69"/>
                    <a:pt x="77" y="101"/>
                    <a:pt x="37" y="101"/>
                  </a:cubicBezTo>
                  <a:cubicBezTo>
                    <a:pt x="24" y="101"/>
                    <a:pt x="11" y="97"/>
                    <a:pt x="0" y="90"/>
                  </a:cubicBezTo>
                  <a:cubicBezTo>
                    <a:pt x="0" y="494"/>
                    <a:pt x="0" y="494"/>
                    <a:pt x="0" y="494"/>
                  </a:cubicBezTo>
                  <a:cubicBezTo>
                    <a:pt x="0" y="522"/>
                    <a:pt x="19" y="545"/>
                    <a:pt x="42" y="545"/>
                  </a:cubicBezTo>
                  <a:cubicBezTo>
                    <a:pt x="563" y="545"/>
                    <a:pt x="563" y="545"/>
                    <a:pt x="563" y="545"/>
                  </a:cubicBezTo>
                  <a:cubicBezTo>
                    <a:pt x="586" y="545"/>
                    <a:pt x="605" y="522"/>
                    <a:pt x="605" y="494"/>
                  </a:cubicBezTo>
                  <a:cubicBezTo>
                    <a:pt x="605" y="51"/>
                    <a:pt x="605" y="51"/>
                    <a:pt x="605" y="51"/>
                  </a:cubicBezTo>
                  <a:cubicBezTo>
                    <a:pt x="605" y="23"/>
                    <a:pt x="586" y="0"/>
                    <a:pt x="563" y="0"/>
                  </a:cubicBezTo>
                  <a:close/>
                  <a:moveTo>
                    <a:pt x="36" y="58"/>
                  </a:moveTo>
                  <a:cubicBezTo>
                    <a:pt x="51" y="58"/>
                    <a:pt x="63" y="46"/>
                    <a:pt x="63" y="31"/>
                  </a:cubicBezTo>
                  <a:cubicBezTo>
                    <a:pt x="63" y="15"/>
                    <a:pt x="51" y="3"/>
                    <a:pt x="36" y="3"/>
                  </a:cubicBezTo>
                  <a:cubicBezTo>
                    <a:pt x="20" y="3"/>
                    <a:pt x="8" y="15"/>
                    <a:pt x="8" y="31"/>
                  </a:cubicBezTo>
                  <a:cubicBezTo>
                    <a:pt x="8" y="46"/>
                    <a:pt x="20" y="58"/>
                    <a:pt x="36" y="58"/>
                  </a:cubicBezTo>
                  <a:close/>
                  <a:moveTo>
                    <a:pt x="386" y="290"/>
                  </a:moveTo>
                  <a:cubicBezTo>
                    <a:pt x="104" y="290"/>
                    <a:pt x="104" y="290"/>
                    <a:pt x="104" y="290"/>
                  </a:cubicBezTo>
                  <a:cubicBezTo>
                    <a:pt x="104" y="139"/>
                    <a:pt x="104" y="139"/>
                    <a:pt x="104" y="139"/>
                  </a:cubicBezTo>
                  <a:cubicBezTo>
                    <a:pt x="386" y="139"/>
                    <a:pt x="386" y="139"/>
                    <a:pt x="386" y="139"/>
                  </a:cubicBezTo>
                  <a:lnTo>
                    <a:pt x="386" y="290"/>
                  </a:lnTo>
                  <a:close/>
                  <a:moveTo>
                    <a:pt x="206" y="266"/>
                  </a:moveTo>
                  <a:cubicBezTo>
                    <a:pt x="206" y="258"/>
                    <a:pt x="206" y="258"/>
                    <a:pt x="206" y="258"/>
                  </a:cubicBezTo>
                  <a:cubicBezTo>
                    <a:pt x="217" y="248"/>
                    <a:pt x="217" y="248"/>
                    <a:pt x="217" y="248"/>
                  </a:cubicBezTo>
                  <a:cubicBezTo>
                    <a:pt x="242" y="224"/>
                    <a:pt x="254" y="211"/>
                    <a:pt x="254" y="196"/>
                  </a:cubicBezTo>
                  <a:cubicBezTo>
                    <a:pt x="254" y="186"/>
                    <a:pt x="249" y="177"/>
                    <a:pt x="234" y="177"/>
                  </a:cubicBezTo>
                  <a:cubicBezTo>
                    <a:pt x="225" y="177"/>
                    <a:pt x="218" y="181"/>
                    <a:pt x="213" y="185"/>
                  </a:cubicBezTo>
                  <a:cubicBezTo>
                    <a:pt x="209" y="175"/>
                    <a:pt x="209" y="175"/>
                    <a:pt x="209" y="175"/>
                  </a:cubicBezTo>
                  <a:cubicBezTo>
                    <a:pt x="216" y="170"/>
                    <a:pt x="225" y="165"/>
                    <a:pt x="237" y="165"/>
                  </a:cubicBezTo>
                  <a:cubicBezTo>
                    <a:pt x="258" y="165"/>
                    <a:pt x="267" y="180"/>
                    <a:pt x="267" y="194"/>
                  </a:cubicBezTo>
                  <a:cubicBezTo>
                    <a:pt x="267" y="212"/>
                    <a:pt x="254" y="227"/>
                    <a:pt x="233" y="247"/>
                  </a:cubicBezTo>
                  <a:cubicBezTo>
                    <a:pt x="225" y="255"/>
                    <a:pt x="225" y="255"/>
                    <a:pt x="225" y="255"/>
                  </a:cubicBezTo>
                  <a:cubicBezTo>
                    <a:pt x="225" y="255"/>
                    <a:pt x="225" y="255"/>
                    <a:pt x="225" y="255"/>
                  </a:cubicBezTo>
                  <a:cubicBezTo>
                    <a:pt x="270" y="255"/>
                    <a:pt x="270" y="255"/>
                    <a:pt x="270" y="255"/>
                  </a:cubicBezTo>
                  <a:cubicBezTo>
                    <a:pt x="270" y="266"/>
                    <a:pt x="270" y="266"/>
                    <a:pt x="270" y="266"/>
                  </a:cubicBezTo>
                  <a:lnTo>
                    <a:pt x="206" y="266"/>
                  </a:lnTo>
                  <a:close/>
                  <a:moveTo>
                    <a:pt x="316" y="268"/>
                  </a:moveTo>
                  <a:cubicBezTo>
                    <a:pt x="297" y="268"/>
                    <a:pt x="283" y="250"/>
                    <a:pt x="283" y="217"/>
                  </a:cubicBezTo>
                  <a:cubicBezTo>
                    <a:pt x="283" y="183"/>
                    <a:pt x="298" y="165"/>
                    <a:pt x="318" y="165"/>
                  </a:cubicBezTo>
                  <a:cubicBezTo>
                    <a:pt x="338" y="165"/>
                    <a:pt x="350" y="184"/>
                    <a:pt x="350" y="216"/>
                  </a:cubicBezTo>
                  <a:cubicBezTo>
                    <a:pt x="350" y="249"/>
                    <a:pt x="338" y="268"/>
                    <a:pt x="316" y="268"/>
                  </a:cubicBezTo>
                  <a:close/>
                  <a:moveTo>
                    <a:pt x="317" y="257"/>
                  </a:moveTo>
                  <a:cubicBezTo>
                    <a:pt x="330" y="257"/>
                    <a:pt x="337" y="241"/>
                    <a:pt x="337" y="216"/>
                  </a:cubicBezTo>
                  <a:cubicBezTo>
                    <a:pt x="337" y="192"/>
                    <a:pt x="331" y="176"/>
                    <a:pt x="317" y="176"/>
                  </a:cubicBezTo>
                  <a:cubicBezTo>
                    <a:pt x="304" y="176"/>
                    <a:pt x="296" y="191"/>
                    <a:pt x="296" y="216"/>
                  </a:cubicBezTo>
                  <a:cubicBezTo>
                    <a:pt x="296" y="242"/>
                    <a:pt x="304" y="257"/>
                    <a:pt x="316" y="257"/>
                  </a:cubicBezTo>
                  <a:lnTo>
                    <a:pt x="317" y="257"/>
                  </a:lnTo>
                  <a:close/>
                  <a:moveTo>
                    <a:pt x="436" y="195"/>
                  </a:moveTo>
                  <a:cubicBezTo>
                    <a:pt x="481" y="130"/>
                    <a:pt x="481" y="130"/>
                    <a:pt x="481" y="130"/>
                  </a:cubicBezTo>
                  <a:cubicBezTo>
                    <a:pt x="527" y="195"/>
                    <a:pt x="527" y="195"/>
                    <a:pt x="527" y="195"/>
                  </a:cubicBezTo>
                  <a:lnTo>
                    <a:pt x="436" y="195"/>
                  </a:lnTo>
                  <a:close/>
                  <a:moveTo>
                    <a:pt x="527" y="233"/>
                  </a:moveTo>
                  <a:cubicBezTo>
                    <a:pt x="481" y="298"/>
                    <a:pt x="481" y="298"/>
                    <a:pt x="481" y="298"/>
                  </a:cubicBezTo>
                  <a:cubicBezTo>
                    <a:pt x="436" y="233"/>
                    <a:pt x="436" y="233"/>
                    <a:pt x="436" y="233"/>
                  </a:cubicBezTo>
                  <a:lnTo>
                    <a:pt x="527" y="233"/>
                  </a:lnTo>
                  <a:close/>
                  <a:moveTo>
                    <a:pt x="507" y="416"/>
                  </a:moveTo>
                  <a:cubicBezTo>
                    <a:pt x="507" y="429"/>
                    <a:pt x="497" y="439"/>
                    <a:pt x="484" y="439"/>
                  </a:cubicBezTo>
                  <a:cubicBezTo>
                    <a:pt x="471" y="439"/>
                    <a:pt x="461" y="429"/>
                    <a:pt x="461" y="416"/>
                  </a:cubicBezTo>
                  <a:cubicBezTo>
                    <a:pt x="461" y="403"/>
                    <a:pt x="471" y="393"/>
                    <a:pt x="484" y="393"/>
                  </a:cubicBezTo>
                  <a:cubicBezTo>
                    <a:pt x="497" y="393"/>
                    <a:pt x="507" y="403"/>
                    <a:pt x="507" y="416"/>
                  </a:cubicBezTo>
                  <a:close/>
                </a:path>
              </a:pathLst>
            </a:custGeom>
            <a:solidFill>
              <a:schemeClr val="bg2"/>
            </a:solidFill>
            <a:ln w="9525">
              <a:noFill/>
              <a:round/>
              <a:headEnd/>
              <a:tailEnd/>
            </a:ln>
          </p:spPr>
          <p:txBody>
            <a:bodyPr/>
            <a:lstStyle/>
            <a:p>
              <a:endParaRPr lang="en-US" sz="2000">
                <a:latin typeface="+mn-lt"/>
              </a:endParaRPr>
            </a:p>
          </p:txBody>
        </p:sp>
        <p:grpSp>
          <p:nvGrpSpPr>
            <p:cNvPr id="294" name="Group 293"/>
            <p:cNvGrpSpPr/>
            <p:nvPr/>
          </p:nvGrpSpPr>
          <p:grpSpPr>
            <a:xfrm>
              <a:off x="8195035" y="2248469"/>
              <a:ext cx="114929" cy="237252"/>
              <a:chOff x="2411413" y="4846638"/>
              <a:chExt cx="271462" cy="560387"/>
            </a:xfrm>
            <a:solidFill>
              <a:schemeClr val="bg2"/>
            </a:solidFill>
          </p:grpSpPr>
          <p:sp>
            <p:nvSpPr>
              <p:cNvPr id="309" name="Freeform 21"/>
              <p:cNvSpPr>
                <a:spLocks/>
              </p:cNvSpPr>
              <p:nvPr/>
            </p:nvSpPr>
            <p:spPr bwMode="auto">
              <a:xfrm>
                <a:off x="2411413" y="5160963"/>
                <a:ext cx="60325" cy="58737"/>
              </a:xfrm>
              <a:custGeom>
                <a:avLst/>
                <a:gdLst>
                  <a:gd name="T0" fmla="*/ 13 w 21"/>
                  <a:gd name="T1" fmla="*/ 19 h 21"/>
                  <a:gd name="T2" fmla="*/ 19 w 21"/>
                  <a:gd name="T3" fmla="*/ 8 h 21"/>
                  <a:gd name="T4" fmla="*/ 8 w 21"/>
                  <a:gd name="T5" fmla="*/ 2 h 21"/>
                  <a:gd name="T6" fmla="*/ 2 w 21"/>
                  <a:gd name="T7" fmla="*/ 13 h 21"/>
                  <a:gd name="T8" fmla="*/ 13 w 21"/>
                  <a:gd name="T9" fmla="*/ 19 h 21"/>
                </a:gdLst>
                <a:ahLst/>
                <a:cxnLst>
                  <a:cxn ang="0">
                    <a:pos x="T0" y="T1"/>
                  </a:cxn>
                  <a:cxn ang="0">
                    <a:pos x="T2" y="T3"/>
                  </a:cxn>
                  <a:cxn ang="0">
                    <a:pos x="T4" y="T5"/>
                  </a:cxn>
                  <a:cxn ang="0">
                    <a:pos x="T6" y="T7"/>
                  </a:cxn>
                  <a:cxn ang="0">
                    <a:pos x="T8" y="T9"/>
                  </a:cxn>
                </a:cxnLst>
                <a:rect l="0" t="0" r="r" b="b"/>
                <a:pathLst>
                  <a:path w="21" h="21">
                    <a:moveTo>
                      <a:pt x="13" y="19"/>
                    </a:moveTo>
                    <a:cubicBezTo>
                      <a:pt x="18" y="18"/>
                      <a:pt x="21" y="12"/>
                      <a:pt x="19" y="8"/>
                    </a:cubicBezTo>
                    <a:cubicBezTo>
                      <a:pt x="18" y="3"/>
                      <a:pt x="12" y="0"/>
                      <a:pt x="8" y="2"/>
                    </a:cubicBezTo>
                    <a:cubicBezTo>
                      <a:pt x="3" y="3"/>
                      <a:pt x="0" y="8"/>
                      <a:pt x="2" y="13"/>
                    </a:cubicBezTo>
                    <a:cubicBezTo>
                      <a:pt x="3" y="18"/>
                      <a:pt x="8" y="21"/>
                      <a:pt x="13" y="1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n-lt"/>
                </a:endParaRPr>
              </a:p>
            </p:txBody>
          </p:sp>
          <p:sp>
            <p:nvSpPr>
              <p:cNvPr id="310" name="Freeform 22"/>
              <p:cNvSpPr>
                <a:spLocks noEditPoints="1"/>
              </p:cNvSpPr>
              <p:nvPr/>
            </p:nvSpPr>
            <p:spPr bwMode="auto">
              <a:xfrm>
                <a:off x="2414588" y="4846638"/>
                <a:ext cx="268287" cy="560387"/>
              </a:xfrm>
              <a:custGeom>
                <a:avLst/>
                <a:gdLst>
                  <a:gd name="T0" fmla="*/ 66 w 94"/>
                  <a:gd name="T1" fmla="*/ 108 h 198"/>
                  <a:gd name="T2" fmla="*/ 66 w 94"/>
                  <a:gd name="T3" fmla="*/ 11 h 198"/>
                  <a:gd name="T4" fmla="*/ 53 w 94"/>
                  <a:gd name="T5" fmla="*/ 0 h 198"/>
                  <a:gd name="T6" fmla="*/ 51 w 94"/>
                  <a:gd name="T7" fmla="*/ 0 h 198"/>
                  <a:gd name="T8" fmla="*/ 42 w 94"/>
                  <a:gd name="T9" fmla="*/ 0 h 198"/>
                  <a:gd name="T10" fmla="*/ 29 w 94"/>
                  <a:gd name="T11" fmla="*/ 11 h 198"/>
                  <a:gd name="T12" fmla="*/ 29 w 94"/>
                  <a:gd name="T13" fmla="*/ 26 h 198"/>
                  <a:gd name="T14" fmla="*/ 29 w 94"/>
                  <a:gd name="T15" fmla="*/ 108 h 198"/>
                  <a:gd name="T16" fmla="*/ 33 w 94"/>
                  <a:gd name="T17" fmla="*/ 125 h 198"/>
                  <a:gd name="T18" fmla="*/ 6 w 94"/>
                  <a:gd name="T19" fmla="*/ 145 h 198"/>
                  <a:gd name="T20" fmla="*/ 1 w 94"/>
                  <a:gd name="T21" fmla="*/ 143 h 198"/>
                  <a:gd name="T22" fmla="*/ 0 w 94"/>
                  <a:gd name="T23" fmla="*/ 151 h 198"/>
                  <a:gd name="T24" fmla="*/ 47 w 94"/>
                  <a:gd name="T25" fmla="*/ 198 h 198"/>
                  <a:gd name="T26" fmla="*/ 94 w 94"/>
                  <a:gd name="T27" fmla="*/ 151 h 198"/>
                  <a:gd name="T28" fmla="*/ 66 w 94"/>
                  <a:gd name="T29" fmla="*/ 108 h 198"/>
                  <a:gd name="T30" fmla="*/ 43 w 94"/>
                  <a:gd name="T31" fmla="*/ 35 h 198"/>
                  <a:gd name="T32" fmla="*/ 47 w 94"/>
                  <a:gd name="T33" fmla="*/ 32 h 198"/>
                  <a:gd name="T34" fmla="*/ 52 w 94"/>
                  <a:gd name="T35" fmla="*/ 35 h 198"/>
                  <a:gd name="T36" fmla="*/ 52 w 94"/>
                  <a:gd name="T37" fmla="*/ 35 h 198"/>
                  <a:gd name="T38" fmla="*/ 52 w 94"/>
                  <a:gd name="T39" fmla="*/ 35 h 198"/>
                  <a:gd name="T40" fmla="*/ 52 w 94"/>
                  <a:gd name="T41" fmla="*/ 56 h 198"/>
                  <a:gd name="T42" fmla="*/ 43 w 94"/>
                  <a:gd name="T43" fmla="*/ 56 h 198"/>
                  <a:gd name="T44" fmla="*/ 43 w 94"/>
                  <a:gd name="T45" fmla="*/ 35 h 198"/>
                  <a:gd name="T46" fmla="*/ 43 w 94"/>
                  <a:gd name="T47" fmla="*/ 61 h 198"/>
                  <a:gd name="T48" fmla="*/ 52 w 94"/>
                  <a:gd name="T49" fmla="*/ 61 h 198"/>
                  <a:gd name="T50" fmla="*/ 52 w 94"/>
                  <a:gd name="T51" fmla="*/ 79 h 198"/>
                  <a:gd name="T52" fmla="*/ 43 w 94"/>
                  <a:gd name="T53" fmla="*/ 79 h 198"/>
                  <a:gd name="T54" fmla="*/ 43 w 94"/>
                  <a:gd name="T55" fmla="*/ 61 h 198"/>
                  <a:gd name="T56" fmla="*/ 47 w 94"/>
                  <a:gd name="T57" fmla="*/ 170 h 198"/>
                  <a:gd name="T58" fmla="*/ 29 w 94"/>
                  <a:gd name="T59" fmla="*/ 152 h 198"/>
                  <a:gd name="T60" fmla="*/ 43 w 94"/>
                  <a:gd name="T61" fmla="*/ 135 h 198"/>
                  <a:gd name="T62" fmla="*/ 43 w 94"/>
                  <a:gd name="T63" fmla="*/ 84 h 198"/>
                  <a:gd name="T64" fmla="*/ 52 w 94"/>
                  <a:gd name="T65" fmla="*/ 84 h 198"/>
                  <a:gd name="T66" fmla="*/ 52 w 94"/>
                  <a:gd name="T67" fmla="*/ 135 h 198"/>
                  <a:gd name="T68" fmla="*/ 64 w 94"/>
                  <a:gd name="T69" fmla="*/ 152 h 198"/>
                  <a:gd name="T70" fmla="*/ 47 w 94"/>
                  <a:gd name="T71" fmla="*/ 17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98">
                    <a:moveTo>
                      <a:pt x="66" y="108"/>
                    </a:moveTo>
                    <a:cubicBezTo>
                      <a:pt x="66" y="11"/>
                      <a:pt x="66" y="11"/>
                      <a:pt x="66" y="11"/>
                    </a:cubicBezTo>
                    <a:cubicBezTo>
                      <a:pt x="66" y="5"/>
                      <a:pt x="60" y="0"/>
                      <a:pt x="53" y="0"/>
                    </a:cubicBezTo>
                    <a:cubicBezTo>
                      <a:pt x="51" y="0"/>
                      <a:pt x="51" y="0"/>
                      <a:pt x="51" y="0"/>
                    </a:cubicBezTo>
                    <a:cubicBezTo>
                      <a:pt x="42" y="0"/>
                      <a:pt x="42" y="0"/>
                      <a:pt x="42" y="0"/>
                    </a:cubicBezTo>
                    <a:cubicBezTo>
                      <a:pt x="35" y="0"/>
                      <a:pt x="29" y="5"/>
                      <a:pt x="29" y="11"/>
                    </a:cubicBezTo>
                    <a:cubicBezTo>
                      <a:pt x="29" y="26"/>
                      <a:pt x="29" y="26"/>
                      <a:pt x="29" y="26"/>
                    </a:cubicBezTo>
                    <a:cubicBezTo>
                      <a:pt x="29" y="108"/>
                      <a:pt x="29" y="108"/>
                      <a:pt x="29" y="108"/>
                    </a:cubicBezTo>
                    <a:cubicBezTo>
                      <a:pt x="32" y="113"/>
                      <a:pt x="34" y="119"/>
                      <a:pt x="33" y="125"/>
                    </a:cubicBezTo>
                    <a:cubicBezTo>
                      <a:pt x="31" y="138"/>
                      <a:pt x="19" y="147"/>
                      <a:pt x="6" y="145"/>
                    </a:cubicBezTo>
                    <a:cubicBezTo>
                      <a:pt x="4" y="145"/>
                      <a:pt x="2" y="144"/>
                      <a:pt x="1" y="143"/>
                    </a:cubicBezTo>
                    <a:cubicBezTo>
                      <a:pt x="0" y="146"/>
                      <a:pt x="0" y="149"/>
                      <a:pt x="0" y="151"/>
                    </a:cubicBezTo>
                    <a:cubicBezTo>
                      <a:pt x="0" y="177"/>
                      <a:pt x="21" y="198"/>
                      <a:pt x="47" y="198"/>
                    </a:cubicBezTo>
                    <a:cubicBezTo>
                      <a:pt x="73" y="198"/>
                      <a:pt x="94" y="177"/>
                      <a:pt x="94" y="151"/>
                    </a:cubicBezTo>
                    <a:cubicBezTo>
                      <a:pt x="94" y="132"/>
                      <a:pt x="82" y="115"/>
                      <a:pt x="66" y="108"/>
                    </a:cubicBezTo>
                    <a:close/>
                    <a:moveTo>
                      <a:pt x="43" y="35"/>
                    </a:moveTo>
                    <a:cubicBezTo>
                      <a:pt x="43" y="35"/>
                      <a:pt x="44" y="33"/>
                      <a:pt x="47" y="32"/>
                    </a:cubicBezTo>
                    <a:cubicBezTo>
                      <a:pt x="50" y="32"/>
                      <a:pt x="52" y="35"/>
                      <a:pt x="52" y="35"/>
                    </a:cubicBezTo>
                    <a:cubicBezTo>
                      <a:pt x="52" y="35"/>
                      <a:pt x="52" y="35"/>
                      <a:pt x="52" y="35"/>
                    </a:cubicBezTo>
                    <a:cubicBezTo>
                      <a:pt x="52" y="35"/>
                      <a:pt x="52" y="35"/>
                      <a:pt x="52" y="35"/>
                    </a:cubicBezTo>
                    <a:cubicBezTo>
                      <a:pt x="52" y="56"/>
                      <a:pt x="52" y="56"/>
                      <a:pt x="52" y="56"/>
                    </a:cubicBezTo>
                    <a:cubicBezTo>
                      <a:pt x="43" y="56"/>
                      <a:pt x="43" y="56"/>
                      <a:pt x="43" y="56"/>
                    </a:cubicBezTo>
                    <a:lnTo>
                      <a:pt x="43" y="35"/>
                    </a:lnTo>
                    <a:close/>
                    <a:moveTo>
                      <a:pt x="43" y="61"/>
                    </a:moveTo>
                    <a:cubicBezTo>
                      <a:pt x="52" y="61"/>
                      <a:pt x="52" y="61"/>
                      <a:pt x="52" y="61"/>
                    </a:cubicBezTo>
                    <a:cubicBezTo>
                      <a:pt x="52" y="79"/>
                      <a:pt x="52" y="79"/>
                      <a:pt x="52" y="79"/>
                    </a:cubicBezTo>
                    <a:cubicBezTo>
                      <a:pt x="43" y="79"/>
                      <a:pt x="43" y="79"/>
                      <a:pt x="43" y="79"/>
                    </a:cubicBezTo>
                    <a:lnTo>
                      <a:pt x="43" y="61"/>
                    </a:lnTo>
                    <a:close/>
                    <a:moveTo>
                      <a:pt x="47" y="170"/>
                    </a:moveTo>
                    <a:cubicBezTo>
                      <a:pt x="37" y="170"/>
                      <a:pt x="29" y="162"/>
                      <a:pt x="29" y="152"/>
                    </a:cubicBezTo>
                    <a:cubicBezTo>
                      <a:pt x="29" y="144"/>
                      <a:pt x="35" y="137"/>
                      <a:pt x="43" y="135"/>
                    </a:cubicBezTo>
                    <a:cubicBezTo>
                      <a:pt x="43" y="84"/>
                      <a:pt x="43" y="84"/>
                      <a:pt x="43" y="84"/>
                    </a:cubicBezTo>
                    <a:cubicBezTo>
                      <a:pt x="52" y="84"/>
                      <a:pt x="52" y="84"/>
                      <a:pt x="52" y="84"/>
                    </a:cubicBezTo>
                    <a:cubicBezTo>
                      <a:pt x="52" y="135"/>
                      <a:pt x="52" y="135"/>
                      <a:pt x="52" y="135"/>
                    </a:cubicBezTo>
                    <a:cubicBezTo>
                      <a:pt x="59" y="138"/>
                      <a:pt x="64" y="144"/>
                      <a:pt x="64" y="152"/>
                    </a:cubicBezTo>
                    <a:cubicBezTo>
                      <a:pt x="64" y="162"/>
                      <a:pt x="56" y="170"/>
                      <a:pt x="47" y="1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2000">
                  <a:latin typeface="+mn-lt"/>
                </a:endParaRPr>
              </a:p>
            </p:txBody>
          </p:sp>
        </p:grpSp>
        <p:grpSp>
          <p:nvGrpSpPr>
            <p:cNvPr id="311" name="Group 327"/>
            <p:cNvGrpSpPr>
              <a:grpSpLocks/>
            </p:cNvGrpSpPr>
            <p:nvPr/>
          </p:nvGrpSpPr>
          <p:grpSpPr bwMode="auto">
            <a:xfrm>
              <a:off x="8341959" y="2249495"/>
              <a:ext cx="279144" cy="251963"/>
              <a:chOff x="5184" y="2057"/>
              <a:chExt cx="250" cy="224"/>
            </a:xfrm>
          </p:grpSpPr>
          <p:sp>
            <p:nvSpPr>
              <p:cNvPr id="312" name="Freeform 328"/>
              <p:cNvSpPr>
                <a:spLocks noChangeArrowheads="1"/>
              </p:cNvSpPr>
              <p:nvPr/>
            </p:nvSpPr>
            <p:spPr bwMode="auto">
              <a:xfrm>
                <a:off x="5184" y="2069"/>
                <a:ext cx="204" cy="99"/>
              </a:xfrm>
              <a:custGeom>
                <a:avLst/>
                <a:gdLst>
                  <a:gd name="T0" fmla="*/ 181 w 904"/>
                  <a:gd name="T1" fmla="*/ 0 h 439"/>
                  <a:gd name="T2" fmla="*/ 23 w 904"/>
                  <a:gd name="T3" fmla="*/ 0 h 439"/>
                  <a:gd name="T4" fmla="*/ 0 w 904"/>
                  <a:gd name="T5" fmla="*/ 19 h 439"/>
                  <a:gd name="T6" fmla="*/ 0 w 904"/>
                  <a:gd name="T7" fmla="*/ 79 h 439"/>
                  <a:gd name="T8" fmla="*/ 23 w 904"/>
                  <a:gd name="T9" fmla="*/ 99 h 439"/>
                  <a:gd name="T10" fmla="*/ 181 w 904"/>
                  <a:gd name="T11" fmla="*/ 99 h 439"/>
                  <a:gd name="T12" fmla="*/ 204 w 904"/>
                  <a:gd name="T13" fmla="*/ 79 h 439"/>
                  <a:gd name="T14" fmla="*/ 204 w 904"/>
                  <a:gd name="T15" fmla="*/ 19 h 439"/>
                  <a:gd name="T16" fmla="*/ 181 w 904"/>
                  <a:gd name="T17" fmla="*/ 0 h 4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904" h="439">
                    <a:moveTo>
                      <a:pt x="801" y="0"/>
                    </a:moveTo>
                    <a:lnTo>
                      <a:pt x="103" y="0"/>
                    </a:lnTo>
                    <a:cubicBezTo>
                      <a:pt x="46" y="0"/>
                      <a:pt x="0" y="38"/>
                      <a:pt x="0" y="86"/>
                    </a:cubicBezTo>
                    <a:lnTo>
                      <a:pt x="0" y="352"/>
                    </a:lnTo>
                    <a:cubicBezTo>
                      <a:pt x="0" y="399"/>
                      <a:pt x="46" y="438"/>
                      <a:pt x="103" y="438"/>
                    </a:cubicBezTo>
                    <a:lnTo>
                      <a:pt x="801" y="438"/>
                    </a:lnTo>
                    <a:cubicBezTo>
                      <a:pt x="858" y="438"/>
                      <a:pt x="903" y="399"/>
                      <a:pt x="903" y="352"/>
                    </a:cubicBezTo>
                    <a:lnTo>
                      <a:pt x="903" y="86"/>
                    </a:lnTo>
                    <a:cubicBezTo>
                      <a:pt x="903" y="38"/>
                      <a:pt x="858" y="0"/>
                      <a:pt x="801" y="0"/>
                    </a:cubicBezTo>
                  </a:path>
                </a:pathLst>
              </a:custGeom>
              <a:solidFill>
                <a:schemeClr val="bg2"/>
              </a:solidFill>
              <a:ln w="9525" cap="flat">
                <a:noFill/>
                <a:bevel/>
                <a:headEnd/>
                <a:tailEnd/>
              </a:ln>
              <a:effectLst/>
            </p:spPr>
            <p:txBody>
              <a:bodyPr wrap="none" anchor="ctr"/>
              <a:lstStyle/>
              <a:p>
                <a:endParaRPr lang="en-US" sz="900">
                  <a:latin typeface="+mn-lt"/>
                </a:endParaRPr>
              </a:p>
            </p:txBody>
          </p:sp>
          <p:sp>
            <p:nvSpPr>
              <p:cNvPr id="313" name="Freeform 329"/>
              <p:cNvSpPr>
                <a:spLocks noChangeArrowheads="1"/>
              </p:cNvSpPr>
              <p:nvPr/>
            </p:nvSpPr>
            <p:spPr bwMode="auto">
              <a:xfrm>
                <a:off x="5399" y="2085"/>
                <a:ext cx="16" cy="16"/>
              </a:xfrm>
              <a:custGeom>
                <a:avLst/>
                <a:gdLst>
                  <a:gd name="T0" fmla="*/ 16 w 77"/>
                  <a:gd name="T1" fmla="*/ 8 h 76"/>
                  <a:gd name="T2" fmla="*/ 8 w 77"/>
                  <a:gd name="T3" fmla="*/ 0 h 76"/>
                  <a:gd name="T4" fmla="*/ 0 w 77"/>
                  <a:gd name="T5" fmla="*/ 8 h 76"/>
                  <a:gd name="T6" fmla="*/ 8 w 77"/>
                  <a:gd name="T7" fmla="*/ 16 h 76"/>
                  <a:gd name="T8" fmla="*/ 16 w 77"/>
                  <a:gd name="T9" fmla="*/ 8 h 7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7" h="76">
                    <a:moveTo>
                      <a:pt x="76" y="37"/>
                    </a:moveTo>
                    <a:cubicBezTo>
                      <a:pt x="76" y="17"/>
                      <a:pt x="59" y="0"/>
                      <a:pt x="38" y="0"/>
                    </a:cubicBezTo>
                    <a:cubicBezTo>
                      <a:pt x="17" y="0"/>
                      <a:pt x="0" y="17"/>
                      <a:pt x="0" y="37"/>
                    </a:cubicBezTo>
                    <a:cubicBezTo>
                      <a:pt x="0" y="58"/>
                      <a:pt x="17" y="75"/>
                      <a:pt x="38" y="75"/>
                    </a:cubicBezTo>
                    <a:cubicBezTo>
                      <a:pt x="59" y="75"/>
                      <a:pt x="76" y="58"/>
                      <a:pt x="76" y="37"/>
                    </a:cubicBezTo>
                  </a:path>
                </a:pathLst>
              </a:custGeom>
              <a:solidFill>
                <a:schemeClr val="bg2"/>
              </a:solidFill>
              <a:ln w="9525" cap="flat">
                <a:noFill/>
                <a:bevel/>
                <a:headEnd/>
                <a:tailEnd/>
              </a:ln>
              <a:effectLst/>
            </p:spPr>
            <p:txBody>
              <a:bodyPr wrap="none" anchor="ctr"/>
              <a:lstStyle/>
              <a:p>
                <a:endParaRPr lang="en-US" sz="900">
                  <a:latin typeface="+mn-lt"/>
                </a:endParaRPr>
              </a:p>
            </p:txBody>
          </p:sp>
          <p:sp>
            <p:nvSpPr>
              <p:cNvPr id="314" name="Freeform 330"/>
              <p:cNvSpPr>
                <a:spLocks noChangeArrowheads="1"/>
              </p:cNvSpPr>
              <p:nvPr/>
            </p:nvSpPr>
            <p:spPr bwMode="auto">
              <a:xfrm>
                <a:off x="5406" y="2057"/>
                <a:ext cx="28" cy="225"/>
              </a:xfrm>
              <a:custGeom>
                <a:avLst/>
                <a:gdLst>
                  <a:gd name="T0" fmla="*/ 28 w 128"/>
                  <a:gd name="T1" fmla="*/ 216 h 996"/>
                  <a:gd name="T2" fmla="*/ 28 w 128"/>
                  <a:gd name="T3" fmla="*/ 11 h 996"/>
                  <a:gd name="T4" fmla="*/ 14 w 128"/>
                  <a:gd name="T5" fmla="*/ 0 h 996"/>
                  <a:gd name="T6" fmla="*/ 0 w 128"/>
                  <a:gd name="T7" fmla="*/ 11 h 996"/>
                  <a:gd name="T8" fmla="*/ 0 w 128"/>
                  <a:gd name="T9" fmla="*/ 15 h 996"/>
                  <a:gd name="T10" fmla="*/ 1 w 128"/>
                  <a:gd name="T11" fmla="*/ 15 h 996"/>
                  <a:gd name="T12" fmla="*/ 23 w 128"/>
                  <a:gd name="T13" fmla="*/ 37 h 996"/>
                  <a:gd name="T14" fmla="*/ 1 w 128"/>
                  <a:gd name="T15" fmla="*/ 59 h 996"/>
                  <a:gd name="T16" fmla="*/ 0 w 128"/>
                  <a:gd name="T17" fmla="*/ 59 h 996"/>
                  <a:gd name="T18" fmla="*/ 0 w 128"/>
                  <a:gd name="T19" fmla="*/ 216 h 996"/>
                  <a:gd name="T20" fmla="*/ 13 w 128"/>
                  <a:gd name="T21" fmla="*/ 225 h 996"/>
                  <a:gd name="T22" fmla="*/ 28 w 128"/>
                  <a:gd name="T23" fmla="*/ 216 h 9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28" h="996">
                    <a:moveTo>
                      <a:pt x="127" y="956"/>
                    </a:moveTo>
                    <a:lnTo>
                      <a:pt x="127" y="47"/>
                    </a:lnTo>
                    <a:cubicBezTo>
                      <a:pt x="127" y="2"/>
                      <a:pt x="65" y="0"/>
                      <a:pt x="65" y="0"/>
                    </a:cubicBezTo>
                    <a:cubicBezTo>
                      <a:pt x="3" y="0"/>
                      <a:pt x="0" y="47"/>
                      <a:pt x="0" y="47"/>
                    </a:cubicBezTo>
                    <a:lnTo>
                      <a:pt x="0" y="66"/>
                    </a:lnTo>
                    <a:cubicBezTo>
                      <a:pt x="3" y="66"/>
                      <a:pt x="4" y="66"/>
                      <a:pt x="5" y="66"/>
                    </a:cubicBezTo>
                    <a:cubicBezTo>
                      <a:pt x="60" y="66"/>
                      <a:pt x="104" y="109"/>
                      <a:pt x="104" y="163"/>
                    </a:cubicBezTo>
                    <a:cubicBezTo>
                      <a:pt x="104" y="217"/>
                      <a:pt x="60" y="261"/>
                      <a:pt x="5" y="261"/>
                    </a:cubicBezTo>
                    <a:cubicBezTo>
                      <a:pt x="4" y="261"/>
                      <a:pt x="3" y="261"/>
                      <a:pt x="0" y="261"/>
                    </a:cubicBezTo>
                    <a:lnTo>
                      <a:pt x="0" y="957"/>
                    </a:lnTo>
                    <a:cubicBezTo>
                      <a:pt x="0" y="957"/>
                      <a:pt x="3" y="994"/>
                      <a:pt x="61" y="994"/>
                    </a:cubicBezTo>
                    <a:cubicBezTo>
                      <a:pt x="61" y="994"/>
                      <a:pt x="127" y="995"/>
                      <a:pt x="127" y="956"/>
                    </a:cubicBezTo>
                  </a:path>
                </a:pathLst>
              </a:custGeom>
              <a:solidFill>
                <a:schemeClr val="bg2"/>
              </a:solidFill>
              <a:ln w="9525" cap="flat">
                <a:noFill/>
                <a:bevel/>
                <a:headEnd/>
                <a:tailEnd/>
              </a:ln>
              <a:effectLst/>
            </p:spPr>
            <p:txBody>
              <a:bodyPr wrap="none" anchor="ctr"/>
              <a:lstStyle/>
              <a:p>
                <a:endParaRPr lang="en-US" sz="900">
                  <a:latin typeface="+mn-lt"/>
                </a:endParaRPr>
              </a:p>
            </p:txBody>
          </p:sp>
          <p:sp>
            <p:nvSpPr>
              <p:cNvPr id="315" name="Freeform 331"/>
              <p:cNvSpPr>
                <a:spLocks noChangeArrowheads="1"/>
              </p:cNvSpPr>
              <p:nvPr/>
            </p:nvSpPr>
            <p:spPr bwMode="auto">
              <a:xfrm>
                <a:off x="5200" y="2117"/>
                <a:ext cx="172" cy="5"/>
              </a:xfrm>
              <a:custGeom>
                <a:avLst/>
                <a:gdLst>
                  <a:gd name="T0" fmla="*/ 0 w 764"/>
                  <a:gd name="T1" fmla="*/ 5 h 28"/>
                  <a:gd name="T2" fmla="*/ 0 w 764"/>
                  <a:gd name="T3" fmla="*/ 0 h 28"/>
                  <a:gd name="T4" fmla="*/ 172 w 764"/>
                  <a:gd name="T5" fmla="*/ 0 h 28"/>
                  <a:gd name="T6" fmla="*/ 172 w 764"/>
                  <a:gd name="T7" fmla="*/ 5 h 28"/>
                  <a:gd name="T8" fmla="*/ 0 w 764"/>
                  <a:gd name="T9" fmla="*/ 5 h 2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64" h="28">
                    <a:moveTo>
                      <a:pt x="0" y="27"/>
                    </a:moveTo>
                    <a:lnTo>
                      <a:pt x="0" y="0"/>
                    </a:lnTo>
                    <a:lnTo>
                      <a:pt x="763" y="0"/>
                    </a:lnTo>
                    <a:lnTo>
                      <a:pt x="763" y="27"/>
                    </a:lnTo>
                    <a:lnTo>
                      <a:pt x="0" y="27"/>
                    </a:lnTo>
                  </a:path>
                </a:pathLst>
              </a:custGeom>
              <a:solidFill>
                <a:srgbClr val="FFFFFF"/>
              </a:solidFill>
              <a:ln w="9525" cap="flat">
                <a:noFill/>
                <a:bevel/>
                <a:headEnd/>
                <a:tailEnd/>
              </a:ln>
              <a:effectLst/>
            </p:spPr>
            <p:txBody>
              <a:bodyPr wrap="none" anchor="ctr"/>
              <a:lstStyle/>
              <a:p>
                <a:endParaRPr lang="en-US" sz="900">
                  <a:latin typeface="+mn-lt"/>
                </a:endParaRPr>
              </a:p>
            </p:txBody>
          </p:sp>
          <p:sp>
            <p:nvSpPr>
              <p:cNvPr id="316" name="Freeform 332"/>
              <p:cNvSpPr>
                <a:spLocks noChangeArrowheads="1"/>
              </p:cNvSpPr>
              <p:nvPr/>
            </p:nvSpPr>
            <p:spPr bwMode="auto">
              <a:xfrm>
                <a:off x="5225" y="2093"/>
                <a:ext cx="5" cy="55"/>
              </a:xfrm>
              <a:custGeom>
                <a:avLst/>
                <a:gdLst>
                  <a:gd name="T0" fmla="*/ 0 w 28"/>
                  <a:gd name="T1" fmla="*/ 55 h 245"/>
                  <a:gd name="T2" fmla="*/ 0 w 28"/>
                  <a:gd name="T3" fmla="*/ 0 h 245"/>
                  <a:gd name="T4" fmla="*/ 5 w 28"/>
                  <a:gd name="T5" fmla="*/ 0 h 245"/>
                  <a:gd name="T6" fmla="*/ 5 w 28"/>
                  <a:gd name="T7" fmla="*/ 55 h 245"/>
                  <a:gd name="T8" fmla="*/ 0 w 28"/>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5">
                    <a:moveTo>
                      <a:pt x="0" y="244"/>
                    </a:moveTo>
                    <a:lnTo>
                      <a:pt x="0" y="0"/>
                    </a:lnTo>
                    <a:lnTo>
                      <a:pt x="27" y="0"/>
                    </a:lnTo>
                    <a:lnTo>
                      <a:pt x="27" y="244"/>
                    </a:lnTo>
                    <a:lnTo>
                      <a:pt x="0" y="244"/>
                    </a:lnTo>
                  </a:path>
                </a:pathLst>
              </a:custGeom>
              <a:solidFill>
                <a:srgbClr val="FFFFFF"/>
              </a:solidFill>
              <a:ln w="9525" cap="flat">
                <a:noFill/>
                <a:bevel/>
                <a:headEnd/>
                <a:tailEnd/>
              </a:ln>
              <a:effectLst/>
            </p:spPr>
            <p:txBody>
              <a:bodyPr wrap="none" anchor="ctr"/>
              <a:lstStyle/>
              <a:p>
                <a:endParaRPr lang="en-US" sz="900">
                  <a:latin typeface="+mn-lt"/>
                </a:endParaRPr>
              </a:p>
            </p:txBody>
          </p:sp>
          <p:sp>
            <p:nvSpPr>
              <p:cNvPr id="317" name="Freeform 333"/>
              <p:cNvSpPr>
                <a:spLocks noChangeArrowheads="1"/>
              </p:cNvSpPr>
              <p:nvPr/>
            </p:nvSpPr>
            <p:spPr bwMode="auto">
              <a:xfrm>
                <a:off x="5254" y="2093"/>
                <a:ext cx="5" cy="55"/>
              </a:xfrm>
              <a:custGeom>
                <a:avLst/>
                <a:gdLst>
                  <a:gd name="T0" fmla="*/ 0 w 28"/>
                  <a:gd name="T1" fmla="*/ 55 h 245"/>
                  <a:gd name="T2" fmla="*/ 0 w 28"/>
                  <a:gd name="T3" fmla="*/ 0 h 245"/>
                  <a:gd name="T4" fmla="*/ 5 w 28"/>
                  <a:gd name="T5" fmla="*/ 0 h 245"/>
                  <a:gd name="T6" fmla="*/ 5 w 28"/>
                  <a:gd name="T7" fmla="*/ 55 h 245"/>
                  <a:gd name="T8" fmla="*/ 0 w 28"/>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5">
                    <a:moveTo>
                      <a:pt x="0" y="244"/>
                    </a:moveTo>
                    <a:lnTo>
                      <a:pt x="0" y="0"/>
                    </a:lnTo>
                    <a:lnTo>
                      <a:pt x="27" y="0"/>
                    </a:lnTo>
                    <a:lnTo>
                      <a:pt x="27" y="244"/>
                    </a:lnTo>
                    <a:lnTo>
                      <a:pt x="0" y="244"/>
                    </a:lnTo>
                  </a:path>
                </a:pathLst>
              </a:custGeom>
              <a:solidFill>
                <a:srgbClr val="FFFFFF"/>
              </a:solidFill>
              <a:ln w="9525" cap="flat">
                <a:noFill/>
                <a:bevel/>
                <a:headEnd/>
                <a:tailEnd/>
              </a:ln>
              <a:effectLst/>
            </p:spPr>
            <p:txBody>
              <a:bodyPr wrap="none" anchor="ctr"/>
              <a:lstStyle/>
              <a:p>
                <a:endParaRPr lang="en-US" sz="900">
                  <a:latin typeface="+mn-lt"/>
                </a:endParaRPr>
              </a:p>
            </p:txBody>
          </p:sp>
          <p:sp>
            <p:nvSpPr>
              <p:cNvPr id="318" name="Freeform 334"/>
              <p:cNvSpPr>
                <a:spLocks noChangeArrowheads="1"/>
              </p:cNvSpPr>
              <p:nvPr/>
            </p:nvSpPr>
            <p:spPr bwMode="auto">
              <a:xfrm>
                <a:off x="5284" y="2094"/>
                <a:ext cx="5" cy="54"/>
              </a:xfrm>
              <a:custGeom>
                <a:avLst/>
                <a:gdLst>
                  <a:gd name="T0" fmla="*/ 0 w 28"/>
                  <a:gd name="T1" fmla="*/ 54 h 243"/>
                  <a:gd name="T2" fmla="*/ 0 w 28"/>
                  <a:gd name="T3" fmla="*/ 0 h 243"/>
                  <a:gd name="T4" fmla="*/ 5 w 28"/>
                  <a:gd name="T5" fmla="*/ 0 h 243"/>
                  <a:gd name="T6" fmla="*/ 5 w 28"/>
                  <a:gd name="T7" fmla="*/ 54 h 243"/>
                  <a:gd name="T8" fmla="*/ 0 w 28"/>
                  <a:gd name="T9" fmla="*/ 54 h 2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8" h="243">
                    <a:moveTo>
                      <a:pt x="0" y="242"/>
                    </a:moveTo>
                    <a:lnTo>
                      <a:pt x="0" y="0"/>
                    </a:lnTo>
                    <a:lnTo>
                      <a:pt x="27" y="0"/>
                    </a:lnTo>
                    <a:lnTo>
                      <a:pt x="27" y="242"/>
                    </a:lnTo>
                    <a:lnTo>
                      <a:pt x="0" y="242"/>
                    </a:lnTo>
                  </a:path>
                </a:pathLst>
              </a:custGeom>
              <a:solidFill>
                <a:srgbClr val="FFFFFF"/>
              </a:solidFill>
              <a:ln w="9525" cap="flat">
                <a:noFill/>
                <a:bevel/>
                <a:headEnd/>
                <a:tailEnd/>
              </a:ln>
              <a:effectLst/>
            </p:spPr>
            <p:txBody>
              <a:bodyPr wrap="none" anchor="ctr"/>
              <a:lstStyle/>
              <a:p>
                <a:endParaRPr lang="en-US" sz="900">
                  <a:latin typeface="+mn-lt"/>
                </a:endParaRPr>
              </a:p>
            </p:txBody>
          </p:sp>
          <p:sp>
            <p:nvSpPr>
              <p:cNvPr id="330" name="Freeform 335"/>
              <p:cNvSpPr>
                <a:spLocks noChangeArrowheads="1"/>
              </p:cNvSpPr>
              <p:nvPr/>
            </p:nvSpPr>
            <p:spPr bwMode="auto">
              <a:xfrm>
                <a:off x="5314" y="2094"/>
                <a:ext cx="5" cy="54"/>
              </a:xfrm>
              <a:custGeom>
                <a:avLst/>
                <a:gdLst>
                  <a:gd name="T0" fmla="*/ 3 w 28"/>
                  <a:gd name="T1" fmla="*/ 54 h 244"/>
                  <a:gd name="T2" fmla="*/ 0 w 28"/>
                  <a:gd name="T3" fmla="*/ 54 h 244"/>
                  <a:gd name="T4" fmla="*/ 0 w 28"/>
                  <a:gd name="T5" fmla="*/ 0 h 244"/>
                  <a:gd name="T6" fmla="*/ 5 w 28"/>
                  <a:gd name="T7" fmla="*/ 0 h 244"/>
                  <a:gd name="T8" fmla="*/ 5 w 28"/>
                  <a:gd name="T9" fmla="*/ 54 h 244"/>
                  <a:gd name="T10" fmla="*/ 3 w 28"/>
                  <a:gd name="T11" fmla="*/ 54 h 24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8" h="244">
                    <a:moveTo>
                      <a:pt x="14" y="243"/>
                    </a:moveTo>
                    <a:lnTo>
                      <a:pt x="0" y="243"/>
                    </a:lnTo>
                    <a:lnTo>
                      <a:pt x="0" y="0"/>
                    </a:lnTo>
                    <a:lnTo>
                      <a:pt x="27" y="0"/>
                    </a:lnTo>
                    <a:lnTo>
                      <a:pt x="27" y="243"/>
                    </a:lnTo>
                    <a:lnTo>
                      <a:pt x="14" y="243"/>
                    </a:lnTo>
                  </a:path>
                </a:pathLst>
              </a:custGeom>
              <a:solidFill>
                <a:srgbClr val="FFFFFF"/>
              </a:solidFill>
              <a:ln w="9525" cap="flat">
                <a:noFill/>
                <a:bevel/>
                <a:headEnd/>
                <a:tailEnd/>
              </a:ln>
              <a:effectLst/>
            </p:spPr>
            <p:txBody>
              <a:bodyPr wrap="none" anchor="ctr"/>
              <a:lstStyle/>
              <a:p>
                <a:endParaRPr lang="en-US" sz="900">
                  <a:latin typeface="+mn-lt"/>
                </a:endParaRPr>
              </a:p>
            </p:txBody>
          </p:sp>
          <p:sp>
            <p:nvSpPr>
              <p:cNvPr id="335" name="Freeform 336"/>
              <p:cNvSpPr>
                <a:spLocks noChangeArrowheads="1"/>
              </p:cNvSpPr>
              <p:nvPr/>
            </p:nvSpPr>
            <p:spPr bwMode="auto">
              <a:xfrm>
                <a:off x="5342" y="2093"/>
                <a:ext cx="6" cy="55"/>
              </a:xfrm>
              <a:custGeom>
                <a:avLst/>
                <a:gdLst>
                  <a:gd name="T0" fmla="*/ 0 w 29"/>
                  <a:gd name="T1" fmla="*/ 55 h 245"/>
                  <a:gd name="T2" fmla="*/ 0 w 29"/>
                  <a:gd name="T3" fmla="*/ 0 h 245"/>
                  <a:gd name="T4" fmla="*/ 6 w 29"/>
                  <a:gd name="T5" fmla="*/ 0 h 245"/>
                  <a:gd name="T6" fmla="*/ 6 w 29"/>
                  <a:gd name="T7" fmla="*/ 55 h 245"/>
                  <a:gd name="T8" fmla="*/ 0 w 29"/>
                  <a:gd name="T9" fmla="*/ 55 h 2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9" h="245">
                    <a:moveTo>
                      <a:pt x="0" y="244"/>
                    </a:moveTo>
                    <a:lnTo>
                      <a:pt x="0" y="0"/>
                    </a:lnTo>
                    <a:lnTo>
                      <a:pt x="28" y="0"/>
                    </a:lnTo>
                    <a:lnTo>
                      <a:pt x="28" y="244"/>
                    </a:lnTo>
                    <a:lnTo>
                      <a:pt x="0" y="244"/>
                    </a:lnTo>
                  </a:path>
                </a:pathLst>
              </a:custGeom>
              <a:solidFill>
                <a:srgbClr val="FFFFFF"/>
              </a:solidFill>
              <a:ln w="9525" cap="flat">
                <a:noFill/>
                <a:bevel/>
                <a:headEnd/>
                <a:tailEnd/>
              </a:ln>
              <a:effectLst/>
            </p:spPr>
            <p:txBody>
              <a:bodyPr wrap="none" anchor="ctr"/>
              <a:lstStyle/>
              <a:p>
                <a:endParaRPr lang="en-US" sz="900">
                  <a:latin typeface="+mn-lt"/>
                </a:endParaRPr>
              </a:p>
            </p:txBody>
          </p:sp>
          <p:sp>
            <p:nvSpPr>
              <p:cNvPr id="336" name="Freeform 337"/>
              <p:cNvSpPr>
                <a:spLocks noChangeArrowheads="1"/>
              </p:cNvSpPr>
              <p:nvPr/>
            </p:nvSpPr>
            <p:spPr bwMode="auto">
              <a:xfrm>
                <a:off x="5195" y="2089"/>
                <a:ext cx="182" cy="62"/>
              </a:xfrm>
              <a:custGeom>
                <a:avLst/>
                <a:gdLst>
                  <a:gd name="T0" fmla="*/ 0 w 809"/>
                  <a:gd name="T1" fmla="*/ 62 h 278"/>
                  <a:gd name="T2" fmla="*/ 0 w 809"/>
                  <a:gd name="T3" fmla="*/ 0 h 278"/>
                  <a:gd name="T4" fmla="*/ 182 w 809"/>
                  <a:gd name="T5" fmla="*/ 0 h 278"/>
                  <a:gd name="T6" fmla="*/ 182 w 809"/>
                  <a:gd name="T7" fmla="*/ 59 h 278"/>
                  <a:gd name="T8" fmla="*/ 182 w 809"/>
                  <a:gd name="T9" fmla="*/ 62 h 278"/>
                  <a:gd name="T10" fmla="*/ 0 w 809"/>
                  <a:gd name="T11" fmla="*/ 62 h 278"/>
                  <a:gd name="T12" fmla="*/ 6 w 809"/>
                  <a:gd name="T13" fmla="*/ 56 h 278"/>
                  <a:gd name="T14" fmla="*/ 175 w 809"/>
                  <a:gd name="T15" fmla="*/ 56 h 278"/>
                  <a:gd name="T16" fmla="*/ 175 w 809"/>
                  <a:gd name="T17" fmla="*/ 6 h 278"/>
                  <a:gd name="T18" fmla="*/ 6 w 809"/>
                  <a:gd name="T19" fmla="*/ 6 h 278"/>
                  <a:gd name="T20" fmla="*/ 6 w 809"/>
                  <a:gd name="T21" fmla="*/ 56 h 27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09" h="278">
                    <a:moveTo>
                      <a:pt x="0" y="277"/>
                    </a:moveTo>
                    <a:lnTo>
                      <a:pt x="0" y="0"/>
                    </a:lnTo>
                    <a:lnTo>
                      <a:pt x="808" y="0"/>
                    </a:lnTo>
                    <a:lnTo>
                      <a:pt x="808" y="263"/>
                    </a:lnTo>
                    <a:lnTo>
                      <a:pt x="808" y="277"/>
                    </a:lnTo>
                    <a:lnTo>
                      <a:pt x="0" y="277"/>
                    </a:lnTo>
                    <a:close/>
                    <a:moveTo>
                      <a:pt x="27" y="249"/>
                    </a:moveTo>
                    <a:lnTo>
                      <a:pt x="780" y="249"/>
                    </a:lnTo>
                    <a:lnTo>
                      <a:pt x="780" y="27"/>
                    </a:lnTo>
                    <a:lnTo>
                      <a:pt x="27" y="27"/>
                    </a:lnTo>
                    <a:lnTo>
                      <a:pt x="27" y="249"/>
                    </a:lnTo>
                    <a:close/>
                  </a:path>
                </a:pathLst>
              </a:custGeom>
              <a:solidFill>
                <a:srgbClr val="FFFFFF"/>
              </a:solidFill>
              <a:ln w="9525" cap="flat">
                <a:noFill/>
                <a:bevel/>
                <a:headEnd/>
                <a:tailEnd/>
              </a:ln>
              <a:effectLst/>
            </p:spPr>
            <p:txBody>
              <a:bodyPr wrap="none" anchor="ctr"/>
              <a:lstStyle/>
              <a:p>
                <a:endParaRPr lang="en-US" sz="900">
                  <a:latin typeface="+mn-lt"/>
                </a:endParaRPr>
              </a:p>
            </p:txBody>
          </p:sp>
          <p:sp>
            <p:nvSpPr>
              <p:cNvPr id="337" name="Freeform 338"/>
              <p:cNvSpPr>
                <a:spLocks noChangeArrowheads="1"/>
              </p:cNvSpPr>
              <p:nvPr/>
            </p:nvSpPr>
            <p:spPr bwMode="auto">
              <a:xfrm>
                <a:off x="5230" y="2094"/>
                <a:ext cx="24" cy="23"/>
              </a:xfrm>
              <a:custGeom>
                <a:avLst/>
                <a:gdLst>
                  <a:gd name="T0" fmla="*/ 12 w 111"/>
                  <a:gd name="T1" fmla="*/ 23 h 108"/>
                  <a:gd name="T2" fmla="*/ 0 w 111"/>
                  <a:gd name="T3" fmla="*/ 23 h 108"/>
                  <a:gd name="T4" fmla="*/ 0 w 111"/>
                  <a:gd name="T5" fmla="*/ 0 h 108"/>
                  <a:gd name="T6" fmla="*/ 24 w 111"/>
                  <a:gd name="T7" fmla="*/ 0 h 108"/>
                  <a:gd name="T8" fmla="*/ 24 w 111"/>
                  <a:gd name="T9" fmla="*/ 23 h 108"/>
                  <a:gd name="T10" fmla="*/ 12 w 111"/>
                  <a:gd name="T11" fmla="*/ 23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8">
                    <a:moveTo>
                      <a:pt x="54" y="107"/>
                    </a:moveTo>
                    <a:lnTo>
                      <a:pt x="0" y="107"/>
                    </a:lnTo>
                    <a:lnTo>
                      <a:pt x="0" y="0"/>
                    </a:lnTo>
                    <a:lnTo>
                      <a:pt x="110" y="0"/>
                    </a:lnTo>
                    <a:lnTo>
                      <a:pt x="110" y="107"/>
                    </a:lnTo>
                    <a:lnTo>
                      <a:pt x="54" y="107"/>
                    </a:lnTo>
                  </a:path>
                </a:pathLst>
              </a:custGeom>
              <a:solidFill>
                <a:srgbClr val="FFFFFF"/>
              </a:solidFill>
              <a:ln w="9525" cap="flat">
                <a:noFill/>
                <a:bevel/>
                <a:headEnd/>
                <a:tailEnd/>
              </a:ln>
              <a:effectLst/>
            </p:spPr>
            <p:txBody>
              <a:bodyPr wrap="none" anchor="ctr"/>
              <a:lstStyle/>
              <a:p>
                <a:endParaRPr lang="en-US" sz="900">
                  <a:latin typeface="+mn-lt"/>
                </a:endParaRPr>
              </a:p>
            </p:txBody>
          </p:sp>
          <p:sp>
            <p:nvSpPr>
              <p:cNvPr id="338" name="Freeform 339"/>
              <p:cNvSpPr>
                <a:spLocks noChangeArrowheads="1"/>
              </p:cNvSpPr>
              <p:nvPr/>
            </p:nvSpPr>
            <p:spPr bwMode="auto">
              <a:xfrm>
                <a:off x="5290" y="2094"/>
                <a:ext cx="24" cy="23"/>
              </a:xfrm>
              <a:custGeom>
                <a:avLst/>
                <a:gdLst>
                  <a:gd name="T0" fmla="*/ 12 w 111"/>
                  <a:gd name="T1" fmla="*/ 23 h 108"/>
                  <a:gd name="T2" fmla="*/ 0 w 111"/>
                  <a:gd name="T3" fmla="*/ 23 h 108"/>
                  <a:gd name="T4" fmla="*/ 0 w 111"/>
                  <a:gd name="T5" fmla="*/ 0 h 108"/>
                  <a:gd name="T6" fmla="*/ 24 w 111"/>
                  <a:gd name="T7" fmla="*/ 0 h 108"/>
                  <a:gd name="T8" fmla="*/ 24 w 111"/>
                  <a:gd name="T9" fmla="*/ 23 h 108"/>
                  <a:gd name="T10" fmla="*/ 12 w 111"/>
                  <a:gd name="T11" fmla="*/ 23 h 10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8">
                    <a:moveTo>
                      <a:pt x="55" y="107"/>
                    </a:moveTo>
                    <a:lnTo>
                      <a:pt x="0" y="107"/>
                    </a:lnTo>
                    <a:lnTo>
                      <a:pt x="0" y="0"/>
                    </a:lnTo>
                    <a:lnTo>
                      <a:pt x="110" y="0"/>
                    </a:lnTo>
                    <a:lnTo>
                      <a:pt x="110" y="107"/>
                    </a:lnTo>
                    <a:lnTo>
                      <a:pt x="55" y="107"/>
                    </a:lnTo>
                  </a:path>
                </a:pathLst>
              </a:custGeom>
              <a:solidFill>
                <a:srgbClr val="FFFFFF"/>
              </a:solidFill>
              <a:ln w="9525" cap="flat">
                <a:noFill/>
                <a:bevel/>
                <a:headEnd/>
                <a:tailEnd/>
              </a:ln>
              <a:effectLst/>
            </p:spPr>
            <p:txBody>
              <a:bodyPr wrap="none" anchor="ctr"/>
              <a:lstStyle/>
              <a:p>
                <a:endParaRPr lang="en-US" sz="900">
                  <a:latin typeface="+mn-lt"/>
                </a:endParaRPr>
              </a:p>
            </p:txBody>
          </p:sp>
          <p:sp>
            <p:nvSpPr>
              <p:cNvPr id="339" name="Freeform 340"/>
              <p:cNvSpPr>
                <a:spLocks noChangeArrowheads="1"/>
              </p:cNvSpPr>
              <p:nvPr/>
            </p:nvSpPr>
            <p:spPr bwMode="auto">
              <a:xfrm>
                <a:off x="5319" y="2122"/>
                <a:ext cx="24" cy="23"/>
              </a:xfrm>
              <a:custGeom>
                <a:avLst/>
                <a:gdLst>
                  <a:gd name="T0" fmla="*/ 12 w 111"/>
                  <a:gd name="T1" fmla="*/ 23 h 107"/>
                  <a:gd name="T2" fmla="*/ 0 w 111"/>
                  <a:gd name="T3" fmla="*/ 23 h 107"/>
                  <a:gd name="T4" fmla="*/ 0 w 111"/>
                  <a:gd name="T5" fmla="*/ 0 h 107"/>
                  <a:gd name="T6" fmla="*/ 24 w 111"/>
                  <a:gd name="T7" fmla="*/ 0 h 107"/>
                  <a:gd name="T8" fmla="*/ 24 w 111"/>
                  <a:gd name="T9" fmla="*/ 23 h 107"/>
                  <a:gd name="T10" fmla="*/ 12 w 111"/>
                  <a:gd name="T11" fmla="*/ 23 h 10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11" h="107">
                    <a:moveTo>
                      <a:pt x="54" y="106"/>
                    </a:moveTo>
                    <a:lnTo>
                      <a:pt x="0" y="106"/>
                    </a:lnTo>
                    <a:lnTo>
                      <a:pt x="0" y="0"/>
                    </a:lnTo>
                    <a:lnTo>
                      <a:pt x="110" y="0"/>
                    </a:lnTo>
                    <a:lnTo>
                      <a:pt x="110" y="106"/>
                    </a:lnTo>
                    <a:lnTo>
                      <a:pt x="54" y="106"/>
                    </a:lnTo>
                  </a:path>
                </a:pathLst>
              </a:custGeom>
              <a:solidFill>
                <a:srgbClr val="FFFFFF"/>
              </a:solidFill>
              <a:ln w="9525" cap="flat">
                <a:noFill/>
                <a:bevel/>
                <a:headEnd/>
                <a:tailEnd/>
              </a:ln>
              <a:effectLst/>
            </p:spPr>
            <p:txBody>
              <a:bodyPr wrap="none" anchor="ctr"/>
              <a:lstStyle/>
              <a:p>
                <a:endParaRPr lang="en-US" sz="900">
                  <a:latin typeface="+mn-lt"/>
                </a:endParaRPr>
              </a:p>
            </p:txBody>
          </p:sp>
        </p:grpSp>
      </p:grpSp>
      <p:cxnSp>
        <p:nvCxnSpPr>
          <p:cNvPr id="3" name="Straight Arrow Connector 2"/>
          <p:cNvCxnSpPr>
            <a:stCxn id="266" idx="3"/>
          </p:cNvCxnSpPr>
          <p:nvPr/>
        </p:nvCxnSpPr>
        <p:spPr bwMode="auto">
          <a:xfrm>
            <a:off x="1794740" y="2602155"/>
            <a:ext cx="482950" cy="270055"/>
          </a:xfrm>
          <a:prstGeom prst="straightConnector1">
            <a:avLst/>
          </a:prstGeom>
          <a:noFill/>
          <a:ln w="12700" cap="flat" cmpd="sng" algn="ctr">
            <a:solidFill>
              <a:schemeClr val="tx2"/>
            </a:solidFill>
            <a:prstDash val="solid"/>
            <a:round/>
            <a:headEnd type="none" w="med" len="med"/>
            <a:tailEnd type="triangle"/>
          </a:ln>
          <a:effectLst/>
        </p:spPr>
      </p:cxnSp>
      <p:cxnSp>
        <p:nvCxnSpPr>
          <p:cNvPr id="6" name="Straight Arrow Connector 5"/>
          <p:cNvCxnSpPr>
            <a:stCxn id="287" idx="1"/>
          </p:cNvCxnSpPr>
          <p:nvPr/>
        </p:nvCxnSpPr>
        <p:spPr bwMode="auto">
          <a:xfrm flipH="1" flipV="1">
            <a:off x="6340433" y="1979030"/>
            <a:ext cx="780992" cy="562657"/>
          </a:xfrm>
          <a:prstGeom prst="straightConnector1">
            <a:avLst/>
          </a:prstGeom>
          <a:noFill/>
          <a:ln w="12700" cap="flat" cmpd="sng" algn="ctr">
            <a:solidFill>
              <a:schemeClr val="tx2"/>
            </a:solidFill>
            <a:prstDash val="solid"/>
            <a:round/>
            <a:headEnd type="none" w="med" len="med"/>
            <a:tailEnd type="triangle"/>
          </a:ln>
          <a:effectLst/>
        </p:spPr>
      </p:cxnSp>
      <p:cxnSp>
        <p:nvCxnSpPr>
          <p:cNvPr id="8" name="Straight Arrow Connector 7"/>
          <p:cNvCxnSpPr>
            <a:stCxn id="278" idx="1"/>
          </p:cNvCxnSpPr>
          <p:nvPr/>
        </p:nvCxnSpPr>
        <p:spPr bwMode="auto">
          <a:xfrm flipH="1">
            <a:off x="6400940" y="1243714"/>
            <a:ext cx="703271" cy="8190"/>
          </a:xfrm>
          <a:prstGeom prst="straightConnector1">
            <a:avLst/>
          </a:prstGeom>
          <a:noFill/>
          <a:ln w="12700" cap="flat" cmpd="sng" algn="ctr">
            <a:solidFill>
              <a:schemeClr val="tx2"/>
            </a:solidFill>
            <a:prstDash val="solid"/>
            <a:round/>
            <a:headEnd type="none" w="med" len="med"/>
            <a:tailEnd type="triangle"/>
          </a:ln>
          <a:effectLst/>
        </p:spPr>
      </p:cxnSp>
      <p:grpSp>
        <p:nvGrpSpPr>
          <p:cNvPr id="340" name="Group 339"/>
          <p:cNvGrpSpPr/>
          <p:nvPr/>
        </p:nvGrpSpPr>
        <p:grpSpPr>
          <a:xfrm>
            <a:off x="1754980" y="2666390"/>
            <a:ext cx="5200204" cy="1510584"/>
            <a:chOff x="1754980" y="2666390"/>
            <a:chExt cx="5200204" cy="1510584"/>
          </a:xfrm>
        </p:grpSpPr>
        <p:cxnSp>
          <p:nvCxnSpPr>
            <p:cNvPr id="341" name="Straight Connector 340"/>
            <p:cNvCxnSpPr/>
            <p:nvPr/>
          </p:nvCxnSpPr>
          <p:spPr bwMode="auto">
            <a:xfrm flipV="1">
              <a:off x="2453540" y="2900733"/>
              <a:ext cx="442002" cy="1033000"/>
            </a:xfrm>
            <a:prstGeom prst="line">
              <a:avLst/>
            </a:prstGeom>
            <a:noFill/>
            <a:ln w="12700" cap="flat" cmpd="sng" algn="ctr">
              <a:solidFill>
                <a:schemeClr val="tx2"/>
              </a:solidFill>
              <a:prstDash val="solid"/>
              <a:round/>
              <a:headEnd type="none" w="med" len="med"/>
              <a:tailEnd type="none"/>
            </a:ln>
            <a:effectLst/>
          </p:spPr>
        </p:cxnSp>
        <p:cxnSp>
          <p:nvCxnSpPr>
            <p:cNvPr id="342" name="Straight Connector 341"/>
            <p:cNvCxnSpPr/>
            <p:nvPr/>
          </p:nvCxnSpPr>
          <p:spPr bwMode="auto">
            <a:xfrm flipV="1">
              <a:off x="2070181" y="2872210"/>
              <a:ext cx="756502" cy="1304764"/>
            </a:xfrm>
            <a:prstGeom prst="line">
              <a:avLst/>
            </a:prstGeom>
            <a:noFill/>
            <a:ln w="12700" cap="flat" cmpd="sng" algn="ctr">
              <a:solidFill>
                <a:schemeClr val="tx2"/>
              </a:solidFill>
              <a:prstDash val="dash"/>
              <a:round/>
              <a:headEnd type="none" w="med" len="med"/>
              <a:tailEnd type="none"/>
            </a:ln>
            <a:effectLst/>
          </p:spPr>
        </p:cxnSp>
        <p:cxnSp>
          <p:nvCxnSpPr>
            <p:cNvPr id="343" name="Straight Connector 342"/>
            <p:cNvCxnSpPr/>
            <p:nvPr/>
          </p:nvCxnSpPr>
          <p:spPr bwMode="auto">
            <a:xfrm flipV="1">
              <a:off x="3247831" y="2982925"/>
              <a:ext cx="277500" cy="1096971"/>
            </a:xfrm>
            <a:prstGeom prst="line">
              <a:avLst/>
            </a:prstGeom>
            <a:noFill/>
            <a:ln w="12700" cap="flat" cmpd="sng" algn="ctr">
              <a:solidFill>
                <a:schemeClr val="tx2"/>
              </a:solidFill>
              <a:prstDash val="dash"/>
              <a:round/>
              <a:headEnd type="none" w="med" len="med"/>
              <a:tailEnd type="none"/>
            </a:ln>
            <a:effectLst/>
          </p:spPr>
        </p:cxnSp>
        <p:cxnSp>
          <p:nvCxnSpPr>
            <p:cNvPr id="344" name="Straight Connector 343"/>
            <p:cNvCxnSpPr/>
            <p:nvPr/>
          </p:nvCxnSpPr>
          <p:spPr bwMode="auto">
            <a:xfrm flipH="1" flipV="1">
              <a:off x="3594190" y="2954402"/>
              <a:ext cx="151496" cy="876561"/>
            </a:xfrm>
            <a:prstGeom prst="line">
              <a:avLst/>
            </a:prstGeom>
            <a:noFill/>
            <a:ln w="12700" cap="flat" cmpd="sng" algn="ctr">
              <a:solidFill>
                <a:schemeClr val="tx2"/>
              </a:solidFill>
              <a:prstDash val="solid"/>
              <a:round/>
              <a:headEnd type="none" w="med" len="med"/>
              <a:tailEnd type="none"/>
            </a:ln>
            <a:effectLst/>
          </p:spPr>
        </p:cxnSp>
        <p:cxnSp>
          <p:nvCxnSpPr>
            <p:cNvPr id="345" name="Straight Connector 344"/>
            <p:cNvCxnSpPr/>
            <p:nvPr/>
          </p:nvCxnSpPr>
          <p:spPr bwMode="auto">
            <a:xfrm flipV="1">
              <a:off x="5252069" y="2915585"/>
              <a:ext cx="91805" cy="1055137"/>
            </a:xfrm>
            <a:prstGeom prst="line">
              <a:avLst/>
            </a:prstGeom>
            <a:noFill/>
            <a:ln w="12700" cap="flat" cmpd="sng" algn="ctr">
              <a:solidFill>
                <a:schemeClr val="tx2"/>
              </a:solidFill>
              <a:prstDash val="dash"/>
              <a:round/>
              <a:headEnd type="none" w="med" len="med"/>
              <a:tailEnd type="none"/>
            </a:ln>
            <a:effectLst/>
          </p:spPr>
        </p:cxnSp>
        <p:cxnSp>
          <p:nvCxnSpPr>
            <p:cNvPr id="349" name="Straight Connector 348"/>
            <p:cNvCxnSpPr/>
            <p:nvPr/>
          </p:nvCxnSpPr>
          <p:spPr bwMode="auto">
            <a:xfrm flipH="1" flipV="1">
              <a:off x="5412733" y="2944108"/>
              <a:ext cx="77925" cy="674334"/>
            </a:xfrm>
            <a:prstGeom prst="line">
              <a:avLst/>
            </a:prstGeom>
            <a:noFill/>
            <a:ln w="12700" cap="flat" cmpd="sng" algn="ctr">
              <a:solidFill>
                <a:schemeClr val="tx2"/>
              </a:solidFill>
              <a:prstDash val="solid"/>
              <a:round/>
              <a:headEnd type="none" w="med" len="med"/>
              <a:tailEnd type="none"/>
            </a:ln>
            <a:effectLst/>
          </p:spPr>
        </p:cxnSp>
        <p:cxnSp>
          <p:nvCxnSpPr>
            <p:cNvPr id="350" name="Straight Connector 349"/>
            <p:cNvCxnSpPr/>
            <p:nvPr/>
          </p:nvCxnSpPr>
          <p:spPr bwMode="auto">
            <a:xfrm flipV="1">
              <a:off x="1869262" y="2870513"/>
              <a:ext cx="957421" cy="1281752"/>
            </a:xfrm>
            <a:prstGeom prst="line">
              <a:avLst/>
            </a:prstGeom>
            <a:noFill/>
            <a:ln w="12700" cap="flat" cmpd="sng" algn="ctr">
              <a:solidFill>
                <a:schemeClr val="tx2"/>
              </a:solidFill>
              <a:prstDash val="solid"/>
              <a:round/>
              <a:headEnd type="none" w="med" len="med"/>
              <a:tailEnd type="none"/>
            </a:ln>
            <a:effectLst/>
          </p:spPr>
        </p:cxnSp>
        <p:cxnSp>
          <p:nvCxnSpPr>
            <p:cNvPr id="351" name="Straight Connector 350"/>
            <p:cNvCxnSpPr/>
            <p:nvPr/>
          </p:nvCxnSpPr>
          <p:spPr bwMode="auto">
            <a:xfrm flipV="1">
              <a:off x="1754980" y="2801654"/>
              <a:ext cx="1043180" cy="1038157"/>
            </a:xfrm>
            <a:prstGeom prst="line">
              <a:avLst/>
            </a:prstGeom>
            <a:noFill/>
            <a:ln w="12700" cap="flat" cmpd="sng" algn="ctr">
              <a:solidFill>
                <a:schemeClr val="tx2"/>
              </a:solidFill>
              <a:prstDash val="dash"/>
              <a:round/>
              <a:headEnd type="none" w="med" len="med"/>
              <a:tailEnd type="none"/>
            </a:ln>
            <a:effectLst/>
          </p:spPr>
        </p:cxnSp>
        <p:cxnSp>
          <p:nvCxnSpPr>
            <p:cNvPr id="352" name="Straight Connector 351"/>
            <p:cNvCxnSpPr/>
            <p:nvPr/>
          </p:nvCxnSpPr>
          <p:spPr bwMode="auto">
            <a:xfrm flipV="1">
              <a:off x="3009214" y="2952705"/>
              <a:ext cx="447258" cy="946028"/>
            </a:xfrm>
            <a:prstGeom prst="line">
              <a:avLst/>
            </a:prstGeom>
            <a:noFill/>
            <a:ln w="12700" cap="flat" cmpd="sng" algn="ctr">
              <a:solidFill>
                <a:schemeClr val="tx2"/>
              </a:solidFill>
              <a:prstDash val="solid"/>
              <a:round/>
              <a:headEnd type="none" w="med" len="med"/>
              <a:tailEnd type="none"/>
            </a:ln>
            <a:effectLst/>
          </p:spPr>
        </p:cxnSp>
        <p:cxnSp>
          <p:nvCxnSpPr>
            <p:cNvPr id="353" name="Straight Connector 352"/>
            <p:cNvCxnSpPr/>
            <p:nvPr/>
          </p:nvCxnSpPr>
          <p:spPr bwMode="auto">
            <a:xfrm flipH="1" flipV="1">
              <a:off x="4111962" y="2910221"/>
              <a:ext cx="61762" cy="1111420"/>
            </a:xfrm>
            <a:prstGeom prst="line">
              <a:avLst/>
            </a:prstGeom>
            <a:noFill/>
            <a:ln w="12700" cap="flat" cmpd="sng" algn="ctr">
              <a:solidFill>
                <a:schemeClr val="tx2"/>
              </a:solidFill>
              <a:prstDash val="dash"/>
              <a:round/>
              <a:headEnd type="none" w="med" len="med"/>
              <a:tailEnd type="none"/>
            </a:ln>
            <a:effectLst/>
          </p:spPr>
        </p:cxnSp>
        <p:cxnSp>
          <p:nvCxnSpPr>
            <p:cNvPr id="354" name="Straight Connector 353"/>
            <p:cNvCxnSpPr/>
            <p:nvPr/>
          </p:nvCxnSpPr>
          <p:spPr bwMode="auto">
            <a:xfrm flipH="1" flipV="1">
              <a:off x="4180821" y="2881698"/>
              <a:ext cx="883926" cy="699711"/>
            </a:xfrm>
            <a:prstGeom prst="line">
              <a:avLst/>
            </a:prstGeom>
            <a:noFill/>
            <a:ln w="12700" cap="flat" cmpd="sng" algn="ctr">
              <a:solidFill>
                <a:schemeClr val="tx2"/>
              </a:solidFill>
              <a:prstDash val="dash"/>
              <a:round/>
              <a:headEnd type="none" w="med" len="med"/>
              <a:tailEnd type="none"/>
            </a:ln>
            <a:effectLst/>
          </p:spPr>
        </p:cxnSp>
        <p:cxnSp>
          <p:nvCxnSpPr>
            <p:cNvPr id="355" name="Straight Connector 354"/>
            <p:cNvCxnSpPr/>
            <p:nvPr/>
          </p:nvCxnSpPr>
          <p:spPr bwMode="auto">
            <a:xfrm flipH="1" flipV="1">
              <a:off x="5481592" y="2913888"/>
              <a:ext cx="366683" cy="1096554"/>
            </a:xfrm>
            <a:prstGeom prst="line">
              <a:avLst/>
            </a:prstGeom>
            <a:noFill/>
            <a:ln w="12700" cap="flat" cmpd="sng" algn="ctr">
              <a:solidFill>
                <a:schemeClr val="tx2"/>
              </a:solidFill>
              <a:prstDash val="dash"/>
              <a:round/>
              <a:headEnd type="none" w="med" len="med"/>
              <a:tailEnd type="none"/>
            </a:ln>
            <a:effectLst/>
          </p:spPr>
        </p:cxnSp>
        <p:cxnSp>
          <p:nvCxnSpPr>
            <p:cNvPr id="356" name="Straight Connector 355"/>
            <p:cNvCxnSpPr/>
            <p:nvPr/>
          </p:nvCxnSpPr>
          <p:spPr bwMode="auto">
            <a:xfrm flipH="1" flipV="1">
              <a:off x="4180821" y="2884459"/>
              <a:ext cx="451847" cy="797647"/>
            </a:xfrm>
            <a:prstGeom prst="line">
              <a:avLst/>
            </a:prstGeom>
            <a:noFill/>
            <a:ln w="12700" cap="flat" cmpd="sng" algn="ctr">
              <a:solidFill>
                <a:schemeClr val="tx2"/>
              </a:solidFill>
              <a:prstDash val="solid"/>
              <a:round/>
              <a:headEnd type="none" w="med" len="med"/>
              <a:tailEnd type="none"/>
            </a:ln>
            <a:effectLst/>
          </p:spPr>
        </p:cxnSp>
        <p:cxnSp>
          <p:nvCxnSpPr>
            <p:cNvPr id="357" name="Straight Connector 356"/>
            <p:cNvCxnSpPr/>
            <p:nvPr/>
          </p:nvCxnSpPr>
          <p:spPr bwMode="auto">
            <a:xfrm flipH="1" flipV="1">
              <a:off x="6024099" y="2667454"/>
              <a:ext cx="333251" cy="1470583"/>
            </a:xfrm>
            <a:prstGeom prst="line">
              <a:avLst/>
            </a:prstGeom>
            <a:noFill/>
            <a:ln w="12700" cap="flat" cmpd="sng" algn="ctr">
              <a:solidFill>
                <a:schemeClr val="tx2"/>
              </a:solidFill>
              <a:prstDash val="solid"/>
              <a:round/>
              <a:headEnd type="none" w="med" len="med"/>
              <a:tailEnd type="none"/>
            </a:ln>
            <a:effectLst/>
          </p:spPr>
        </p:cxnSp>
        <p:cxnSp>
          <p:nvCxnSpPr>
            <p:cNvPr id="359" name="Straight Connector 358"/>
            <p:cNvCxnSpPr/>
            <p:nvPr/>
          </p:nvCxnSpPr>
          <p:spPr bwMode="auto">
            <a:xfrm flipH="1" flipV="1">
              <a:off x="6024099" y="2666390"/>
              <a:ext cx="931085" cy="1294712"/>
            </a:xfrm>
            <a:prstGeom prst="line">
              <a:avLst/>
            </a:prstGeom>
            <a:noFill/>
            <a:ln w="12700" cap="flat" cmpd="sng" algn="ctr">
              <a:solidFill>
                <a:schemeClr val="tx2"/>
              </a:solidFill>
              <a:prstDash val="solid"/>
              <a:round/>
              <a:headEnd type="none" w="med" len="med"/>
              <a:tailEnd type="none"/>
            </a:ln>
            <a:effectLst/>
          </p:spPr>
        </p:cxnSp>
      </p:grpSp>
      <p:grpSp>
        <p:nvGrpSpPr>
          <p:cNvPr id="30" name="Group 29"/>
          <p:cNvGrpSpPr/>
          <p:nvPr/>
        </p:nvGrpSpPr>
        <p:grpSpPr>
          <a:xfrm>
            <a:off x="7207801" y="2808516"/>
            <a:ext cx="1556525" cy="1326968"/>
            <a:chOff x="7207801" y="2808516"/>
            <a:chExt cx="1556525" cy="1326968"/>
          </a:xfrm>
        </p:grpSpPr>
        <p:sp>
          <p:nvSpPr>
            <p:cNvPr id="27" name="TextBox 26"/>
            <p:cNvSpPr txBox="1"/>
            <p:nvPr/>
          </p:nvSpPr>
          <p:spPr>
            <a:xfrm>
              <a:off x="7207801" y="3196765"/>
              <a:ext cx="1428340" cy="938719"/>
            </a:xfrm>
            <a:prstGeom prst="rect">
              <a:avLst/>
            </a:prstGeom>
            <a:noFill/>
          </p:spPr>
          <p:txBody>
            <a:bodyPr wrap="square" rtlCol="0">
              <a:spAutoFit/>
            </a:bodyPr>
            <a:lstStyle/>
            <a:p>
              <a:pPr algn="ctr"/>
              <a:r>
                <a:rPr lang="en-US" sz="1100" dirty="0" err="1">
                  <a:latin typeface="Trebuchet MS"/>
                  <a:cs typeface="Trebuchet MS" panose="020B0502040204020203" pitchFamily="34" charset="0"/>
                </a:rPr>
                <a:t>Políticas</a:t>
              </a:r>
              <a:r>
                <a:rPr lang="en-US" sz="1100" dirty="0">
                  <a:latin typeface="Trebuchet MS"/>
                  <a:cs typeface="Trebuchet MS" panose="020B0502040204020203" pitchFamily="34" charset="0"/>
                </a:rPr>
                <a:t> de </a:t>
              </a:r>
              <a:r>
                <a:rPr lang="en-US" sz="1100" dirty="0" err="1">
                  <a:latin typeface="Trebuchet MS"/>
                  <a:cs typeface="Trebuchet MS" panose="020B0502040204020203" pitchFamily="34" charset="0"/>
                </a:rPr>
                <a:t>QoS</a:t>
              </a:r>
              <a:r>
                <a:rPr lang="en-US" sz="1100" dirty="0">
                  <a:latin typeface="Trebuchet MS"/>
                  <a:cs typeface="Trebuchet MS" panose="020B0502040204020203" pitchFamily="34" charset="0"/>
                </a:rPr>
                <a:t> para </a:t>
              </a:r>
              <a:r>
                <a:rPr lang="en-US" sz="1100" dirty="0" err="1">
                  <a:latin typeface="Trebuchet MS"/>
                  <a:cs typeface="Trebuchet MS" panose="020B0502040204020203" pitchFamily="34" charset="0"/>
                </a:rPr>
                <a:t>asegurar</a:t>
              </a:r>
              <a:r>
                <a:rPr lang="en-US" sz="1100" dirty="0">
                  <a:latin typeface="Trebuchet MS"/>
                  <a:cs typeface="Trebuchet MS" panose="020B0502040204020203" pitchFamily="34" charset="0"/>
                </a:rPr>
                <a:t> el </a:t>
              </a:r>
              <a:r>
                <a:rPr lang="en-US" sz="1100" dirty="0" err="1">
                  <a:latin typeface="Trebuchet MS"/>
                  <a:cs typeface="Trebuchet MS" panose="020B0502040204020203" pitchFamily="34" charset="0"/>
                </a:rPr>
                <a:t>correcto</a:t>
              </a:r>
              <a:r>
                <a:rPr lang="en-US" sz="1100" dirty="0">
                  <a:latin typeface="Trebuchet MS"/>
                  <a:cs typeface="Trebuchet MS" panose="020B0502040204020203" pitchFamily="34" charset="0"/>
                </a:rPr>
                <a:t> </a:t>
              </a:r>
              <a:r>
                <a:rPr lang="en-US" sz="1100" dirty="0" err="1">
                  <a:latin typeface="Trebuchet MS"/>
                  <a:cs typeface="Trebuchet MS" panose="020B0502040204020203" pitchFamily="34" charset="0"/>
                </a:rPr>
                <a:t>comportamiento</a:t>
              </a:r>
              <a:r>
                <a:rPr lang="en-US" sz="1100" dirty="0">
                  <a:latin typeface="Trebuchet MS"/>
                  <a:cs typeface="Trebuchet MS" panose="020B0502040204020203" pitchFamily="34" charset="0"/>
                </a:rPr>
                <a:t> del </a:t>
              </a:r>
              <a:r>
                <a:rPr lang="en-US" sz="1100" dirty="0" err="1">
                  <a:latin typeface="Trebuchet MS"/>
                  <a:cs typeface="Trebuchet MS" panose="020B0502040204020203" pitchFamily="34" charset="0"/>
                </a:rPr>
                <a:t>sistema</a:t>
              </a:r>
              <a:r>
                <a:rPr lang="en-US" sz="1100" dirty="0">
                  <a:latin typeface="Trebuchet MS"/>
                  <a:cs typeface="Trebuchet MS" panose="020B0502040204020203" pitchFamily="34" charset="0"/>
                </a:rPr>
                <a:t> IoT</a:t>
              </a:r>
            </a:p>
          </p:txBody>
        </p:sp>
        <p:sp>
          <p:nvSpPr>
            <p:cNvPr id="28" name="Arrow: Curved Left 27"/>
            <p:cNvSpPr/>
            <p:nvPr/>
          </p:nvSpPr>
          <p:spPr>
            <a:xfrm>
              <a:off x="8487114" y="2808516"/>
              <a:ext cx="277212" cy="809926"/>
            </a:xfrm>
            <a:prstGeom prst="curvedLeftArrow">
              <a:avLst/>
            </a:prstGeom>
            <a:solidFill>
              <a:schemeClr val="accent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pSp>
      <p:grpSp>
        <p:nvGrpSpPr>
          <p:cNvPr id="29" name="Group 28"/>
          <p:cNvGrpSpPr/>
          <p:nvPr/>
        </p:nvGrpSpPr>
        <p:grpSpPr>
          <a:xfrm>
            <a:off x="39086" y="2998024"/>
            <a:ext cx="1687612" cy="1560877"/>
            <a:chOff x="39086" y="2998024"/>
            <a:chExt cx="1687612" cy="1560877"/>
          </a:xfrm>
        </p:grpSpPr>
        <p:sp>
          <p:nvSpPr>
            <p:cNvPr id="388" name="TextBox 387"/>
            <p:cNvSpPr txBox="1"/>
            <p:nvPr/>
          </p:nvSpPr>
          <p:spPr>
            <a:xfrm>
              <a:off x="39086" y="3281628"/>
              <a:ext cx="1480377" cy="1277273"/>
            </a:xfrm>
            <a:prstGeom prst="rect">
              <a:avLst/>
            </a:prstGeom>
            <a:noFill/>
          </p:spPr>
          <p:txBody>
            <a:bodyPr wrap="square" rtlCol="0">
              <a:spAutoFit/>
            </a:bodyPr>
            <a:lstStyle/>
            <a:p>
              <a:pPr algn="ctr"/>
              <a:r>
                <a:rPr lang="en-US" sz="1100" dirty="0" err="1">
                  <a:latin typeface="Trebuchet MS"/>
                  <a:cs typeface="Trebuchet MS" panose="020B0502040204020203" pitchFamily="34" charset="0"/>
                </a:rPr>
                <a:t>Políticas</a:t>
              </a:r>
              <a:r>
                <a:rPr lang="en-US" sz="1100" dirty="0">
                  <a:latin typeface="Trebuchet MS"/>
                  <a:cs typeface="Trebuchet MS" panose="020B0502040204020203" pitchFamily="34" charset="0"/>
                </a:rPr>
                <a:t> de Seguridad para </a:t>
              </a:r>
              <a:r>
                <a:rPr lang="en-US" sz="1100" dirty="0" err="1">
                  <a:latin typeface="Trebuchet MS"/>
                  <a:cs typeface="Trebuchet MS" panose="020B0502040204020203" pitchFamily="34" charset="0"/>
                </a:rPr>
                <a:t>favorecer</a:t>
              </a:r>
              <a:r>
                <a:rPr lang="en-US" sz="1100" dirty="0">
                  <a:latin typeface="Trebuchet MS"/>
                  <a:cs typeface="Trebuchet MS" panose="020B0502040204020203" pitchFamily="34" charset="0"/>
                </a:rPr>
                <a:t> </a:t>
              </a:r>
              <a:r>
                <a:rPr lang="en-US" sz="1100" dirty="0" err="1">
                  <a:latin typeface="Trebuchet MS"/>
                  <a:cs typeface="Trebuchet MS" panose="020B0502040204020203" pitchFamily="34" charset="0"/>
                </a:rPr>
                <a:t>comportamientos</a:t>
              </a:r>
              <a:r>
                <a:rPr lang="en-US" sz="1100" dirty="0">
                  <a:latin typeface="Trebuchet MS"/>
                  <a:cs typeface="Trebuchet MS" panose="020B0502040204020203" pitchFamily="34" charset="0"/>
                </a:rPr>
                <a:t> </a:t>
              </a:r>
              <a:r>
                <a:rPr lang="en-US" sz="1100" dirty="0" err="1">
                  <a:latin typeface="Trebuchet MS"/>
                  <a:cs typeface="Trebuchet MS" panose="020B0502040204020203" pitchFamily="34" charset="0"/>
                </a:rPr>
                <a:t>esperados</a:t>
              </a:r>
              <a:r>
                <a:rPr lang="en-US" sz="1100" dirty="0">
                  <a:latin typeface="Trebuchet MS"/>
                  <a:cs typeface="Trebuchet MS" panose="020B0502040204020203" pitchFamily="34" charset="0"/>
                </a:rPr>
                <a:t> y </a:t>
              </a:r>
              <a:r>
                <a:rPr lang="en-US" sz="1100" dirty="0" err="1">
                  <a:latin typeface="Trebuchet MS"/>
                  <a:cs typeface="Trebuchet MS" panose="020B0502040204020203" pitchFamily="34" charset="0"/>
                </a:rPr>
                <a:t>acceso</a:t>
              </a:r>
              <a:r>
                <a:rPr lang="en-US" sz="1100" dirty="0">
                  <a:latin typeface="Trebuchet MS"/>
                  <a:cs typeface="Trebuchet MS" panose="020B0502040204020203" pitchFamily="34" charset="0"/>
                </a:rPr>
                <a:t> a </a:t>
              </a:r>
              <a:r>
                <a:rPr lang="en-US" sz="1100" dirty="0" err="1">
                  <a:latin typeface="Trebuchet MS"/>
                  <a:cs typeface="Trebuchet MS" panose="020B0502040204020203" pitchFamily="34" charset="0"/>
                </a:rPr>
                <a:t>usuarios</a:t>
              </a:r>
              <a:r>
                <a:rPr lang="en-US" sz="1100" dirty="0">
                  <a:latin typeface="Trebuchet MS"/>
                  <a:cs typeface="Trebuchet MS" panose="020B0502040204020203" pitchFamily="34" charset="0"/>
                </a:rPr>
                <a:t> </a:t>
              </a:r>
              <a:r>
                <a:rPr lang="en-US" sz="1100" dirty="0" err="1">
                  <a:latin typeface="Trebuchet MS"/>
                  <a:cs typeface="Trebuchet MS" panose="020B0502040204020203" pitchFamily="34" charset="0"/>
                </a:rPr>
                <a:t>autorizados</a:t>
              </a:r>
              <a:endParaRPr lang="en-US" sz="1100" dirty="0">
                <a:latin typeface="Trebuchet MS"/>
                <a:cs typeface="Trebuchet MS" panose="020B0502040204020203" pitchFamily="34" charset="0"/>
              </a:endParaRPr>
            </a:p>
          </p:txBody>
        </p:sp>
        <p:sp>
          <p:nvSpPr>
            <p:cNvPr id="389" name="Arrow: Curved Left 388"/>
            <p:cNvSpPr/>
            <p:nvPr/>
          </p:nvSpPr>
          <p:spPr>
            <a:xfrm>
              <a:off x="1449486" y="2998024"/>
              <a:ext cx="277212" cy="662456"/>
            </a:xfrm>
            <a:prstGeom prst="curvedLeftArrow">
              <a:avLst/>
            </a:prstGeom>
            <a:solidFill>
              <a:schemeClr val="accent2"/>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pSp>
      <p:grpSp>
        <p:nvGrpSpPr>
          <p:cNvPr id="35" name="Group 34"/>
          <p:cNvGrpSpPr/>
          <p:nvPr/>
        </p:nvGrpSpPr>
        <p:grpSpPr>
          <a:xfrm>
            <a:off x="677074" y="1236200"/>
            <a:ext cx="1827636" cy="430887"/>
            <a:chOff x="677074" y="1236200"/>
            <a:chExt cx="1827636" cy="430887"/>
          </a:xfrm>
        </p:grpSpPr>
        <p:sp>
          <p:nvSpPr>
            <p:cNvPr id="390" name="TextBox 389"/>
            <p:cNvSpPr txBox="1"/>
            <p:nvPr/>
          </p:nvSpPr>
          <p:spPr>
            <a:xfrm>
              <a:off x="677074" y="1236200"/>
              <a:ext cx="1137466" cy="430887"/>
            </a:xfrm>
            <a:prstGeom prst="rect">
              <a:avLst/>
            </a:prstGeom>
            <a:noFill/>
          </p:spPr>
          <p:txBody>
            <a:bodyPr wrap="square" rtlCol="0">
              <a:spAutoFit/>
            </a:bodyPr>
            <a:lstStyle/>
            <a:p>
              <a:pPr algn="ctr"/>
              <a:r>
                <a:rPr lang="en-US" sz="1100" dirty="0" err="1">
                  <a:latin typeface="Trebuchet MS"/>
                  <a:cs typeface="Trebuchet MS" panose="020B0502040204020203" pitchFamily="34" charset="0"/>
                </a:rPr>
                <a:t>Contenedor</a:t>
              </a:r>
              <a:r>
                <a:rPr lang="en-US" sz="1100" dirty="0">
                  <a:latin typeface="Trebuchet MS"/>
                  <a:cs typeface="Trebuchet MS" panose="020B0502040204020203" pitchFamily="34" charset="0"/>
                </a:rPr>
                <a:t> IoT</a:t>
              </a:r>
            </a:p>
          </p:txBody>
        </p:sp>
        <p:cxnSp>
          <p:nvCxnSpPr>
            <p:cNvPr id="32" name="Straight Arrow Connector 31"/>
            <p:cNvCxnSpPr>
              <a:cxnSpLocks/>
              <a:endCxn id="390" idx="3"/>
            </p:cNvCxnSpPr>
            <p:nvPr/>
          </p:nvCxnSpPr>
          <p:spPr bwMode="auto">
            <a:xfrm flipH="1">
              <a:off x="1814540" y="1364837"/>
              <a:ext cx="690170" cy="86807"/>
            </a:xfrm>
            <a:prstGeom prst="straightConnector1">
              <a:avLst/>
            </a:prstGeom>
            <a:noFill/>
            <a:ln w="12700" cap="flat" cmpd="sng" algn="ctr">
              <a:solidFill>
                <a:schemeClr val="tx2"/>
              </a:solidFill>
              <a:prstDash val="solid"/>
              <a:round/>
              <a:headEnd type="none" w="med" len="med"/>
              <a:tailEnd type="triangle"/>
            </a:ln>
            <a:effectLst/>
          </p:spPr>
        </p:cxnSp>
      </p:grpSp>
    </p:spTree>
    <p:extLst>
      <p:ext uri="{BB962C8B-B14F-4D97-AF65-F5344CB8AC3E}">
        <p14:creationId xmlns:p14="http://schemas.microsoft.com/office/powerpoint/2010/main" val="93041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340"/>
                                        </p:tgtEl>
                                        <p:attrNameLst>
                                          <p:attrName>style.visibility</p:attrName>
                                        </p:attrNameLst>
                                      </p:cBhvr>
                                      <p:to>
                                        <p:strVal val="hidden"/>
                                      </p:to>
                                    </p:set>
                                  </p:childTnLst>
                                </p:cTn>
                              </p:par>
                            </p:childTnLst>
                          </p:cTn>
                        </p:par>
                        <p:par>
                          <p:cTn id="15" fill="hold">
                            <p:stCondLst>
                              <p:cond delay="0"/>
                            </p:stCondLst>
                            <p:childTnLst>
                              <p:par>
                                <p:cTn id="16" presetID="42" presetClass="path" presetSubtype="0" accel="50000" decel="50000" fill="hold" nodeType="afterEffect">
                                  <p:stCondLst>
                                    <p:cond delay="0"/>
                                  </p:stCondLst>
                                  <p:childTnLst>
                                    <p:animMotion origin="layout" path="M 3.88889E-6 -4.93827E-7 L 3.88889E-6 -0.26512 " pathEditMode="relative" rAng="0" ptsTypes="AA">
                                      <p:cBhvr>
                                        <p:cTn id="17" dur="2000" fill="hold"/>
                                        <p:tgtEl>
                                          <p:spTgt spid="36"/>
                                        </p:tgtEl>
                                        <p:attrNameLst>
                                          <p:attrName>ppt_x</p:attrName>
                                          <p:attrName>ppt_y</p:attrName>
                                        </p:attrNameLst>
                                      </p:cBhvr>
                                      <p:rCtr x="0" y="-13272"/>
                                    </p:animMotion>
                                  </p:childTnLst>
                                </p:cTn>
                              </p:par>
                              <p:par>
                                <p:cTn id="18" presetID="42" presetClass="path" presetSubtype="0" accel="50000" decel="50000" fill="hold" nodeType="withEffect">
                                  <p:stCondLst>
                                    <p:cond delay="0"/>
                                  </p:stCondLst>
                                  <p:childTnLst>
                                    <p:animMotion origin="layout" path="M 3.88889E-6 3.58025E-6 L 3.88889E-6 -0.13365 " pathEditMode="relative" rAng="0" ptsTypes="AA">
                                      <p:cBhvr>
                                        <p:cTn id="19" dur="2000" fill="hold"/>
                                        <p:tgtEl>
                                          <p:spTgt spid="17"/>
                                        </p:tgtEl>
                                        <p:attrNameLst>
                                          <p:attrName>ppt_x</p:attrName>
                                          <p:attrName>ppt_y</p:attrName>
                                        </p:attrNameLst>
                                      </p:cBhvr>
                                      <p:rCtr x="0" y="-6698"/>
                                    </p:animMotion>
                                  </p:childTnLst>
                                </p:cTn>
                              </p:par>
                              <p:par>
                                <p:cTn id="20" presetID="22" presetClass="entr" presetSubtype="4" fill="hold" nodeType="withEffect">
                                  <p:stCondLst>
                                    <p:cond delay="1000"/>
                                  </p:stCondLst>
                                  <p:childTnLst>
                                    <p:set>
                                      <p:cBhvr>
                                        <p:cTn id="21" dur="1" fill="hold">
                                          <p:stCondLst>
                                            <p:cond delay="0"/>
                                          </p:stCondLst>
                                        </p:cTn>
                                        <p:tgtEl>
                                          <p:spTgt spid="53"/>
                                        </p:tgtEl>
                                        <p:attrNameLst>
                                          <p:attrName>style.visibility</p:attrName>
                                        </p:attrNameLst>
                                      </p:cBhvr>
                                      <p:to>
                                        <p:strVal val="visible"/>
                                      </p:to>
                                    </p:set>
                                    <p:animEffect transition="in" filter="wipe(down)">
                                      <p:cBhvr>
                                        <p:cTn id="22" dur="1000"/>
                                        <p:tgtEl>
                                          <p:spTgt spid="53"/>
                                        </p:tgtEl>
                                      </p:cBhvr>
                                    </p:animEffect>
                                  </p:childTnLst>
                                </p:cTn>
                              </p:par>
                              <p:par>
                                <p:cTn id="23" presetID="22" presetClass="entr" presetSubtype="4" fill="hold" nodeType="withEffect">
                                  <p:stCondLst>
                                    <p:cond delay="0"/>
                                  </p:stCondLst>
                                  <p:childTnLst>
                                    <p:set>
                                      <p:cBhvr>
                                        <p:cTn id="24" dur="1" fill="hold">
                                          <p:stCondLst>
                                            <p:cond delay="0"/>
                                          </p:stCondLst>
                                        </p:cTn>
                                        <p:tgtEl>
                                          <p:spTgt spid="167"/>
                                        </p:tgtEl>
                                        <p:attrNameLst>
                                          <p:attrName>style.visibility</p:attrName>
                                        </p:attrNameLst>
                                      </p:cBhvr>
                                      <p:to>
                                        <p:strVal val="visible"/>
                                      </p:to>
                                    </p:set>
                                    <p:animEffect transition="in" filter="wipe(down)">
                                      <p:cBhvr>
                                        <p:cTn id="25" dur="2000"/>
                                        <p:tgtEl>
                                          <p:spTgt spid="167"/>
                                        </p:tgtEl>
                                      </p:cBhvr>
                                    </p:animEffect>
                                  </p:childTnLst>
                                </p:cTn>
                              </p:par>
                              <p:par>
                                <p:cTn id="26" presetID="22" presetClass="entr" presetSubtype="4" fill="hold" nodeType="withEffect">
                                  <p:stCondLst>
                                    <p:cond delay="0"/>
                                  </p:stCondLst>
                                  <p:childTnLst>
                                    <p:set>
                                      <p:cBhvr>
                                        <p:cTn id="27" dur="1" fill="hold">
                                          <p:stCondLst>
                                            <p:cond delay="0"/>
                                          </p:stCondLst>
                                        </p:cTn>
                                        <p:tgtEl>
                                          <p:spTgt spid="13"/>
                                        </p:tgtEl>
                                        <p:attrNameLst>
                                          <p:attrName>style.visibility</p:attrName>
                                        </p:attrNameLst>
                                      </p:cBhvr>
                                      <p:to>
                                        <p:strVal val="visible"/>
                                      </p:to>
                                    </p:set>
                                    <p:animEffect transition="in" filter="wipe(down)">
                                      <p:cBhvr>
                                        <p:cTn id="28" dur="500"/>
                                        <p:tgtEl>
                                          <p:spTgt spid="13"/>
                                        </p:tgtEl>
                                      </p:cBhvr>
                                    </p:animEffect>
                                  </p:childTnLst>
                                </p:cTn>
                              </p:par>
                              <p:par>
                                <p:cTn id="29" presetID="22" presetClass="entr" presetSubtype="4" fill="hold" nodeType="withEffect">
                                  <p:stCondLst>
                                    <p:cond delay="0"/>
                                  </p:stCondLst>
                                  <p:childTnLst>
                                    <p:set>
                                      <p:cBhvr>
                                        <p:cTn id="30" dur="1" fill="hold">
                                          <p:stCondLst>
                                            <p:cond delay="0"/>
                                          </p:stCondLst>
                                        </p:cTn>
                                        <p:tgtEl>
                                          <p:spTgt spid="160"/>
                                        </p:tgtEl>
                                        <p:attrNameLst>
                                          <p:attrName>style.visibility</p:attrName>
                                        </p:attrNameLst>
                                      </p:cBhvr>
                                      <p:to>
                                        <p:strVal val="visible"/>
                                      </p:to>
                                    </p:set>
                                    <p:animEffect transition="in" filter="wipe(down)">
                                      <p:cBhvr>
                                        <p:cTn id="31" dur="2000"/>
                                        <p:tgtEl>
                                          <p:spTgt spid="160"/>
                                        </p:tgtEl>
                                      </p:cBhvr>
                                    </p:animEffect>
                                  </p:childTnLst>
                                </p:cTn>
                              </p:par>
                            </p:childTnLst>
                          </p:cTn>
                        </p:par>
                        <p:par>
                          <p:cTn id="32" fill="hold">
                            <p:stCondLst>
                              <p:cond delay="2000"/>
                            </p:stCondLst>
                            <p:childTnLst>
                              <p:par>
                                <p:cTn id="33" presetID="1" presetClass="entr" presetSubtype="0" fill="hold" nodeType="afterEffect">
                                  <p:stCondLst>
                                    <p:cond delay="0"/>
                                  </p:stCondLst>
                                  <p:childTnLst>
                                    <p:set>
                                      <p:cBhvr>
                                        <p:cTn id="34" dur="1" fill="hold">
                                          <p:stCondLst>
                                            <p:cond delay="0"/>
                                          </p:stCondLst>
                                        </p:cTn>
                                        <p:tgtEl>
                                          <p:spTgt spid="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22" presetClass="entr" presetSubtype="2" fill="hold" nodeType="clickEffect">
                                  <p:stCondLst>
                                    <p:cond delay="0"/>
                                  </p:stCondLst>
                                  <p:childTnLst>
                                    <p:set>
                                      <p:cBhvr>
                                        <p:cTn id="42" dur="1" fill="hold">
                                          <p:stCondLst>
                                            <p:cond delay="0"/>
                                          </p:stCondLst>
                                        </p:cTn>
                                        <p:tgtEl>
                                          <p:spTgt spid="35"/>
                                        </p:tgtEl>
                                        <p:attrNameLst>
                                          <p:attrName>style.visibility</p:attrName>
                                        </p:attrNameLst>
                                      </p:cBhvr>
                                      <p:to>
                                        <p:strVal val="visible"/>
                                      </p:to>
                                    </p:set>
                                    <p:animEffect transition="in" filter="wipe(right)">
                                      <p:cBhvr>
                                        <p:cTn id="43" dur="500"/>
                                        <p:tgtEl>
                                          <p:spTgt spid="35"/>
                                        </p:tgtEl>
                                      </p:cBhvr>
                                    </p:animEffec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nodeType="clickEffect">
                                  <p:stCondLst>
                                    <p:cond delay="0"/>
                                  </p:stCondLst>
                                  <p:childTnLst>
                                    <p:set>
                                      <p:cBhvr>
                                        <p:cTn id="47" dur="1" fill="hold">
                                          <p:stCondLst>
                                            <p:cond delay="0"/>
                                          </p:stCondLst>
                                        </p:cTn>
                                        <p:tgtEl>
                                          <p:spTgt spid="30"/>
                                        </p:tgtEl>
                                        <p:attrNameLst>
                                          <p:attrName>style.visibility</p:attrName>
                                        </p:attrNameLst>
                                      </p:cBhvr>
                                      <p:to>
                                        <p:strVal val="visible"/>
                                      </p:to>
                                    </p:set>
                                    <p:animEffect transition="in" filter="wipe(up)">
                                      <p:cBhvr>
                                        <p:cTn id="48" dur="500"/>
                                        <p:tgtEl>
                                          <p:spTgt spid="30"/>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1" fill="hold" nodeType="clickEffect">
                                  <p:stCondLst>
                                    <p:cond delay="0"/>
                                  </p:stCondLst>
                                  <p:childTnLst>
                                    <p:set>
                                      <p:cBhvr>
                                        <p:cTn id="52" dur="1" fill="hold">
                                          <p:stCondLst>
                                            <p:cond delay="0"/>
                                          </p:stCondLst>
                                        </p:cTn>
                                        <p:tgtEl>
                                          <p:spTgt spid="29"/>
                                        </p:tgtEl>
                                        <p:attrNameLst>
                                          <p:attrName>style.visibility</p:attrName>
                                        </p:attrNameLst>
                                      </p:cBhvr>
                                      <p:to>
                                        <p:strVal val="visible"/>
                                      </p:to>
                                    </p:set>
                                    <p:animEffect transition="in" filter="wipe(up)">
                                      <p:cBhvr>
                                        <p:cTn id="53"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Content Placeholder 2"/>
          <p:cNvSpPr txBox="1">
            <a:spLocks/>
          </p:cNvSpPr>
          <p:nvPr/>
        </p:nvSpPr>
        <p:spPr>
          <a:xfrm>
            <a:off x="2033096" y="146822"/>
            <a:ext cx="3264391" cy="190985"/>
          </a:xfrm>
          <a:prstGeom prst="rect">
            <a:avLst/>
          </a:prstGeom>
        </p:spPr>
        <p:txBody>
          <a:bodyPr/>
          <a:lstStyle>
            <a:lvl1pPr marL="180975" indent="-180975" algn="l" rtl="0" eaLnBrk="1" fontAlgn="base" hangingPunct="1">
              <a:spcBef>
                <a:spcPct val="20000"/>
              </a:spcBef>
              <a:spcAft>
                <a:spcPct val="30000"/>
              </a:spcAft>
              <a:buClrTx/>
              <a:buSzPct val="80000"/>
              <a:buFont typeface="Wingdings" panose="05000000000000000000" pitchFamily="2" charset="2"/>
              <a:buChar char=""/>
              <a:defRPr sz="1500">
                <a:solidFill>
                  <a:schemeClr val="tx1"/>
                </a:solidFill>
                <a:latin typeface="Trebuchet MS" panose="020B0603020202020204" pitchFamily="34" charset="0"/>
                <a:ea typeface="+mn-ea"/>
                <a:cs typeface="Segoe UI" panose="020B0502040204020203" pitchFamily="34" charset="0"/>
              </a:defRPr>
            </a:lvl1pPr>
            <a:lvl2pPr marL="361950" indent="-180975" algn="l" rtl="0" eaLnBrk="1" fontAlgn="base" hangingPunct="1">
              <a:spcBef>
                <a:spcPct val="20000"/>
              </a:spcBef>
              <a:spcAft>
                <a:spcPts val="0"/>
              </a:spcAft>
              <a:buClrTx/>
              <a:buFont typeface="Wingdings" panose="05000000000000000000" pitchFamily="2" charset="2"/>
              <a:buChar char="§"/>
              <a:defRPr sz="1400">
                <a:solidFill>
                  <a:schemeClr val="tx1"/>
                </a:solidFill>
                <a:latin typeface="Trebuchet MS" panose="020B0603020202020204" pitchFamily="34" charset="0"/>
                <a:cs typeface="Segoe UI" panose="020B0502040204020203" pitchFamily="34" charset="0"/>
              </a:defRPr>
            </a:lvl2pPr>
            <a:lvl3pPr marL="538163" indent="-131763" algn="l" rtl="0" eaLnBrk="1" fontAlgn="base" hangingPunct="1">
              <a:spcBef>
                <a:spcPts val="329"/>
              </a:spcBef>
              <a:spcAft>
                <a:spcPts val="0"/>
              </a:spcAft>
              <a:buClrTx/>
              <a:buFont typeface="Arial" pitchFamily="34" charset="0"/>
              <a:buChar char="­"/>
              <a:defRPr sz="1200">
                <a:solidFill>
                  <a:schemeClr val="tx1"/>
                </a:solidFill>
                <a:latin typeface="Trebuchet MS" panose="020B0603020202020204" pitchFamily="34" charset="0"/>
                <a:cs typeface="Segoe UI" panose="020B0502040204020203" pitchFamily="34" charset="0"/>
              </a:defRPr>
            </a:lvl3pPr>
            <a:lvl4pPr marL="631825" indent="-85725" algn="l" rtl="0" eaLnBrk="1" fontAlgn="base" hangingPunct="1">
              <a:spcBef>
                <a:spcPct val="20000"/>
              </a:spcBef>
              <a:spcAft>
                <a:spcPct val="30000"/>
              </a:spcAft>
              <a:buClrTx/>
              <a:buFont typeface="Arial" pitchFamily="34" charset="0"/>
              <a:buChar char="­"/>
              <a:defRPr sz="1100">
                <a:solidFill>
                  <a:schemeClr val="tx1"/>
                </a:solidFill>
                <a:latin typeface="Trebuchet MS" panose="020B0603020202020204" pitchFamily="34" charset="0"/>
                <a:cs typeface="Segoe UI" panose="020B0502040204020203" pitchFamily="34" charset="0"/>
              </a:defRPr>
            </a:lvl4pPr>
            <a:lvl5pPr marL="715963" indent="-84138" algn="l" rtl="0" eaLnBrk="1" fontAlgn="base" hangingPunct="1">
              <a:spcBef>
                <a:spcPct val="20000"/>
              </a:spcBef>
              <a:spcAft>
                <a:spcPct val="30000"/>
              </a:spcAft>
              <a:buClrTx/>
              <a:buFont typeface="Arial" pitchFamily="34" charset="0"/>
              <a:buChar char="­"/>
              <a:defRPr sz="1100">
                <a:solidFill>
                  <a:schemeClr val="tx1"/>
                </a:solidFill>
                <a:latin typeface="Trebuchet MS" panose="020B0603020202020204" pitchFamily="34" charset="0"/>
                <a:cs typeface="Segoe UI" panose="020B0502040204020203" pitchFamily="34" charset="0"/>
              </a:defRPr>
            </a:lvl5pPr>
            <a:lvl6pPr marL="1093553" indent="-174194" algn="l" rtl="0" eaLnBrk="1" fontAlgn="base" hangingPunct="1">
              <a:spcBef>
                <a:spcPct val="20000"/>
              </a:spcBef>
              <a:spcAft>
                <a:spcPct val="30000"/>
              </a:spcAft>
              <a:buClr>
                <a:srgbClr val="6639B7"/>
              </a:buClr>
              <a:buFont typeface="Arial" pitchFamily="34" charset="0"/>
              <a:buChar char="­"/>
              <a:defRPr sz="1100">
                <a:solidFill>
                  <a:schemeClr val="tx1"/>
                </a:solidFill>
                <a:latin typeface="+mn-lt"/>
              </a:defRPr>
            </a:lvl6pPr>
            <a:lvl7pPr marL="1441942" indent="-174194" algn="l" rtl="0" eaLnBrk="1" fontAlgn="base" hangingPunct="1">
              <a:spcBef>
                <a:spcPct val="20000"/>
              </a:spcBef>
              <a:spcAft>
                <a:spcPct val="30000"/>
              </a:spcAft>
              <a:buClr>
                <a:srgbClr val="6639B7"/>
              </a:buClr>
              <a:buFont typeface="Arial" pitchFamily="34" charset="0"/>
              <a:buChar char="­"/>
              <a:defRPr sz="1100">
                <a:solidFill>
                  <a:schemeClr val="tx1"/>
                </a:solidFill>
                <a:latin typeface="+mn-lt"/>
              </a:defRPr>
            </a:lvl7pPr>
            <a:lvl8pPr marL="1790331" indent="-174194" algn="l" rtl="0" eaLnBrk="1" fontAlgn="base" hangingPunct="1">
              <a:spcBef>
                <a:spcPct val="20000"/>
              </a:spcBef>
              <a:spcAft>
                <a:spcPct val="30000"/>
              </a:spcAft>
              <a:buClr>
                <a:srgbClr val="6639B7"/>
              </a:buClr>
              <a:buFont typeface="Arial" pitchFamily="34" charset="0"/>
              <a:buChar char="­"/>
              <a:defRPr sz="1100">
                <a:solidFill>
                  <a:schemeClr val="tx1"/>
                </a:solidFill>
                <a:latin typeface="+mn-lt"/>
              </a:defRPr>
            </a:lvl8pPr>
            <a:lvl9pPr marL="2138719" indent="-174194" algn="l" rtl="0" eaLnBrk="1" fontAlgn="base" hangingPunct="1">
              <a:spcBef>
                <a:spcPct val="20000"/>
              </a:spcBef>
              <a:spcAft>
                <a:spcPct val="30000"/>
              </a:spcAft>
              <a:buClr>
                <a:srgbClr val="6639B7"/>
              </a:buClr>
              <a:buFont typeface="Arial" pitchFamily="34" charset="0"/>
              <a:buChar char="­"/>
              <a:defRPr sz="1100">
                <a:solidFill>
                  <a:schemeClr val="tx1"/>
                </a:solidFill>
                <a:latin typeface="+mn-lt"/>
              </a:defRPr>
            </a:lvl9pPr>
          </a:lstStyle>
          <a:p>
            <a:pPr marL="0" indent="0">
              <a:buNone/>
            </a:pPr>
            <a:r>
              <a:rPr lang="en-US" sz="800" dirty="0">
                <a:solidFill>
                  <a:schemeClr val="tx2"/>
                </a:solidFill>
              </a:rPr>
              <a:t>.</a:t>
            </a:r>
          </a:p>
        </p:txBody>
      </p:sp>
      <p:sp>
        <p:nvSpPr>
          <p:cNvPr id="104" name="Text Placeholder 6"/>
          <p:cNvSpPr>
            <a:spLocks noGrp="1"/>
          </p:cNvSpPr>
          <p:nvPr>
            <p:ph type="body" sz="quarter" idx="11" hasCustomPrompt="1"/>
          </p:nvPr>
        </p:nvSpPr>
        <p:spPr>
          <a:xfrm>
            <a:off x="160774" y="78196"/>
            <a:ext cx="3933783" cy="369118"/>
          </a:xfrm>
        </p:spPr>
        <p:txBody>
          <a:bodyPr>
            <a:normAutofit fontScale="92500" lnSpcReduction="10000"/>
          </a:bodyPr>
          <a:lstStyle>
            <a:lvl1pPr marL="0" indent="0" algn="ctr">
              <a:buNone/>
              <a:defRPr sz="1600">
                <a:solidFill>
                  <a:schemeClr val="bg1"/>
                </a:solidFill>
                <a:latin typeface="Trebuchet MS" charset="0"/>
                <a:ea typeface="Trebuchet MS" charset="0"/>
                <a:cs typeface="Trebuchet MS" charset="0"/>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lgn="l"/>
            <a:r>
              <a:rPr lang="en-GB" sz="2800" dirty="0" err="1"/>
              <a:t>Principios</a:t>
            </a:r>
            <a:r>
              <a:rPr lang="en-GB" sz="2800" dirty="0"/>
              <a:t> del ALE IoT Hub</a:t>
            </a:r>
          </a:p>
        </p:txBody>
      </p:sp>
      <p:grpSp>
        <p:nvGrpSpPr>
          <p:cNvPr id="108" name="Groupe 128">
            <a:extLst>
              <a:ext uri="{FF2B5EF4-FFF2-40B4-BE49-F238E27FC236}">
                <a16:creationId xmlns:a16="http://schemas.microsoft.com/office/drawing/2014/main" id="{EE6E7FBA-52E5-4302-9238-70D0A6B64C1B}"/>
              </a:ext>
            </a:extLst>
          </p:cNvPr>
          <p:cNvGrpSpPr/>
          <p:nvPr/>
        </p:nvGrpSpPr>
        <p:grpSpPr>
          <a:xfrm>
            <a:off x="3936509" y="1570300"/>
            <a:ext cx="1638374" cy="2967617"/>
            <a:chOff x="-74008" y="-1"/>
            <a:chExt cx="4368995" cy="7913644"/>
          </a:xfrm>
        </p:grpSpPr>
        <p:grpSp>
          <p:nvGrpSpPr>
            <p:cNvPr id="109" name="Cylindre 129">
              <a:extLst>
                <a:ext uri="{FF2B5EF4-FFF2-40B4-BE49-F238E27FC236}">
                  <a16:creationId xmlns:a16="http://schemas.microsoft.com/office/drawing/2014/main" id="{86556180-B1C8-45C7-BB50-4F1B6473D585}"/>
                </a:ext>
              </a:extLst>
            </p:cNvPr>
            <p:cNvGrpSpPr/>
            <p:nvPr/>
          </p:nvGrpSpPr>
          <p:grpSpPr>
            <a:xfrm>
              <a:off x="0" y="-1"/>
              <a:ext cx="4294987" cy="7913644"/>
              <a:chOff x="0" y="0"/>
              <a:chExt cx="4294986" cy="7913642"/>
            </a:xfrm>
          </p:grpSpPr>
          <p:sp>
            <p:nvSpPr>
              <p:cNvPr id="111" name="Form">
                <a:extLst>
                  <a:ext uri="{FF2B5EF4-FFF2-40B4-BE49-F238E27FC236}">
                    <a16:creationId xmlns:a16="http://schemas.microsoft.com/office/drawing/2014/main" id="{6BCB70F4-4B65-4D3D-A8C0-884C75F51963}"/>
                  </a:ext>
                </a:extLst>
              </p:cNvPr>
              <p:cNvSpPr/>
              <p:nvPr/>
            </p:nvSpPr>
            <p:spPr>
              <a:xfrm>
                <a:off x="-1" y="0"/>
                <a:ext cx="4294988" cy="7913643"/>
              </a:xfrm>
              <a:custGeom>
                <a:avLst/>
                <a:gdLst/>
                <a:ahLst/>
                <a:cxnLst>
                  <a:cxn ang="0">
                    <a:pos x="wd2" y="hd2"/>
                  </a:cxn>
                  <a:cxn ang="5400000">
                    <a:pos x="wd2" y="hd2"/>
                  </a:cxn>
                  <a:cxn ang="10800000">
                    <a:pos x="wd2" y="hd2"/>
                  </a:cxn>
                  <a:cxn ang="16200000">
                    <a:pos x="wd2" y="hd2"/>
                  </a:cxn>
                </a:cxnLst>
                <a:rect l="0" t="0" r="r" b="b"/>
                <a:pathLst>
                  <a:path w="21600" h="21600" extrusionOk="0">
                    <a:moveTo>
                      <a:pt x="0" y="1465"/>
                    </a:moveTo>
                    <a:cubicBezTo>
                      <a:pt x="0" y="656"/>
                      <a:pt x="4835" y="0"/>
                      <a:pt x="10800" y="0"/>
                    </a:cubicBezTo>
                    <a:cubicBezTo>
                      <a:pt x="16765" y="0"/>
                      <a:pt x="21600" y="656"/>
                      <a:pt x="21600" y="1465"/>
                    </a:cubicBezTo>
                    <a:lnTo>
                      <a:pt x="21600" y="20135"/>
                    </a:lnTo>
                    <a:cubicBezTo>
                      <a:pt x="21600" y="20944"/>
                      <a:pt x="16765" y="21600"/>
                      <a:pt x="10800" y="21600"/>
                    </a:cubicBezTo>
                    <a:cubicBezTo>
                      <a:pt x="4835" y="21600"/>
                      <a:pt x="0" y="20944"/>
                      <a:pt x="0" y="20135"/>
                    </a:cubicBezTo>
                    <a:close/>
                  </a:path>
                </a:pathLst>
              </a:custGeom>
              <a:solidFill>
                <a:srgbClr val="FFFFFF">
                  <a:alpha val="70000"/>
                </a:srgbClr>
              </a:solidFill>
              <a:ln w="12700" cap="flat">
                <a:noFill/>
                <a:miter lim="400000"/>
              </a:ln>
              <a:effectLst/>
            </p:spPr>
            <p:txBody>
              <a:bodyPr wrap="square" lIns="45720" tIns="45720" rIns="45720" bIns="45720" numCol="1" anchor="ctr">
                <a:normAutofit/>
              </a:bodyPr>
              <a:lstStyle/>
              <a:p>
                <a:pPr algn="ctr">
                  <a:spcBef>
                    <a:spcPts val="0"/>
                  </a:spcBef>
                  <a:defRPr sz="4200"/>
                </a:pPr>
                <a:endParaRPr sz="1575"/>
              </a:p>
            </p:txBody>
          </p:sp>
          <p:sp>
            <p:nvSpPr>
              <p:cNvPr id="112" name="Oval">
                <a:extLst>
                  <a:ext uri="{FF2B5EF4-FFF2-40B4-BE49-F238E27FC236}">
                    <a16:creationId xmlns:a16="http://schemas.microsoft.com/office/drawing/2014/main" id="{71AD36DA-4399-48CA-88FD-A77D0D5D42FC}"/>
                  </a:ext>
                </a:extLst>
              </p:cNvPr>
              <p:cNvSpPr/>
              <p:nvPr/>
            </p:nvSpPr>
            <p:spPr>
              <a:xfrm>
                <a:off x="-1" y="-1"/>
                <a:ext cx="4294988" cy="1073751"/>
              </a:xfrm>
              <a:prstGeom prst="ellipse">
                <a:avLst/>
              </a:prstGeom>
              <a:solidFill>
                <a:srgbClr val="FFFFFF">
                  <a:alpha val="40000"/>
                </a:srgbClr>
              </a:solidFill>
              <a:ln w="12700" cap="flat">
                <a:noFill/>
                <a:miter lim="400000"/>
              </a:ln>
              <a:effectLst/>
            </p:spPr>
            <p:txBody>
              <a:bodyPr wrap="square" lIns="45720" tIns="45720" rIns="45720" bIns="45720" numCol="1" anchor="ctr">
                <a:normAutofit fontScale="92500" lnSpcReduction="20000"/>
              </a:bodyPr>
              <a:lstStyle/>
              <a:p>
                <a:pPr algn="ctr">
                  <a:spcBef>
                    <a:spcPts val="0"/>
                  </a:spcBef>
                  <a:defRPr sz="4200"/>
                </a:pPr>
                <a:endParaRPr sz="1575"/>
              </a:p>
            </p:txBody>
          </p:sp>
          <p:sp>
            <p:nvSpPr>
              <p:cNvPr id="113" name="Linie">
                <a:extLst>
                  <a:ext uri="{FF2B5EF4-FFF2-40B4-BE49-F238E27FC236}">
                    <a16:creationId xmlns:a16="http://schemas.microsoft.com/office/drawing/2014/main" id="{5FF701D4-4742-4ABA-8BDB-DC0B43344739}"/>
                  </a:ext>
                </a:extLst>
              </p:cNvPr>
              <p:cNvSpPr/>
              <p:nvPr/>
            </p:nvSpPr>
            <p:spPr>
              <a:xfrm>
                <a:off x="-1" y="0"/>
                <a:ext cx="4294988" cy="7913643"/>
              </a:xfrm>
              <a:custGeom>
                <a:avLst/>
                <a:gdLst/>
                <a:ahLst/>
                <a:cxnLst>
                  <a:cxn ang="0">
                    <a:pos x="wd2" y="hd2"/>
                  </a:cxn>
                  <a:cxn ang="5400000">
                    <a:pos x="wd2" y="hd2"/>
                  </a:cxn>
                  <a:cxn ang="10800000">
                    <a:pos x="wd2" y="hd2"/>
                  </a:cxn>
                  <a:cxn ang="16200000">
                    <a:pos x="wd2" y="hd2"/>
                  </a:cxn>
                </a:cxnLst>
                <a:rect l="0" t="0" r="r" b="b"/>
                <a:pathLst>
                  <a:path w="21600" h="21600" extrusionOk="0">
                    <a:moveTo>
                      <a:pt x="21600" y="1465"/>
                    </a:moveTo>
                    <a:cubicBezTo>
                      <a:pt x="21600" y="2275"/>
                      <a:pt x="16765" y="2931"/>
                      <a:pt x="10800" y="2931"/>
                    </a:cubicBezTo>
                    <a:cubicBezTo>
                      <a:pt x="4835" y="2931"/>
                      <a:pt x="0" y="2275"/>
                      <a:pt x="0" y="1465"/>
                    </a:cubicBezTo>
                    <a:cubicBezTo>
                      <a:pt x="0" y="656"/>
                      <a:pt x="4835" y="0"/>
                      <a:pt x="10800" y="0"/>
                    </a:cubicBezTo>
                    <a:cubicBezTo>
                      <a:pt x="16765" y="0"/>
                      <a:pt x="21600" y="656"/>
                      <a:pt x="21600" y="1465"/>
                    </a:cubicBezTo>
                    <a:lnTo>
                      <a:pt x="21600" y="20135"/>
                    </a:lnTo>
                    <a:cubicBezTo>
                      <a:pt x="21600" y="20944"/>
                      <a:pt x="16765" y="21600"/>
                      <a:pt x="10800" y="21600"/>
                    </a:cubicBezTo>
                    <a:cubicBezTo>
                      <a:pt x="4835" y="21600"/>
                      <a:pt x="0" y="20944"/>
                      <a:pt x="0" y="20135"/>
                    </a:cubicBezTo>
                    <a:lnTo>
                      <a:pt x="0" y="1465"/>
                    </a:lnTo>
                  </a:path>
                </a:pathLst>
              </a:custGeom>
              <a:noFill/>
              <a:ln w="12700" cap="flat">
                <a:solidFill>
                  <a:schemeClr val="accent1"/>
                </a:solidFill>
                <a:prstDash val="solid"/>
                <a:round/>
              </a:ln>
              <a:effectLst/>
            </p:spPr>
            <p:txBody>
              <a:bodyPr wrap="square" lIns="45720" tIns="45720" rIns="45720" bIns="45720" numCol="1" anchor="ctr">
                <a:normAutofit/>
              </a:bodyPr>
              <a:lstStyle/>
              <a:p>
                <a:pPr algn="ctr">
                  <a:spcBef>
                    <a:spcPts val="0"/>
                  </a:spcBef>
                  <a:defRPr sz="4200"/>
                </a:pPr>
                <a:endParaRPr sz="1575"/>
              </a:p>
            </p:txBody>
          </p:sp>
        </p:grpSp>
        <p:sp>
          <p:nvSpPr>
            <p:cNvPr id="110" name="ZoneTexte 130">
              <a:extLst>
                <a:ext uri="{FF2B5EF4-FFF2-40B4-BE49-F238E27FC236}">
                  <a16:creationId xmlns:a16="http://schemas.microsoft.com/office/drawing/2014/main" id="{592EF828-D789-4799-95C7-6038E4430887}"/>
                </a:ext>
              </a:extLst>
            </p:cNvPr>
            <p:cNvSpPr/>
            <p:nvPr/>
          </p:nvSpPr>
          <p:spPr>
            <a:xfrm>
              <a:off x="-74008" y="1528889"/>
              <a:ext cx="4211064" cy="4240477"/>
            </a:xfrm>
            <a:prstGeom prst="rect">
              <a:avLst/>
            </a:prstGeom>
            <a:noFill/>
            <a:ln w="25400" cap="flat">
              <a:noFill/>
              <a:miter lim="400000"/>
            </a:ln>
            <a:effectLst/>
            <a:extLst>
              <a:ext uri="{C572A759-6A51-4108-AA02-DFA0A04FC94B}">
                <ma14:wrappingTextBoxFlag xmlns:ma14="http://schemas.microsoft.com/office/mac/drawingml/2011/main" xmlns="" val="1"/>
              </a:ext>
            </a:extLst>
          </p:spPr>
          <p:txBody>
            <a:bodyPr wrap="square" lIns="45720" tIns="45720" rIns="45720" bIns="45720" numCol="1" anchor="t">
              <a:spAutoFit/>
            </a:bodyPr>
            <a:lstStyle/>
            <a:p>
              <a:pPr algn="ctr"/>
              <a:r>
                <a:rPr lang="en-US" sz="1400" dirty="0">
                  <a:solidFill>
                    <a:schemeClr val="bg1"/>
                  </a:solidFill>
                  <a:cs typeface="Segoe UI" panose="020B0502040204020203" pitchFamily="34" charset="0"/>
                </a:rPr>
                <a:t>Database</a:t>
              </a:r>
            </a:p>
            <a:p>
              <a:pPr algn="ctr">
                <a:spcBef>
                  <a:spcPts val="840"/>
                </a:spcBef>
              </a:pPr>
              <a:r>
                <a:rPr lang="en-US" sz="1400" dirty="0">
                  <a:solidFill>
                    <a:schemeClr val="bg1"/>
                  </a:solidFill>
                  <a:cs typeface="Segoe UI" panose="020B0502040204020203" pitchFamily="34" charset="0"/>
                </a:rPr>
                <a:t>Code </a:t>
              </a:r>
            </a:p>
            <a:p>
              <a:pPr algn="ctr">
                <a:spcBef>
                  <a:spcPts val="840"/>
                </a:spcBef>
              </a:pPr>
              <a:r>
                <a:rPr lang="en-US" sz="1400" dirty="0">
                  <a:solidFill>
                    <a:schemeClr val="bg1"/>
                  </a:solidFill>
                  <a:cs typeface="Segoe UI" panose="020B0502040204020203" pitchFamily="34" charset="0"/>
                </a:rPr>
                <a:t>Openness (IBM Watson, Google DialogFlow, LBS,...)</a:t>
              </a:r>
              <a:endParaRPr sz="1400" dirty="0"/>
            </a:p>
          </p:txBody>
        </p:sp>
      </p:grpSp>
      <p:pic>
        <p:nvPicPr>
          <p:cNvPr id="114" name="Image 140" descr="Image 140">
            <a:extLst>
              <a:ext uri="{FF2B5EF4-FFF2-40B4-BE49-F238E27FC236}">
                <a16:creationId xmlns:a16="http://schemas.microsoft.com/office/drawing/2014/main" id="{7433A0E5-1A64-400C-9220-804068F47237}"/>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53579" y="3886159"/>
            <a:ext cx="213660" cy="208347"/>
          </a:xfrm>
          <a:prstGeom prst="rect">
            <a:avLst/>
          </a:prstGeom>
          <a:ln w="12700">
            <a:miter lim="400000"/>
          </a:ln>
        </p:spPr>
      </p:pic>
      <p:sp>
        <p:nvSpPr>
          <p:cNvPr id="132" name="Rectangle 131">
            <a:extLst>
              <a:ext uri="{FF2B5EF4-FFF2-40B4-BE49-F238E27FC236}">
                <a16:creationId xmlns:a16="http://schemas.microsoft.com/office/drawing/2014/main" id="{F62BD3CB-D08D-432D-BF85-BC5F50554AC4}"/>
              </a:ext>
            </a:extLst>
          </p:cNvPr>
          <p:cNvSpPr/>
          <p:nvPr/>
        </p:nvSpPr>
        <p:spPr>
          <a:xfrm>
            <a:off x="3743831" y="4773718"/>
            <a:ext cx="1964506" cy="461665"/>
          </a:xfrm>
          <a:prstGeom prst="rect">
            <a:avLst/>
          </a:prstGeom>
        </p:spPr>
        <p:txBody>
          <a:bodyPr wrap="square">
            <a:spAutoFit/>
          </a:bodyPr>
          <a:lstStyle/>
          <a:p>
            <a:pPr algn="ctr"/>
            <a:r>
              <a:rPr lang="fr-FR" sz="2400" b="1" kern="0" dirty="0">
                <a:solidFill>
                  <a:schemeClr val="bg1"/>
                </a:solidFill>
                <a:latin typeface="Verdana" panose="020B0604030504040204" pitchFamily="34" charset="0"/>
                <a:ea typeface="Verdana" panose="020B0604030504040204" pitchFamily="34" charset="0"/>
                <a:cs typeface="Verdana" panose="020B0604030504040204" pitchFamily="34" charset="0"/>
              </a:rPr>
              <a:t>IoT Hub</a:t>
            </a:r>
            <a:endParaRPr lang="en-US" sz="2400" b="1" kern="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41" name="TextBox 140">
            <a:extLst>
              <a:ext uri="{FF2B5EF4-FFF2-40B4-BE49-F238E27FC236}">
                <a16:creationId xmlns:a16="http://schemas.microsoft.com/office/drawing/2014/main" id="{A18B93E7-825B-4D1E-B117-C0FFD34E75F1}"/>
              </a:ext>
            </a:extLst>
          </p:cNvPr>
          <p:cNvSpPr txBox="1"/>
          <p:nvPr/>
        </p:nvSpPr>
        <p:spPr>
          <a:xfrm>
            <a:off x="6186809" y="1659613"/>
            <a:ext cx="2895344" cy="2739211"/>
          </a:xfrm>
          <a:prstGeom prst="rect">
            <a:avLst/>
          </a:prstGeom>
          <a:noFill/>
        </p:spPr>
        <p:txBody>
          <a:bodyPr wrap="none" rtlCol="0">
            <a:spAutoFit/>
          </a:bodyPr>
          <a:lstStyle/>
          <a:p>
            <a:pPr algn="ctr">
              <a:spcBef>
                <a:spcPts val="1200"/>
              </a:spcBef>
            </a:pPr>
            <a:r>
              <a:rPr lang="en-US" sz="1600" b="1" dirty="0">
                <a:solidFill>
                  <a:schemeClr val="bg1"/>
                </a:solidFill>
                <a:latin typeface="+mj-lt"/>
                <a:cs typeface="Segoe UI" panose="020B0502040204020203" pitchFamily="34" charset="0"/>
              </a:rPr>
              <a:t>Data Driven Decision Making</a:t>
            </a:r>
          </a:p>
          <a:p>
            <a:pPr algn="ctr">
              <a:spcBef>
                <a:spcPts val="1200"/>
              </a:spcBef>
            </a:pPr>
            <a:r>
              <a:rPr lang="en-US" sz="1600" b="1" dirty="0">
                <a:solidFill>
                  <a:schemeClr val="bg1"/>
                </a:solidFill>
                <a:latin typeface="+mj-lt"/>
                <a:cs typeface="Segoe UI" panose="020B0502040204020203" pitchFamily="34" charset="0"/>
              </a:rPr>
              <a:t>Machine-To-Machine</a:t>
            </a:r>
          </a:p>
          <a:p>
            <a:pPr algn="ctr">
              <a:spcBef>
                <a:spcPts val="1200"/>
              </a:spcBef>
            </a:pPr>
            <a:r>
              <a:rPr lang="en-US" sz="1600" b="1" dirty="0">
                <a:solidFill>
                  <a:schemeClr val="bg1"/>
                </a:solidFill>
                <a:latin typeface="+mj-lt"/>
                <a:cs typeface="Segoe UI" panose="020B0502040204020203" pitchFamily="34" charset="0"/>
              </a:rPr>
              <a:t>IoT-To-Human</a:t>
            </a:r>
          </a:p>
          <a:p>
            <a:pPr algn="ctr">
              <a:spcBef>
                <a:spcPts val="1200"/>
              </a:spcBef>
            </a:pPr>
            <a:r>
              <a:rPr lang="en-US" sz="1600" b="1" dirty="0">
                <a:solidFill>
                  <a:schemeClr val="bg1"/>
                </a:solidFill>
                <a:latin typeface="+mj-lt"/>
                <a:cs typeface="Segoe UI" panose="020B0502040204020203" pitchFamily="34" charset="0"/>
              </a:rPr>
              <a:t>IoT Control</a:t>
            </a:r>
          </a:p>
          <a:p>
            <a:pPr algn="ctr">
              <a:spcBef>
                <a:spcPts val="1200"/>
              </a:spcBef>
            </a:pPr>
            <a:r>
              <a:rPr lang="en-US" sz="1600" b="1" dirty="0">
                <a:solidFill>
                  <a:schemeClr val="bg1"/>
                </a:solidFill>
                <a:latin typeface="+mj-lt"/>
                <a:cs typeface="Segoe UI" panose="020B0502040204020203" pitchFamily="34" charset="0"/>
              </a:rPr>
              <a:t>Data Analytics</a:t>
            </a:r>
          </a:p>
          <a:p>
            <a:pPr algn="ctr">
              <a:spcBef>
                <a:spcPts val="1200"/>
              </a:spcBef>
            </a:pPr>
            <a:r>
              <a:rPr lang="en-US" sz="1600" b="1" dirty="0">
                <a:solidFill>
                  <a:schemeClr val="bg1"/>
                </a:solidFill>
                <a:latin typeface="+mj-lt"/>
                <a:cs typeface="Segoe UI" panose="020B0502040204020203" pitchFamily="34" charset="0"/>
              </a:rPr>
              <a:t>Automation</a:t>
            </a:r>
          </a:p>
          <a:p>
            <a:pPr algn="ctr">
              <a:spcBef>
                <a:spcPts val="1200"/>
              </a:spcBef>
            </a:pPr>
            <a:r>
              <a:rPr lang="en-US" sz="1600" b="1" dirty="0">
                <a:solidFill>
                  <a:schemeClr val="bg1"/>
                </a:solidFill>
                <a:latin typeface="+mj-lt"/>
                <a:cs typeface="Segoe UI" panose="020B0502040204020203" pitchFamily="34" charset="0"/>
              </a:rPr>
              <a:t>Dashboards</a:t>
            </a:r>
          </a:p>
        </p:txBody>
      </p:sp>
      <p:sp>
        <p:nvSpPr>
          <p:cNvPr id="142" name="TextBox 141">
            <a:extLst>
              <a:ext uri="{FF2B5EF4-FFF2-40B4-BE49-F238E27FC236}">
                <a16:creationId xmlns:a16="http://schemas.microsoft.com/office/drawing/2014/main" id="{D2F9B210-BB75-4E69-92D3-23F81A8766E8}"/>
              </a:ext>
            </a:extLst>
          </p:cNvPr>
          <p:cNvSpPr txBox="1"/>
          <p:nvPr/>
        </p:nvSpPr>
        <p:spPr>
          <a:xfrm>
            <a:off x="2598175" y="2054541"/>
            <a:ext cx="776175" cy="2062103"/>
          </a:xfrm>
          <a:prstGeom prst="rect">
            <a:avLst/>
          </a:prstGeom>
          <a:noFill/>
        </p:spPr>
        <p:txBody>
          <a:bodyPr wrap="none" rtlCol="0">
            <a:spAutoFit/>
          </a:bodyPr>
          <a:lstStyle/>
          <a:p>
            <a:pPr algn="ctr">
              <a:spcBef>
                <a:spcPts val="600"/>
              </a:spcBef>
            </a:pPr>
            <a:r>
              <a:rPr lang="en-US" sz="1400" dirty="0">
                <a:solidFill>
                  <a:schemeClr val="bg1"/>
                </a:solidFill>
                <a:latin typeface="+mj-lt"/>
                <a:cs typeface="Segoe UI" panose="020B0502040204020203" pitchFamily="34" charset="0"/>
              </a:rPr>
              <a:t>Sigfox</a:t>
            </a:r>
          </a:p>
          <a:p>
            <a:pPr algn="ctr">
              <a:spcBef>
                <a:spcPts val="600"/>
              </a:spcBef>
            </a:pPr>
            <a:r>
              <a:rPr lang="en-US" sz="1400" dirty="0">
                <a:solidFill>
                  <a:schemeClr val="bg1"/>
                </a:solidFill>
                <a:latin typeface="+mj-lt"/>
                <a:cs typeface="Segoe UI" panose="020B0502040204020203" pitchFamily="34" charset="0"/>
              </a:rPr>
              <a:t>BLE</a:t>
            </a:r>
          </a:p>
          <a:p>
            <a:pPr algn="ctr">
              <a:spcBef>
                <a:spcPts val="600"/>
              </a:spcBef>
            </a:pPr>
            <a:r>
              <a:rPr lang="en-US" sz="1400" dirty="0">
                <a:solidFill>
                  <a:schemeClr val="bg1"/>
                </a:solidFill>
                <a:latin typeface="+mj-lt"/>
                <a:cs typeface="Segoe UI" panose="020B0502040204020203" pitchFamily="34" charset="0"/>
              </a:rPr>
              <a:t>LORA</a:t>
            </a:r>
          </a:p>
          <a:p>
            <a:pPr algn="ctr">
              <a:spcBef>
                <a:spcPts val="600"/>
              </a:spcBef>
            </a:pPr>
            <a:r>
              <a:rPr lang="en-US" sz="1400" dirty="0">
                <a:solidFill>
                  <a:schemeClr val="bg1"/>
                </a:solidFill>
                <a:latin typeface="+mj-lt"/>
                <a:cs typeface="Segoe UI" panose="020B0502040204020203" pitchFamily="34" charset="0"/>
              </a:rPr>
              <a:t>KNX</a:t>
            </a:r>
          </a:p>
          <a:p>
            <a:pPr algn="ctr">
              <a:spcBef>
                <a:spcPts val="600"/>
              </a:spcBef>
            </a:pPr>
            <a:r>
              <a:rPr lang="en-US" sz="1400" dirty="0">
                <a:solidFill>
                  <a:schemeClr val="bg1"/>
                </a:solidFill>
                <a:latin typeface="+mj-lt"/>
                <a:cs typeface="Segoe UI" panose="020B0502040204020203" pitchFamily="34" charset="0"/>
              </a:rPr>
              <a:t>Modbus</a:t>
            </a:r>
          </a:p>
          <a:p>
            <a:pPr algn="ctr">
              <a:spcBef>
                <a:spcPts val="600"/>
              </a:spcBef>
            </a:pPr>
            <a:r>
              <a:rPr lang="en-US" sz="1400" dirty="0">
                <a:solidFill>
                  <a:schemeClr val="bg1"/>
                </a:solidFill>
                <a:latin typeface="+mj-lt"/>
                <a:cs typeface="Segoe UI" panose="020B0502040204020203" pitchFamily="34" charset="0"/>
              </a:rPr>
              <a:t>MQTT</a:t>
            </a:r>
          </a:p>
          <a:p>
            <a:pPr algn="ctr">
              <a:spcBef>
                <a:spcPts val="600"/>
              </a:spcBef>
            </a:pPr>
            <a:r>
              <a:rPr lang="en-US" sz="1400" dirty="0">
                <a:solidFill>
                  <a:schemeClr val="bg1"/>
                </a:solidFill>
                <a:latin typeface="+mj-lt"/>
                <a:cs typeface="Segoe UI" panose="020B0502040204020203" pitchFamily="34" charset="0"/>
              </a:rPr>
              <a:t>&amp; more</a:t>
            </a:r>
          </a:p>
        </p:txBody>
      </p:sp>
      <p:grpSp>
        <p:nvGrpSpPr>
          <p:cNvPr id="143" name="Group 31">
            <a:extLst>
              <a:ext uri="{FF2B5EF4-FFF2-40B4-BE49-F238E27FC236}">
                <a16:creationId xmlns:a16="http://schemas.microsoft.com/office/drawing/2014/main" id="{854F9E5A-9310-4447-B006-1F9D7416CB9F}"/>
              </a:ext>
            </a:extLst>
          </p:cNvPr>
          <p:cNvGrpSpPr>
            <a:grpSpLocks noChangeAspect="1"/>
          </p:cNvGrpSpPr>
          <p:nvPr/>
        </p:nvGrpSpPr>
        <p:grpSpPr>
          <a:xfrm>
            <a:off x="1627680" y="1558849"/>
            <a:ext cx="521995" cy="470485"/>
            <a:chOff x="4967288" y="2654300"/>
            <a:chExt cx="2397125" cy="2160588"/>
          </a:xfrm>
          <a:solidFill>
            <a:schemeClr val="bg1"/>
          </a:solidFill>
        </p:grpSpPr>
        <p:sp>
          <p:nvSpPr>
            <p:cNvPr id="144" name="Freeform 56">
              <a:extLst>
                <a:ext uri="{FF2B5EF4-FFF2-40B4-BE49-F238E27FC236}">
                  <a16:creationId xmlns:a16="http://schemas.microsoft.com/office/drawing/2014/main" id="{0F712ED3-53FA-4052-A531-803C32B4D6F9}"/>
                </a:ext>
              </a:extLst>
            </p:cNvPr>
            <p:cNvSpPr>
              <a:spLocks noChangeArrowheads="1"/>
            </p:cNvSpPr>
            <p:nvPr/>
          </p:nvSpPr>
          <p:spPr bwMode="auto">
            <a:xfrm>
              <a:off x="5170488" y="2722563"/>
              <a:ext cx="2193925" cy="2092325"/>
            </a:xfrm>
            <a:custGeom>
              <a:avLst/>
              <a:gdLst>
                <a:gd name="T0" fmla="*/ 5655 w 6093"/>
                <a:gd name="T1" fmla="*/ 4311 h 5812"/>
                <a:gd name="T2" fmla="*/ 5655 w 6093"/>
                <a:gd name="T3" fmla="*/ 4311 h 5812"/>
                <a:gd name="T4" fmla="*/ 5999 w 6093"/>
                <a:gd name="T5" fmla="*/ 3811 h 5812"/>
                <a:gd name="T6" fmla="*/ 1750 w 6093"/>
                <a:gd name="T7" fmla="*/ 2500 h 5812"/>
                <a:gd name="T8" fmla="*/ 1531 w 6093"/>
                <a:gd name="T9" fmla="*/ 3249 h 5812"/>
                <a:gd name="T10" fmla="*/ 1187 w 6093"/>
                <a:gd name="T11" fmla="*/ 3155 h 5812"/>
                <a:gd name="T12" fmla="*/ 937 w 6093"/>
                <a:gd name="T13" fmla="*/ 2812 h 5812"/>
                <a:gd name="T14" fmla="*/ 937 w 6093"/>
                <a:gd name="T15" fmla="*/ 1375 h 5812"/>
                <a:gd name="T16" fmla="*/ 968 w 6093"/>
                <a:gd name="T17" fmla="*/ 1375 h 5812"/>
                <a:gd name="T18" fmla="*/ 1312 w 6093"/>
                <a:gd name="T19" fmla="*/ 1031 h 5812"/>
                <a:gd name="T20" fmla="*/ 1312 w 6093"/>
                <a:gd name="T21" fmla="*/ 687 h 5812"/>
                <a:gd name="T22" fmla="*/ 1781 w 6093"/>
                <a:gd name="T23" fmla="*/ 687 h 5812"/>
                <a:gd name="T24" fmla="*/ 2125 w 6093"/>
                <a:gd name="T25" fmla="*/ 344 h 5812"/>
                <a:gd name="T26" fmla="*/ 2125 w 6093"/>
                <a:gd name="T27" fmla="*/ 0 h 5812"/>
                <a:gd name="T28" fmla="*/ 468 w 6093"/>
                <a:gd name="T29" fmla="*/ 0 h 5812"/>
                <a:gd name="T30" fmla="*/ 468 w 6093"/>
                <a:gd name="T31" fmla="*/ 0 h 5812"/>
                <a:gd name="T32" fmla="*/ 0 w 6093"/>
                <a:gd name="T33" fmla="*/ 844 h 5812"/>
                <a:gd name="T34" fmla="*/ 0 w 6093"/>
                <a:gd name="T35" fmla="*/ 1031 h 5812"/>
                <a:gd name="T36" fmla="*/ 343 w 6093"/>
                <a:gd name="T37" fmla="*/ 1375 h 5812"/>
                <a:gd name="T38" fmla="*/ 375 w 6093"/>
                <a:gd name="T39" fmla="*/ 1375 h 5812"/>
                <a:gd name="T40" fmla="*/ 375 w 6093"/>
                <a:gd name="T41" fmla="*/ 2812 h 5812"/>
                <a:gd name="T42" fmla="*/ 125 w 6093"/>
                <a:gd name="T43" fmla="*/ 3280 h 5812"/>
                <a:gd name="T44" fmla="*/ 656 w 6093"/>
                <a:gd name="T45" fmla="*/ 3811 h 5812"/>
                <a:gd name="T46" fmla="*/ 1000 w 6093"/>
                <a:gd name="T47" fmla="*/ 3718 h 5812"/>
                <a:gd name="T48" fmla="*/ 1343 w 6093"/>
                <a:gd name="T49" fmla="*/ 3811 h 5812"/>
                <a:gd name="T50" fmla="*/ 1062 w 6093"/>
                <a:gd name="T51" fmla="*/ 4686 h 5812"/>
                <a:gd name="T52" fmla="*/ 4655 w 6093"/>
                <a:gd name="T53" fmla="*/ 5811 h 5812"/>
                <a:gd name="T54" fmla="*/ 4905 w 6093"/>
                <a:gd name="T55" fmla="*/ 5436 h 5812"/>
                <a:gd name="T56" fmla="*/ 5717 w 6093"/>
                <a:gd name="T57" fmla="*/ 5686 h 5812"/>
                <a:gd name="T58" fmla="*/ 6092 w 6093"/>
                <a:gd name="T59" fmla="*/ 4436 h 5812"/>
                <a:gd name="T60" fmla="*/ 5655 w 6093"/>
                <a:gd name="T61" fmla="*/ 4311 h 5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93" h="5812">
                  <a:moveTo>
                    <a:pt x="5655" y="4311"/>
                  </a:moveTo>
                  <a:lnTo>
                    <a:pt x="5655" y="4311"/>
                  </a:lnTo>
                  <a:cubicBezTo>
                    <a:pt x="5999" y="3811"/>
                    <a:pt x="5999" y="3811"/>
                    <a:pt x="5999" y="3811"/>
                  </a:cubicBezTo>
                  <a:cubicBezTo>
                    <a:pt x="1750" y="2500"/>
                    <a:pt x="1750" y="2500"/>
                    <a:pt x="1750" y="2500"/>
                  </a:cubicBezTo>
                  <a:cubicBezTo>
                    <a:pt x="1531" y="3249"/>
                    <a:pt x="1531" y="3249"/>
                    <a:pt x="1531" y="3249"/>
                  </a:cubicBezTo>
                  <a:cubicBezTo>
                    <a:pt x="1187" y="3155"/>
                    <a:pt x="1187" y="3155"/>
                    <a:pt x="1187" y="3155"/>
                  </a:cubicBezTo>
                  <a:cubicBezTo>
                    <a:pt x="1156" y="3030"/>
                    <a:pt x="1062" y="2905"/>
                    <a:pt x="937" y="2812"/>
                  </a:cubicBezTo>
                  <a:cubicBezTo>
                    <a:pt x="937" y="1375"/>
                    <a:pt x="937" y="1375"/>
                    <a:pt x="937" y="1375"/>
                  </a:cubicBezTo>
                  <a:cubicBezTo>
                    <a:pt x="968" y="1375"/>
                    <a:pt x="968" y="1375"/>
                    <a:pt x="968" y="1375"/>
                  </a:cubicBezTo>
                  <a:cubicBezTo>
                    <a:pt x="1312" y="1031"/>
                    <a:pt x="1312" y="1031"/>
                    <a:pt x="1312" y="1031"/>
                  </a:cubicBezTo>
                  <a:cubicBezTo>
                    <a:pt x="1312" y="687"/>
                    <a:pt x="1312" y="687"/>
                    <a:pt x="1312" y="687"/>
                  </a:cubicBezTo>
                  <a:cubicBezTo>
                    <a:pt x="1781" y="687"/>
                    <a:pt x="1781" y="687"/>
                    <a:pt x="1781" y="687"/>
                  </a:cubicBezTo>
                  <a:cubicBezTo>
                    <a:pt x="2125" y="344"/>
                    <a:pt x="2125" y="344"/>
                    <a:pt x="2125" y="344"/>
                  </a:cubicBezTo>
                  <a:cubicBezTo>
                    <a:pt x="2125" y="0"/>
                    <a:pt x="2125" y="0"/>
                    <a:pt x="2125" y="0"/>
                  </a:cubicBezTo>
                  <a:cubicBezTo>
                    <a:pt x="468" y="0"/>
                    <a:pt x="468" y="0"/>
                    <a:pt x="468" y="0"/>
                  </a:cubicBezTo>
                  <a:lnTo>
                    <a:pt x="468" y="0"/>
                  </a:lnTo>
                  <a:cubicBezTo>
                    <a:pt x="531" y="375"/>
                    <a:pt x="312" y="719"/>
                    <a:pt x="0" y="844"/>
                  </a:cubicBezTo>
                  <a:cubicBezTo>
                    <a:pt x="0" y="1031"/>
                    <a:pt x="0" y="1031"/>
                    <a:pt x="0" y="1031"/>
                  </a:cubicBezTo>
                  <a:cubicBezTo>
                    <a:pt x="343" y="1375"/>
                    <a:pt x="343" y="1375"/>
                    <a:pt x="343" y="1375"/>
                  </a:cubicBezTo>
                  <a:cubicBezTo>
                    <a:pt x="375" y="1375"/>
                    <a:pt x="375" y="1375"/>
                    <a:pt x="375" y="1375"/>
                  </a:cubicBezTo>
                  <a:cubicBezTo>
                    <a:pt x="375" y="2812"/>
                    <a:pt x="375" y="2812"/>
                    <a:pt x="375" y="2812"/>
                  </a:cubicBezTo>
                  <a:cubicBezTo>
                    <a:pt x="218" y="2905"/>
                    <a:pt x="125" y="3093"/>
                    <a:pt x="125" y="3280"/>
                  </a:cubicBezTo>
                  <a:cubicBezTo>
                    <a:pt x="125" y="3593"/>
                    <a:pt x="343" y="3811"/>
                    <a:pt x="656" y="3811"/>
                  </a:cubicBezTo>
                  <a:cubicBezTo>
                    <a:pt x="781" y="3811"/>
                    <a:pt x="906" y="3780"/>
                    <a:pt x="1000" y="3718"/>
                  </a:cubicBezTo>
                  <a:cubicBezTo>
                    <a:pt x="1343" y="3811"/>
                    <a:pt x="1343" y="3811"/>
                    <a:pt x="1343" y="3811"/>
                  </a:cubicBezTo>
                  <a:cubicBezTo>
                    <a:pt x="1062" y="4686"/>
                    <a:pt x="1062" y="4686"/>
                    <a:pt x="1062" y="4686"/>
                  </a:cubicBezTo>
                  <a:cubicBezTo>
                    <a:pt x="4655" y="5811"/>
                    <a:pt x="4655" y="5811"/>
                    <a:pt x="4655" y="5811"/>
                  </a:cubicBezTo>
                  <a:cubicBezTo>
                    <a:pt x="4905" y="5436"/>
                    <a:pt x="4905" y="5436"/>
                    <a:pt x="4905" y="5436"/>
                  </a:cubicBezTo>
                  <a:cubicBezTo>
                    <a:pt x="5717" y="5686"/>
                    <a:pt x="5717" y="5686"/>
                    <a:pt x="5717" y="5686"/>
                  </a:cubicBezTo>
                  <a:cubicBezTo>
                    <a:pt x="6092" y="4436"/>
                    <a:pt x="6092" y="4436"/>
                    <a:pt x="6092" y="4436"/>
                  </a:cubicBezTo>
                  <a:lnTo>
                    <a:pt x="5655" y="431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AU" sz="1600" dirty="0">
                <a:solidFill>
                  <a:schemeClr val="bg1"/>
                </a:solidFill>
              </a:endParaRPr>
            </a:p>
          </p:txBody>
        </p:sp>
        <p:sp>
          <p:nvSpPr>
            <p:cNvPr id="145" name="Freeform 57">
              <a:extLst>
                <a:ext uri="{FF2B5EF4-FFF2-40B4-BE49-F238E27FC236}">
                  <a16:creationId xmlns:a16="http://schemas.microsoft.com/office/drawing/2014/main" id="{6239A9DF-403F-40ED-ADFC-E10CD5B59875}"/>
                </a:ext>
              </a:extLst>
            </p:cNvPr>
            <p:cNvSpPr>
              <a:spLocks noChangeArrowheads="1"/>
            </p:cNvSpPr>
            <p:nvPr/>
          </p:nvSpPr>
          <p:spPr bwMode="auto">
            <a:xfrm>
              <a:off x="4967288" y="2654300"/>
              <a:ext cx="214312" cy="225425"/>
            </a:xfrm>
            <a:custGeom>
              <a:avLst/>
              <a:gdLst>
                <a:gd name="T0" fmla="*/ 344 w 595"/>
                <a:gd name="T1" fmla="*/ 594 h 626"/>
                <a:gd name="T2" fmla="*/ 344 w 595"/>
                <a:gd name="T3" fmla="*/ 594 h 626"/>
                <a:gd name="T4" fmla="*/ 594 w 595"/>
                <a:gd name="T5" fmla="*/ 250 h 626"/>
                <a:gd name="T6" fmla="*/ 250 w 595"/>
                <a:gd name="T7" fmla="*/ 32 h 626"/>
                <a:gd name="T8" fmla="*/ 0 w 595"/>
                <a:gd name="T9" fmla="*/ 344 h 626"/>
                <a:gd name="T10" fmla="*/ 344 w 595"/>
                <a:gd name="T11" fmla="*/ 594 h 626"/>
              </a:gdLst>
              <a:ahLst/>
              <a:cxnLst>
                <a:cxn ang="0">
                  <a:pos x="T0" y="T1"/>
                </a:cxn>
                <a:cxn ang="0">
                  <a:pos x="T2" y="T3"/>
                </a:cxn>
                <a:cxn ang="0">
                  <a:pos x="T4" y="T5"/>
                </a:cxn>
                <a:cxn ang="0">
                  <a:pos x="T6" y="T7"/>
                </a:cxn>
                <a:cxn ang="0">
                  <a:pos x="T8" y="T9"/>
                </a:cxn>
                <a:cxn ang="0">
                  <a:pos x="T10" y="T11"/>
                </a:cxn>
              </a:cxnLst>
              <a:rect l="0" t="0" r="r" b="b"/>
              <a:pathLst>
                <a:path w="595" h="626">
                  <a:moveTo>
                    <a:pt x="344" y="594"/>
                  </a:moveTo>
                  <a:lnTo>
                    <a:pt x="344" y="594"/>
                  </a:lnTo>
                  <a:cubicBezTo>
                    <a:pt x="500" y="563"/>
                    <a:pt x="594" y="407"/>
                    <a:pt x="594" y="250"/>
                  </a:cubicBezTo>
                  <a:cubicBezTo>
                    <a:pt x="563" y="94"/>
                    <a:pt x="406" y="0"/>
                    <a:pt x="250" y="32"/>
                  </a:cubicBezTo>
                  <a:cubicBezTo>
                    <a:pt x="94" y="63"/>
                    <a:pt x="0" y="188"/>
                    <a:pt x="0" y="344"/>
                  </a:cubicBezTo>
                  <a:cubicBezTo>
                    <a:pt x="31" y="500"/>
                    <a:pt x="188" y="625"/>
                    <a:pt x="344" y="59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AU" sz="1600" dirty="0">
                <a:solidFill>
                  <a:schemeClr val="bg1"/>
                </a:solidFill>
              </a:endParaRPr>
            </a:p>
          </p:txBody>
        </p:sp>
      </p:grpSp>
      <p:grpSp>
        <p:nvGrpSpPr>
          <p:cNvPr id="152" name="Group 208">
            <a:extLst>
              <a:ext uri="{FF2B5EF4-FFF2-40B4-BE49-F238E27FC236}">
                <a16:creationId xmlns:a16="http://schemas.microsoft.com/office/drawing/2014/main" id="{0ADB12F9-314E-4D82-8A26-EA4AF1D7F5F1}"/>
              </a:ext>
            </a:extLst>
          </p:cNvPr>
          <p:cNvGrpSpPr/>
          <p:nvPr/>
        </p:nvGrpSpPr>
        <p:grpSpPr>
          <a:xfrm>
            <a:off x="1769169" y="2161070"/>
            <a:ext cx="283265" cy="590675"/>
            <a:chOff x="7833810" y="4374583"/>
            <a:chExt cx="333375" cy="677863"/>
          </a:xfrm>
          <a:solidFill>
            <a:schemeClr val="bg1"/>
          </a:solidFill>
        </p:grpSpPr>
        <p:sp>
          <p:nvSpPr>
            <p:cNvPr id="153" name="Freeform 38">
              <a:extLst>
                <a:ext uri="{FF2B5EF4-FFF2-40B4-BE49-F238E27FC236}">
                  <a16:creationId xmlns:a16="http://schemas.microsoft.com/office/drawing/2014/main" id="{484474CC-23D0-492D-A273-C9F9F0C6EE0A}"/>
                </a:ext>
              </a:extLst>
            </p:cNvPr>
            <p:cNvSpPr>
              <a:spLocks/>
            </p:cNvSpPr>
            <p:nvPr/>
          </p:nvSpPr>
          <p:spPr bwMode="auto">
            <a:xfrm>
              <a:off x="7887785" y="4566670"/>
              <a:ext cx="58737" cy="57150"/>
            </a:xfrm>
            <a:custGeom>
              <a:avLst/>
              <a:gdLst>
                <a:gd name="T0" fmla="*/ 14 w 21"/>
                <a:gd name="T1" fmla="*/ 18 h 20"/>
                <a:gd name="T2" fmla="*/ 19 w 21"/>
                <a:gd name="T3" fmla="*/ 6 h 20"/>
                <a:gd name="T4" fmla="*/ 7 w 21"/>
                <a:gd name="T5" fmla="*/ 2 h 20"/>
                <a:gd name="T6" fmla="*/ 2 w 21"/>
                <a:gd name="T7" fmla="*/ 14 h 20"/>
                <a:gd name="T8" fmla="*/ 14 w 21"/>
                <a:gd name="T9" fmla="*/ 18 h 20"/>
              </a:gdLst>
              <a:ahLst/>
              <a:cxnLst>
                <a:cxn ang="0">
                  <a:pos x="T0" y="T1"/>
                </a:cxn>
                <a:cxn ang="0">
                  <a:pos x="T2" y="T3"/>
                </a:cxn>
                <a:cxn ang="0">
                  <a:pos x="T4" y="T5"/>
                </a:cxn>
                <a:cxn ang="0">
                  <a:pos x="T6" y="T7"/>
                </a:cxn>
                <a:cxn ang="0">
                  <a:pos x="T8" y="T9"/>
                </a:cxn>
              </a:cxnLst>
              <a:rect l="0" t="0" r="r" b="b"/>
              <a:pathLst>
                <a:path w="21" h="20">
                  <a:moveTo>
                    <a:pt x="14" y="18"/>
                  </a:moveTo>
                  <a:cubicBezTo>
                    <a:pt x="19" y="16"/>
                    <a:pt x="21" y="11"/>
                    <a:pt x="19" y="6"/>
                  </a:cubicBezTo>
                  <a:cubicBezTo>
                    <a:pt x="17" y="2"/>
                    <a:pt x="12" y="0"/>
                    <a:pt x="7" y="2"/>
                  </a:cubicBezTo>
                  <a:cubicBezTo>
                    <a:pt x="2" y="4"/>
                    <a:pt x="0" y="9"/>
                    <a:pt x="2" y="14"/>
                  </a:cubicBezTo>
                  <a:cubicBezTo>
                    <a:pt x="4" y="18"/>
                    <a:pt x="10" y="20"/>
                    <a:pt x="14" y="1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39">
              <a:extLst>
                <a:ext uri="{FF2B5EF4-FFF2-40B4-BE49-F238E27FC236}">
                  <a16:creationId xmlns:a16="http://schemas.microsoft.com/office/drawing/2014/main" id="{FA4B6A32-7470-450D-9B6C-FD69D704DB4F}"/>
                </a:ext>
              </a:extLst>
            </p:cNvPr>
            <p:cNvSpPr>
              <a:spLocks/>
            </p:cNvSpPr>
            <p:nvPr/>
          </p:nvSpPr>
          <p:spPr bwMode="auto">
            <a:xfrm>
              <a:off x="7921122" y="4374583"/>
              <a:ext cx="136525" cy="141288"/>
            </a:xfrm>
            <a:custGeom>
              <a:avLst/>
              <a:gdLst>
                <a:gd name="T0" fmla="*/ 0 w 48"/>
                <a:gd name="T1" fmla="*/ 36 h 50"/>
                <a:gd name="T2" fmla="*/ 23 w 48"/>
                <a:gd name="T3" fmla="*/ 50 h 50"/>
                <a:gd name="T4" fmla="*/ 48 w 48"/>
                <a:gd name="T5" fmla="*/ 25 h 50"/>
                <a:gd name="T6" fmla="*/ 23 w 48"/>
                <a:gd name="T7" fmla="*/ 0 h 50"/>
                <a:gd name="T8" fmla="*/ 0 w 48"/>
                <a:gd name="T9" fmla="*/ 13 h 50"/>
                <a:gd name="T10" fmla="*/ 5 w 48"/>
                <a:gd name="T11" fmla="*/ 26 h 50"/>
                <a:gd name="T12" fmla="*/ 0 w 48"/>
                <a:gd name="T13" fmla="*/ 36 h 50"/>
              </a:gdLst>
              <a:ahLst/>
              <a:cxnLst>
                <a:cxn ang="0">
                  <a:pos x="T0" y="T1"/>
                </a:cxn>
                <a:cxn ang="0">
                  <a:pos x="T2" y="T3"/>
                </a:cxn>
                <a:cxn ang="0">
                  <a:pos x="T4" y="T5"/>
                </a:cxn>
                <a:cxn ang="0">
                  <a:pos x="T6" y="T7"/>
                </a:cxn>
                <a:cxn ang="0">
                  <a:pos x="T8" y="T9"/>
                </a:cxn>
                <a:cxn ang="0">
                  <a:pos x="T10" y="T11"/>
                </a:cxn>
                <a:cxn ang="0">
                  <a:pos x="T12" y="T13"/>
                </a:cxn>
              </a:cxnLst>
              <a:rect l="0" t="0" r="r" b="b"/>
              <a:pathLst>
                <a:path w="48" h="50">
                  <a:moveTo>
                    <a:pt x="0" y="36"/>
                  </a:moveTo>
                  <a:cubicBezTo>
                    <a:pt x="4" y="44"/>
                    <a:pt x="12" y="50"/>
                    <a:pt x="23" y="50"/>
                  </a:cubicBezTo>
                  <a:cubicBezTo>
                    <a:pt x="37" y="50"/>
                    <a:pt x="48" y="39"/>
                    <a:pt x="48" y="25"/>
                  </a:cubicBezTo>
                  <a:cubicBezTo>
                    <a:pt x="48" y="11"/>
                    <a:pt x="37" y="0"/>
                    <a:pt x="23" y="0"/>
                  </a:cubicBezTo>
                  <a:cubicBezTo>
                    <a:pt x="13" y="0"/>
                    <a:pt x="4" y="5"/>
                    <a:pt x="0" y="13"/>
                  </a:cubicBezTo>
                  <a:cubicBezTo>
                    <a:pt x="2" y="16"/>
                    <a:pt x="4" y="23"/>
                    <a:pt x="5" y="26"/>
                  </a:cubicBezTo>
                  <a:cubicBezTo>
                    <a:pt x="5" y="28"/>
                    <a:pt x="6" y="41"/>
                    <a:pt x="0" y="3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40">
              <a:extLst>
                <a:ext uri="{FF2B5EF4-FFF2-40B4-BE49-F238E27FC236}">
                  <a16:creationId xmlns:a16="http://schemas.microsoft.com/office/drawing/2014/main" id="{D7A5DC78-348E-451D-B1EB-B4BD7D1736C8}"/>
                </a:ext>
              </a:extLst>
            </p:cNvPr>
            <p:cNvSpPr>
              <a:spLocks/>
            </p:cNvSpPr>
            <p:nvPr/>
          </p:nvSpPr>
          <p:spPr bwMode="auto">
            <a:xfrm>
              <a:off x="7833810" y="4530158"/>
              <a:ext cx="333375" cy="522288"/>
            </a:xfrm>
            <a:custGeom>
              <a:avLst/>
              <a:gdLst>
                <a:gd name="T0" fmla="*/ 23 w 118"/>
                <a:gd name="T1" fmla="*/ 46 h 185"/>
                <a:gd name="T2" fmla="*/ 23 w 118"/>
                <a:gd name="T3" fmla="*/ 70 h 185"/>
                <a:gd name="T4" fmla="*/ 35 w 118"/>
                <a:gd name="T5" fmla="*/ 94 h 185"/>
                <a:gd name="T6" fmla="*/ 1 w 118"/>
                <a:gd name="T7" fmla="*/ 167 h 185"/>
                <a:gd name="T8" fmla="*/ 3 w 118"/>
                <a:gd name="T9" fmla="*/ 172 h 185"/>
                <a:gd name="T10" fmla="*/ 23 w 118"/>
                <a:gd name="T11" fmla="*/ 183 h 185"/>
                <a:gd name="T12" fmla="*/ 25 w 118"/>
                <a:gd name="T13" fmla="*/ 183 h 185"/>
                <a:gd name="T14" fmla="*/ 26 w 118"/>
                <a:gd name="T15" fmla="*/ 183 h 185"/>
                <a:gd name="T16" fmla="*/ 28 w 118"/>
                <a:gd name="T17" fmla="*/ 181 h 185"/>
                <a:gd name="T18" fmla="*/ 56 w 118"/>
                <a:gd name="T19" fmla="*/ 121 h 185"/>
                <a:gd name="T20" fmla="*/ 89 w 118"/>
                <a:gd name="T21" fmla="*/ 183 h 185"/>
                <a:gd name="T22" fmla="*/ 91 w 118"/>
                <a:gd name="T23" fmla="*/ 185 h 185"/>
                <a:gd name="T24" fmla="*/ 92 w 118"/>
                <a:gd name="T25" fmla="*/ 185 h 185"/>
                <a:gd name="T26" fmla="*/ 94 w 118"/>
                <a:gd name="T27" fmla="*/ 184 h 185"/>
                <a:gd name="T28" fmla="*/ 116 w 118"/>
                <a:gd name="T29" fmla="*/ 175 h 185"/>
                <a:gd name="T30" fmla="*/ 118 w 118"/>
                <a:gd name="T31" fmla="*/ 173 h 185"/>
                <a:gd name="T32" fmla="*/ 118 w 118"/>
                <a:gd name="T33" fmla="*/ 170 h 185"/>
                <a:gd name="T34" fmla="*/ 77 w 118"/>
                <a:gd name="T35" fmla="*/ 85 h 185"/>
                <a:gd name="T36" fmla="*/ 77 w 118"/>
                <a:gd name="T37" fmla="*/ 78 h 185"/>
                <a:gd name="T38" fmla="*/ 77 w 118"/>
                <a:gd name="T39" fmla="*/ 78 h 185"/>
                <a:gd name="T40" fmla="*/ 77 w 118"/>
                <a:gd name="T41" fmla="*/ 16 h 185"/>
                <a:gd name="T42" fmla="*/ 61 w 118"/>
                <a:gd name="T43" fmla="*/ 0 h 185"/>
                <a:gd name="T44" fmla="*/ 58 w 118"/>
                <a:gd name="T45" fmla="*/ 0 h 185"/>
                <a:gd name="T46" fmla="*/ 58 w 118"/>
                <a:gd name="T47" fmla="*/ 0 h 185"/>
                <a:gd name="T48" fmla="*/ 52 w 118"/>
                <a:gd name="T49" fmla="*/ 0 h 185"/>
                <a:gd name="T50" fmla="*/ 38 w 118"/>
                <a:gd name="T51" fmla="*/ 0 h 185"/>
                <a:gd name="T52" fmla="*/ 51 w 118"/>
                <a:gd name="T53" fmla="*/ 14 h 185"/>
                <a:gd name="T54" fmla="*/ 39 w 118"/>
                <a:gd name="T55" fmla="*/ 45 h 185"/>
                <a:gd name="T56" fmla="*/ 23 w 118"/>
                <a:gd name="T57" fmla="*/ 46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185">
                  <a:moveTo>
                    <a:pt x="23" y="46"/>
                  </a:moveTo>
                  <a:cubicBezTo>
                    <a:pt x="23" y="70"/>
                    <a:pt x="23" y="70"/>
                    <a:pt x="23" y="70"/>
                  </a:cubicBezTo>
                  <a:cubicBezTo>
                    <a:pt x="23" y="80"/>
                    <a:pt x="27" y="89"/>
                    <a:pt x="35" y="94"/>
                  </a:cubicBezTo>
                  <a:cubicBezTo>
                    <a:pt x="1" y="167"/>
                    <a:pt x="1" y="167"/>
                    <a:pt x="1" y="167"/>
                  </a:cubicBezTo>
                  <a:cubicBezTo>
                    <a:pt x="0" y="169"/>
                    <a:pt x="1" y="171"/>
                    <a:pt x="3" y="172"/>
                  </a:cubicBezTo>
                  <a:cubicBezTo>
                    <a:pt x="23" y="183"/>
                    <a:pt x="23" y="183"/>
                    <a:pt x="23" y="183"/>
                  </a:cubicBezTo>
                  <a:cubicBezTo>
                    <a:pt x="24" y="183"/>
                    <a:pt x="25" y="183"/>
                    <a:pt x="25" y="183"/>
                  </a:cubicBezTo>
                  <a:cubicBezTo>
                    <a:pt x="25" y="183"/>
                    <a:pt x="26" y="183"/>
                    <a:pt x="26" y="183"/>
                  </a:cubicBezTo>
                  <a:cubicBezTo>
                    <a:pt x="27" y="183"/>
                    <a:pt x="28" y="182"/>
                    <a:pt x="28" y="181"/>
                  </a:cubicBezTo>
                  <a:cubicBezTo>
                    <a:pt x="56" y="121"/>
                    <a:pt x="56" y="121"/>
                    <a:pt x="56" y="121"/>
                  </a:cubicBezTo>
                  <a:cubicBezTo>
                    <a:pt x="89" y="183"/>
                    <a:pt x="89" y="183"/>
                    <a:pt x="89" y="183"/>
                  </a:cubicBezTo>
                  <a:cubicBezTo>
                    <a:pt x="90" y="184"/>
                    <a:pt x="90" y="184"/>
                    <a:pt x="91" y="185"/>
                  </a:cubicBezTo>
                  <a:cubicBezTo>
                    <a:pt x="92" y="185"/>
                    <a:pt x="92" y="185"/>
                    <a:pt x="92" y="185"/>
                  </a:cubicBezTo>
                  <a:cubicBezTo>
                    <a:pt x="93" y="185"/>
                    <a:pt x="94" y="185"/>
                    <a:pt x="94" y="184"/>
                  </a:cubicBezTo>
                  <a:cubicBezTo>
                    <a:pt x="116" y="175"/>
                    <a:pt x="116" y="175"/>
                    <a:pt x="116" y="175"/>
                  </a:cubicBezTo>
                  <a:cubicBezTo>
                    <a:pt x="116" y="175"/>
                    <a:pt x="117" y="174"/>
                    <a:pt x="118" y="173"/>
                  </a:cubicBezTo>
                  <a:cubicBezTo>
                    <a:pt x="118" y="171"/>
                    <a:pt x="118" y="170"/>
                    <a:pt x="118" y="170"/>
                  </a:cubicBezTo>
                  <a:cubicBezTo>
                    <a:pt x="77" y="85"/>
                    <a:pt x="77" y="85"/>
                    <a:pt x="77" y="85"/>
                  </a:cubicBezTo>
                  <a:cubicBezTo>
                    <a:pt x="77" y="78"/>
                    <a:pt x="77" y="78"/>
                    <a:pt x="77" y="78"/>
                  </a:cubicBezTo>
                  <a:cubicBezTo>
                    <a:pt x="77" y="78"/>
                    <a:pt x="77" y="78"/>
                    <a:pt x="77" y="78"/>
                  </a:cubicBezTo>
                  <a:cubicBezTo>
                    <a:pt x="77" y="16"/>
                    <a:pt x="77" y="16"/>
                    <a:pt x="77" y="16"/>
                  </a:cubicBezTo>
                  <a:cubicBezTo>
                    <a:pt x="77" y="7"/>
                    <a:pt x="70" y="0"/>
                    <a:pt x="61" y="0"/>
                  </a:cubicBezTo>
                  <a:cubicBezTo>
                    <a:pt x="58" y="0"/>
                    <a:pt x="58" y="0"/>
                    <a:pt x="58" y="0"/>
                  </a:cubicBezTo>
                  <a:cubicBezTo>
                    <a:pt x="58" y="0"/>
                    <a:pt x="58" y="0"/>
                    <a:pt x="58" y="0"/>
                  </a:cubicBezTo>
                  <a:cubicBezTo>
                    <a:pt x="52" y="0"/>
                    <a:pt x="52" y="0"/>
                    <a:pt x="52" y="0"/>
                  </a:cubicBezTo>
                  <a:cubicBezTo>
                    <a:pt x="38" y="0"/>
                    <a:pt x="38" y="0"/>
                    <a:pt x="38" y="0"/>
                  </a:cubicBezTo>
                  <a:cubicBezTo>
                    <a:pt x="44" y="3"/>
                    <a:pt x="49" y="7"/>
                    <a:pt x="51" y="14"/>
                  </a:cubicBezTo>
                  <a:cubicBezTo>
                    <a:pt x="57" y="26"/>
                    <a:pt x="51" y="40"/>
                    <a:pt x="39" y="45"/>
                  </a:cubicBezTo>
                  <a:cubicBezTo>
                    <a:pt x="33" y="47"/>
                    <a:pt x="28" y="48"/>
                    <a:pt x="23" y="4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41">
              <a:extLst>
                <a:ext uri="{FF2B5EF4-FFF2-40B4-BE49-F238E27FC236}">
                  <a16:creationId xmlns:a16="http://schemas.microsoft.com/office/drawing/2014/main" id="{6CE4ADB2-F368-483F-8415-D2225B126315}"/>
                </a:ext>
              </a:extLst>
            </p:cNvPr>
            <p:cNvSpPr>
              <a:spLocks/>
            </p:cNvSpPr>
            <p:nvPr/>
          </p:nvSpPr>
          <p:spPr bwMode="auto">
            <a:xfrm>
              <a:off x="7887785" y="4414270"/>
              <a:ext cx="39687" cy="53975"/>
            </a:xfrm>
            <a:custGeom>
              <a:avLst/>
              <a:gdLst>
                <a:gd name="T0" fmla="*/ 1 w 14"/>
                <a:gd name="T1" fmla="*/ 7 h 19"/>
                <a:gd name="T2" fmla="*/ 6 w 14"/>
                <a:gd name="T3" fmla="*/ 15 h 19"/>
                <a:gd name="T4" fmla="*/ 9 w 14"/>
                <a:gd name="T5" fmla="*/ 18 h 19"/>
                <a:gd name="T6" fmla="*/ 12 w 14"/>
                <a:gd name="T7" fmla="*/ 19 h 19"/>
                <a:gd name="T8" fmla="*/ 14 w 14"/>
                <a:gd name="T9" fmla="*/ 15 h 19"/>
                <a:gd name="T10" fmla="*/ 13 w 14"/>
                <a:gd name="T11" fmla="*/ 12 h 19"/>
                <a:gd name="T12" fmla="*/ 11 w 14"/>
                <a:gd name="T13" fmla="*/ 5 h 19"/>
                <a:gd name="T14" fmla="*/ 10 w 14"/>
                <a:gd name="T15" fmla="*/ 3 h 19"/>
                <a:gd name="T16" fmla="*/ 7 w 14"/>
                <a:gd name="T17" fmla="*/ 1 h 19"/>
                <a:gd name="T18" fmla="*/ 6 w 14"/>
                <a:gd name="T19" fmla="*/ 1 h 19"/>
                <a:gd name="T20" fmla="*/ 2 w 14"/>
                <a:gd name="T21" fmla="*/ 3 h 19"/>
                <a:gd name="T22" fmla="*/ 1 w 14"/>
                <a:gd name="T23" fmla="*/ 6 h 19"/>
                <a:gd name="T24" fmla="*/ 1 w 14"/>
                <a:gd name="T25" fmla="*/ 7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9">
                  <a:moveTo>
                    <a:pt x="1" y="7"/>
                  </a:moveTo>
                  <a:cubicBezTo>
                    <a:pt x="2" y="9"/>
                    <a:pt x="5" y="13"/>
                    <a:pt x="6" y="15"/>
                  </a:cubicBezTo>
                  <a:cubicBezTo>
                    <a:pt x="7" y="16"/>
                    <a:pt x="8" y="17"/>
                    <a:pt x="9" y="18"/>
                  </a:cubicBezTo>
                  <a:cubicBezTo>
                    <a:pt x="11" y="19"/>
                    <a:pt x="11" y="19"/>
                    <a:pt x="12" y="19"/>
                  </a:cubicBezTo>
                  <a:cubicBezTo>
                    <a:pt x="13" y="19"/>
                    <a:pt x="14" y="18"/>
                    <a:pt x="14" y="15"/>
                  </a:cubicBezTo>
                  <a:cubicBezTo>
                    <a:pt x="14" y="14"/>
                    <a:pt x="14" y="12"/>
                    <a:pt x="13" y="12"/>
                  </a:cubicBezTo>
                  <a:cubicBezTo>
                    <a:pt x="13" y="10"/>
                    <a:pt x="12" y="7"/>
                    <a:pt x="11" y="5"/>
                  </a:cubicBezTo>
                  <a:cubicBezTo>
                    <a:pt x="10" y="3"/>
                    <a:pt x="10" y="3"/>
                    <a:pt x="10" y="3"/>
                  </a:cubicBezTo>
                  <a:cubicBezTo>
                    <a:pt x="10" y="3"/>
                    <a:pt x="9" y="0"/>
                    <a:pt x="7" y="1"/>
                  </a:cubicBezTo>
                  <a:cubicBezTo>
                    <a:pt x="7" y="1"/>
                    <a:pt x="6" y="1"/>
                    <a:pt x="6" y="1"/>
                  </a:cubicBezTo>
                  <a:cubicBezTo>
                    <a:pt x="6" y="1"/>
                    <a:pt x="5" y="2"/>
                    <a:pt x="2" y="3"/>
                  </a:cubicBezTo>
                  <a:cubicBezTo>
                    <a:pt x="0" y="4"/>
                    <a:pt x="1" y="6"/>
                    <a:pt x="1" y="6"/>
                  </a:cubicBezTo>
                  <a:cubicBezTo>
                    <a:pt x="1" y="6"/>
                    <a:pt x="1" y="6"/>
                    <a:pt x="1" y="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48">
              <a:extLst>
                <a:ext uri="{FF2B5EF4-FFF2-40B4-BE49-F238E27FC236}">
                  <a16:creationId xmlns:a16="http://schemas.microsoft.com/office/drawing/2014/main" id="{55566700-8DD9-4534-91C2-BCB4C5BEF560}"/>
                </a:ext>
              </a:extLst>
            </p:cNvPr>
            <p:cNvSpPr>
              <a:spLocks noEditPoints="1"/>
            </p:cNvSpPr>
            <p:nvPr/>
          </p:nvSpPr>
          <p:spPr bwMode="auto">
            <a:xfrm>
              <a:off x="8068760" y="4634933"/>
              <a:ext cx="95250" cy="130175"/>
            </a:xfrm>
            <a:custGeom>
              <a:avLst/>
              <a:gdLst>
                <a:gd name="T0" fmla="*/ 20 w 34"/>
                <a:gd name="T1" fmla="*/ 0 h 46"/>
                <a:gd name="T2" fmla="*/ 13 w 34"/>
                <a:gd name="T3" fmla="*/ 3 h 46"/>
                <a:gd name="T4" fmla="*/ 13 w 34"/>
                <a:gd name="T5" fmla="*/ 18 h 46"/>
                <a:gd name="T6" fmla="*/ 0 w 34"/>
                <a:gd name="T7" fmla="*/ 38 h 46"/>
                <a:gd name="T8" fmla="*/ 14 w 34"/>
                <a:gd name="T9" fmla="*/ 46 h 46"/>
                <a:gd name="T10" fmla="*/ 26 w 34"/>
                <a:gd name="T11" fmla="*/ 35 h 46"/>
                <a:gd name="T12" fmla="*/ 34 w 34"/>
                <a:gd name="T13" fmla="*/ 31 h 46"/>
                <a:gd name="T14" fmla="*/ 31 w 34"/>
                <a:gd name="T15" fmla="*/ 0 h 46"/>
                <a:gd name="T16" fmla="*/ 25 w 34"/>
                <a:gd name="T17" fmla="*/ 1 h 46"/>
                <a:gd name="T18" fmla="*/ 21 w 34"/>
                <a:gd name="T19" fmla="*/ 2 h 46"/>
                <a:gd name="T20" fmla="*/ 21 w 34"/>
                <a:gd name="T21" fmla="*/ 30 h 46"/>
                <a:gd name="T22" fmla="*/ 17 w 34"/>
                <a:gd name="T23" fmla="*/ 30 h 46"/>
                <a:gd name="T24" fmla="*/ 17 w 34"/>
                <a:gd name="T25" fmla="*/ 27 h 46"/>
                <a:gd name="T26" fmla="*/ 20 w 34"/>
                <a:gd name="T27" fmla="*/ 27 h 46"/>
                <a:gd name="T28" fmla="*/ 21 w 34"/>
                <a:gd name="T29" fmla="*/ 30 h 46"/>
                <a:gd name="T30" fmla="*/ 20 w 34"/>
                <a:gd name="T31" fmla="*/ 26 h 46"/>
                <a:gd name="T32" fmla="*/ 17 w 34"/>
                <a:gd name="T33" fmla="*/ 26 h 46"/>
                <a:gd name="T34" fmla="*/ 17 w 34"/>
                <a:gd name="T35" fmla="*/ 23 h 46"/>
                <a:gd name="T36" fmla="*/ 21 w 34"/>
                <a:gd name="T37" fmla="*/ 23 h 46"/>
                <a:gd name="T38" fmla="*/ 21 w 34"/>
                <a:gd name="T39" fmla="*/ 22 h 46"/>
                <a:gd name="T40" fmla="*/ 17 w 34"/>
                <a:gd name="T41" fmla="*/ 22 h 46"/>
                <a:gd name="T42" fmla="*/ 17 w 34"/>
                <a:gd name="T43" fmla="*/ 19 h 46"/>
                <a:gd name="T44" fmla="*/ 20 w 34"/>
                <a:gd name="T45" fmla="*/ 19 h 46"/>
                <a:gd name="T46" fmla="*/ 21 w 34"/>
                <a:gd name="T47" fmla="*/ 22 h 46"/>
                <a:gd name="T48" fmla="*/ 25 w 34"/>
                <a:gd name="T49" fmla="*/ 30 h 46"/>
                <a:gd name="T50" fmla="*/ 22 w 34"/>
                <a:gd name="T51" fmla="*/ 30 h 46"/>
                <a:gd name="T52" fmla="*/ 22 w 34"/>
                <a:gd name="T53" fmla="*/ 27 h 46"/>
                <a:gd name="T54" fmla="*/ 25 w 34"/>
                <a:gd name="T55" fmla="*/ 27 h 46"/>
                <a:gd name="T56" fmla="*/ 25 w 34"/>
                <a:gd name="T57" fmla="*/ 26 h 46"/>
                <a:gd name="T58" fmla="*/ 22 w 34"/>
                <a:gd name="T59" fmla="*/ 26 h 46"/>
                <a:gd name="T60" fmla="*/ 22 w 34"/>
                <a:gd name="T61" fmla="*/ 23 h 46"/>
                <a:gd name="T62" fmla="*/ 25 w 34"/>
                <a:gd name="T63" fmla="*/ 23 h 46"/>
                <a:gd name="T64" fmla="*/ 25 w 34"/>
                <a:gd name="T65" fmla="*/ 26 h 46"/>
                <a:gd name="T66" fmla="*/ 25 w 34"/>
                <a:gd name="T67" fmla="*/ 22 h 46"/>
                <a:gd name="T68" fmla="*/ 22 w 34"/>
                <a:gd name="T69" fmla="*/ 22 h 46"/>
                <a:gd name="T70" fmla="*/ 22 w 34"/>
                <a:gd name="T71" fmla="*/ 19 h 46"/>
                <a:gd name="T72" fmla="*/ 25 w 34"/>
                <a:gd name="T73" fmla="*/ 19 h 46"/>
                <a:gd name="T74" fmla="*/ 30 w 34"/>
                <a:gd name="T75" fmla="*/ 30 h 46"/>
                <a:gd name="T76" fmla="*/ 27 w 34"/>
                <a:gd name="T77" fmla="*/ 30 h 46"/>
                <a:gd name="T78" fmla="*/ 27 w 34"/>
                <a:gd name="T79" fmla="*/ 27 h 46"/>
                <a:gd name="T80" fmla="*/ 30 w 34"/>
                <a:gd name="T81" fmla="*/ 27 h 46"/>
                <a:gd name="T82" fmla="*/ 30 w 34"/>
                <a:gd name="T83" fmla="*/ 30 h 46"/>
                <a:gd name="T84" fmla="*/ 30 w 34"/>
                <a:gd name="T85" fmla="*/ 26 h 46"/>
                <a:gd name="T86" fmla="*/ 27 w 34"/>
                <a:gd name="T87" fmla="*/ 26 h 46"/>
                <a:gd name="T88" fmla="*/ 27 w 34"/>
                <a:gd name="T89" fmla="*/ 23 h 46"/>
                <a:gd name="T90" fmla="*/ 30 w 34"/>
                <a:gd name="T91" fmla="*/ 23 h 46"/>
                <a:gd name="T92" fmla="*/ 30 w 34"/>
                <a:gd name="T93" fmla="*/ 22 h 46"/>
                <a:gd name="T94" fmla="*/ 27 w 34"/>
                <a:gd name="T95" fmla="*/ 22 h 46"/>
                <a:gd name="T96" fmla="*/ 27 w 34"/>
                <a:gd name="T97" fmla="*/ 19 h 46"/>
                <a:gd name="T98" fmla="*/ 30 w 34"/>
                <a:gd name="T99" fmla="*/ 19 h 46"/>
                <a:gd name="T100" fmla="*/ 30 w 34"/>
                <a:gd name="T101" fmla="*/ 22 h 46"/>
                <a:gd name="T102" fmla="*/ 17 w 34"/>
                <a:gd name="T103" fmla="*/ 17 h 46"/>
                <a:gd name="T104" fmla="*/ 30 w 34"/>
                <a:gd name="T105" fmla="*/ 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4" h="46">
                  <a:moveTo>
                    <a:pt x="31" y="0"/>
                  </a:moveTo>
                  <a:cubicBezTo>
                    <a:pt x="20" y="0"/>
                    <a:pt x="20" y="0"/>
                    <a:pt x="20" y="0"/>
                  </a:cubicBezTo>
                  <a:cubicBezTo>
                    <a:pt x="16" y="0"/>
                    <a:pt x="16" y="0"/>
                    <a:pt x="16" y="0"/>
                  </a:cubicBezTo>
                  <a:cubicBezTo>
                    <a:pt x="14" y="0"/>
                    <a:pt x="13" y="1"/>
                    <a:pt x="13" y="3"/>
                  </a:cubicBezTo>
                  <a:cubicBezTo>
                    <a:pt x="13" y="6"/>
                    <a:pt x="13" y="6"/>
                    <a:pt x="13" y="6"/>
                  </a:cubicBezTo>
                  <a:cubicBezTo>
                    <a:pt x="13" y="18"/>
                    <a:pt x="13" y="18"/>
                    <a:pt x="13" y="18"/>
                  </a:cubicBezTo>
                  <a:cubicBezTo>
                    <a:pt x="0" y="8"/>
                    <a:pt x="0" y="8"/>
                    <a:pt x="0" y="8"/>
                  </a:cubicBezTo>
                  <a:cubicBezTo>
                    <a:pt x="0" y="38"/>
                    <a:pt x="0" y="38"/>
                    <a:pt x="0" y="38"/>
                  </a:cubicBezTo>
                  <a:cubicBezTo>
                    <a:pt x="7" y="43"/>
                    <a:pt x="7" y="43"/>
                    <a:pt x="7" y="43"/>
                  </a:cubicBezTo>
                  <a:cubicBezTo>
                    <a:pt x="9" y="45"/>
                    <a:pt x="12" y="46"/>
                    <a:pt x="14" y="46"/>
                  </a:cubicBezTo>
                  <a:cubicBezTo>
                    <a:pt x="18" y="46"/>
                    <a:pt x="22" y="44"/>
                    <a:pt x="24" y="41"/>
                  </a:cubicBezTo>
                  <a:cubicBezTo>
                    <a:pt x="25" y="39"/>
                    <a:pt x="26" y="37"/>
                    <a:pt x="26" y="35"/>
                  </a:cubicBezTo>
                  <a:cubicBezTo>
                    <a:pt x="31" y="35"/>
                    <a:pt x="31" y="35"/>
                    <a:pt x="31" y="35"/>
                  </a:cubicBezTo>
                  <a:cubicBezTo>
                    <a:pt x="33" y="35"/>
                    <a:pt x="34" y="33"/>
                    <a:pt x="34" y="31"/>
                  </a:cubicBezTo>
                  <a:cubicBezTo>
                    <a:pt x="34" y="3"/>
                    <a:pt x="34" y="3"/>
                    <a:pt x="34" y="3"/>
                  </a:cubicBezTo>
                  <a:cubicBezTo>
                    <a:pt x="34" y="1"/>
                    <a:pt x="33" y="0"/>
                    <a:pt x="31" y="0"/>
                  </a:cubicBezTo>
                  <a:close/>
                  <a:moveTo>
                    <a:pt x="21" y="1"/>
                  </a:moveTo>
                  <a:cubicBezTo>
                    <a:pt x="25" y="1"/>
                    <a:pt x="25" y="1"/>
                    <a:pt x="25" y="1"/>
                  </a:cubicBezTo>
                  <a:cubicBezTo>
                    <a:pt x="25" y="2"/>
                    <a:pt x="25" y="2"/>
                    <a:pt x="25" y="2"/>
                  </a:cubicBezTo>
                  <a:cubicBezTo>
                    <a:pt x="21" y="2"/>
                    <a:pt x="21" y="2"/>
                    <a:pt x="21" y="2"/>
                  </a:cubicBezTo>
                  <a:lnTo>
                    <a:pt x="21" y="1"/>
                  </a:lnTo>
                  <a:close/>
                  <a:moveTo>
                    <a:pt x="21" y="30"/>
                  </a:moveTo>
                  <a:cubicBezTo>
                    <a:pt x="21" y="30"/>
                    <a:pt x="20" y="30"/>
                    <a:pt x="20" y="30"/>
                  </a:cubicBezTo>
                  <a:cubicBezTo>
                    <a:pt x="17" y="30"/>
                    <a:pt x="17" y="30"/>
                    <a:pt x="17" y="30"/>
                  </a:cubicBezTo>
                  <a:cubicBezTo>
                    <a:pt x="17" y="30"/>
                    <a:pt x="17" y="30"/>
                    <a:pt x="17" y="30"/>
                  </a:cubicBezTo>
                  <a:cubicBezTo>
                    <a:pt x="17" y="27"/>
                    <a:pt x="17" y="27"/>
                    <a:pt x="17" y="27"/>
                  </a:cubicBezTo>
                  <a:cubicBezTo>
                    <a:pt x="17" y="27"/>
                    <a:pt x="17" y="27"/>
                    <a:pt x="17" y="27"/>
                  </a:cubicBezTo>
                  <a:cubicBezTo>
                    <a:pt x="20" y="27"/>
                    <a:pt x="20" y="27"/>
                    <a:pt x="20" y="27"/>
                  </a:cubicBezTo>
                  <a:cubicBezTo>
                    <a:pt x="20" y="27"/>
                    <a:pt x="21" y="27"/>
                    <a:pt x="21" y="27"/>
                  </a:cubicBezTo>
                  <a:lnTo>
                    <a:pt x="21" y="30"/>
                  </a:lnTo>
                  <a:close/>
                  <a:moveTo>
                    <a:pt x="21" y="26"/>
                  </a:moveTo>
                  <a:cubicBezTo>
                    <a:pt x="21" y="26"/>
                    <a:pt x="20" y="26"/>
                    <a:pt x="20" y="26"/>
                  </a:cubicBezTo>
                  <a:cubicBezTo>
                    <a:pt x="17" y="26"/>
                    <a:pt x="17" y="26"/>
                    <a:pt x="17" y="26"/>
                  </a:cubicBezTo>
                  <a:cubicBezTo>
                    <a:pt x="17" y="26"/>
                    <a:pt x="17" y="26"/>
                    <a:pt x="17" y="26"/>
                  </a:cubicBezTo>
                  <a:cubicBezTo>
                    <a:pt x="17" y="23"/>
                    <a:pt x="17" y="23"/>
                    <a:pt x="17" y="23"/>
                  </a:cubicBezTo>
                  <a:cubicBezTo>
                    <a:pt x="17" y="23"/>
                    <a:pt x="17" y="23"/>
                    <a:pt x="17" y="23"/>
                  </a:cubicBezTo>
                  <a:cubicBezTo>
                    <a:pt x="20" y="23"/>
                    <a:pt x="20" y="23"/>
                    <a:pt x="20" y="23"/>
                  </a:cubicBezTo>
                  <a:cubicBezTo>
                    <a:pt x="20" y="23"/>
                    <a:pt x="21" y="23"/>
                    <a:pt x="21" y="23"/>
                  </a:cubicBezTo>
                  <a:lnTo>
                    <a:pt x="21" y="26"/>
                  </a:lnTo>
                  <a:close/>
                  <a:moveTo>
                    <a:pt x="21" y="22"/>
                  </a:moveTo>
                  <a:cubicBezTo>
                    <a:pt x="21" y="22"/>
                    <a:pt x="20" y="22"/>
                    <a:pt x="20" y="22"/>
                  </a:cubicBezTo>
                  <a:cubicBezTo>
                    <a:pt x="17" y="22"/>
                    <a:pt x="17" y="22"/>
                    <a:pt x="17" y="22"/>
                  </a:cubicBezTo>
                  <a:cubicBezTo>
                    <a:pt x="17" y="22"/>
                    <a:pt x="17" y="22"/>
                    <a:pt x="17" y="22"/>
                  </a:cubicBezTo>
                  <a:cubicBezTo>
                    <a:pt x="17" y="19"/>
                    <a:pt x="17" y="19"/>
                    <a:pt x="17" y="19"/>
                  </a:cubicBezTo>
                  <a:cubicBezTo>
                    <a:pt x="17" y="19"/>
                    <a:pt x="17" y="19"/>
                    <a:pt x="17" y="19"/>
                  </a:cubicBezTo>
                  <a:cubicBezTo>
                    <a:pt x="20" y="19"/>
                    <a:pt x="20" y="19"/>
                    <a:pt x="20" y="19"/>
                  </a:cubicBezTo>
                  <a:cubicBezTo>
                    <a:pt x="20" y="19"/>
                    <a:pt x="21" y="19"/>
                    <a:pt x="21" y="19"/>
                  </a:cubicBezTo>
                  <a:lnTo>
                    <a:pt x="21" y="22"/>
                  </a:lnTo>
                  <a:close/>
                  <a:moveTo>
                    <a:pt x="25" y="30"/>
                  </a:moveTo>
                  <a:cubicBezTo>
                    <a:pt x="25" y="30"/>
                    <a:pt x="25" y="30"/>
                    <a:pt x="25" y="30"/>
                  </a:cubicBezTo>
                  <a:cubicBezTo>
                    <a:pt x="22" y="30"/>
                    <a:pt x="22" y="30"/>
                    <a:pt x="22" y="30"/>
                  </a:cubicBezTo>
                  <a:cubicBezTo>
                    <a:pt x="22" y="30"/>
                    <a:pt x="22" y="30"/>
                    <a:pt x="22" y="30"/>
                  </a:cubicBezTo>
                  <a:cubicBezTo>
                    <a:pt x="22" y="27"/>
                    <a:pt x="22" y="27"/>
                    <a:pt x="22" y="27"/>
                  </a:cubicBezTo>
                  <a:cubicBezTo>
                    <a:pt x="22" y="27"/>
                    <a:pt x="22" y="27"/>
                    <a:pt x="22" y="27"/>
                  </a:cubicBezTo>
                  <a:cubicBezTo>
                    <a:pt x="25" y="27"/>
                    <a:pt x="25" y="27"/>
                    <a:pt x="25" y="27"/>
                  </a:cubicBezTo>
                  <a:cubicBezTo>
                    <a:pt x="25" y="27"/>
                    <a:pt x="25" y="27"/>
                    <a:pt x="25" y="27"/>
                  </a:cubicBezTo>
                  <a:lnTo>
                    <a:pt x="25" y="30"/>
                  </a:lnTo>
                  <a:close/>
                  <a:moveTo>
                    <a:pt x="25" y="26"/>
                  </a:moveTo>
                  <a:cubicBezTo>
                    <a:pt x="25" y="26"/>
                    <a:pt x="25" y="26"/>
                    <a:pt x="25" y="26"/>
                  </a:cubicBezTo>
                  <a:cubicBezTo>
                    <a:pt x="22" y="26"/>
                    <a:pt x="22" y="26"/>
                    <a:pt x="22" y="26"/>
                  </a:cubicBezTo>
                  <a:cubicBezTo>
                    <a:pt x="22" y="26"/>
                    <a:pt x="22" y="26"/>
                    <a:pt x="22" y="26"/>
                  </a:cubicBezTo>
                  <a:cubicBezTo>
                    <a:pt x="22" y="23"/>
                    <a:pt x="22" y="23"/>
                    <a:pt x="22" y="23"/>
                  </a:cubicBezTo>
                  <a:cubicBezTo>
                    <a:pt x="22" y="23"/>
                    <a:pt x="22" y="23"/>
                    <a:pt x="22" y="23"/>
                  </a:cubicBezTo>
                  <a:cubicBezTo>
                    <a:pt x="25" y="23"/>
                    <a:pt x="25" y="23"/>
                    <a:pt x="25" y="23"/>
                  </a:cubicBezTo>
                  <a:cubicBezTo>
                    <a:pt x="25" y="23"/>
                    <a:pt x="25" y="23"/>
                    <a:pt x="25" y="23"/>
                  </a:cubicBezTo>
                  <a:lnTo>
                    <a:pt x="25" y="26"/>
                  </a:lnTo>
                  <a:close/>
                  <a:moveTo>
                    <a:pt x="25" y="22"/>
                  </a:moveTo>
                  <a:cubicBezTo>
                    <a:pt x="25" y="22"/>
                    <a:pt x="25" y="22"/>
                    <a:pt x="25" y="22"/>
                  </a:cubicBezTo>
                  <a:cubicBezTo>
                    <a:pt x="22" y="22"/>
                    <a:pt x="22" y="22"/>
                    <a:pt x="22" y="22"/>
                  </a:cubicBezTo>
                  <a:cubicBezTo>
                    <a:pt x="22" y="22"/>
                    <a:pt x="22" y="22"/>
                    <a:pt x="22" y="22"/>
                  </a:cubicBezTo>
                  <a:cubicBezTo>
                    <a:pt x="22" y="19"/>
                    <a:pt x="22" y="19"/>
                    <a:pt x="22" y="19"/>
                  </a:cubicBezTo>
                  <a:cubicBezTo>
                    <a:pt x="22" y="19"/>
                    <a:pt x="22" y="19"/>
                    <a:pt x="22" y="19"/>
                  </a:cubicBezTo>
                  <a:cubicBezTo>
                    <a:pt x="25" y="19"/>
                    <a:pt x="25" y="19"/>
                    <a:pt x="25" y="19"/>
                  </a:cubicBezTo>
                  <a:cubicBezTo>
                    <a:pt x="25" y="19"/>
                    <a:pt x="25" y="19"/>
                    <a:pt x="25" y="19"/>
                  </a:cubicBezTo>
                  <a:lnTo>
                    <a:pt x="25" y="22"/>
                  </a:lnTo>
                  <a:close/>
                  <a:moveTo>
                    <a:pt x="30" y="30"/>
                  </a:moveTo>
                  <a:cubicBezTo>
                    <a:pt x="30" y="30"/>
                    <a:pt x="30" y="30"/>
                    <a:pt x="30" y="30"/>
                  </a:cubicBezTo>
                  <a:cubicBezTo>
                    <a:pt x="27" y="30"/>
                    <a:pt x="27" y="30"/>
                    <a:pt x="27" y="30"/>
                  </a:cubicBezTo>
                  <a:cubicBezTo>
                    <a:pt x="27" y="30"/>
                    <a:pt x="27" y="30"/>
                    <a:pt x="27" y="30"/>
                  </a:cubicBezTo>
                  <a:cubicBezTo>
                    <a:pt x="27" y="27"/>
                    <a:pt x="27" y="27"/>
                    <a:pt x="27" y="27"/>
                  </a:cubicBezTo>
                  <a:cubicBezTo>
                    <a:pt x="27" y="27"/>
                    <a:pt x="27" y="27"/>
                    <a:pt x="27" y="27"/>
                  </a:cubicBezTo>
                  <a:cubicBezTo>
                    <a:pt x="30" y="27"/>
                    <a:pt x="30" y="27"/>
                    <a:pt x="30" y="27"/>
                  </a:cubicBezTo>
                  <a:cubicBezTo>
                    <a:pt x="30" y="27"/>
                    <a:pt x="30" y="27"/>
                    <a:pt x="30" y="27"/>
                  </a:cubicBezTo>
                  <a:lnTo>
                    <a:pt x="30" y="30"/>
                  </a:lnTo>
                  <a:close/>
                  <a:moveTo>
                    <a:pt x="30" y="26"/>
                  </a:moveTo>
                  <a:cubicBezTo>
                    <a:pt x="30" y="26"/>
                    <a:pt x="30" y="26"/>
                    <a:pt x="30" y="26"/>
                  </a:cubicBezTo>
                  <a:cubicBezTo>
                    <a:pt x="27" y="26"/>
                    <a:pt x="27" y="26"/>
                    <a:pt x="27" y="26"/>
                  </a:cubicBezTo>
                  <a:cubicBezTo>
                    <a:pt x="27" y="26"/>
                    <a:pt x="27" y="26"/>
                    <a:pt x="27" y="26"/>
                  </a:cubicBezTo>
                  <a:cubicBezTo>
                    <a:pt x="27" y="23"/>
                    <a:pt x="27" y="23"/>
                    <a:pt x="27" y="23"/>
                  </a:cubicBezTo>
                  <a:cubicBezTo>
                    <a:pt x="27" y="23"/>
                    <a:pt x="27" y="23"/>
                    <a:pt x="27" y="23"/>
                  </a:cubicBezTo>
                  <a:cubicBezTo>
                    <a:pt x="30" y="23"/>
                    <a:pt x="30" y="23"/>
                    <a:pt x="30" y="23"/>
                  </a:cubicBezTo>
                  <a:cubicBezTo>
                    <a:pt x="30" y="23"/>
                    <a:pt x="30" y="23"/>
                    <a:pt x="30" y="23"/>
                  </a:cubicBezTo>
                  <a:lnTo>
                    <a:pt x="30" y="26"/>
                  </a:lnTo>
                  <a:close/>
                  <a:moveTo>
                    <a:pt x="30" y="22"/>
                  </a:moveTo>
                  <a:cubicBezTo>
                    <a:pt x="30" y="22"/>
                    <a:pt x="30" y="22"/>
                    <a:pt x="30" y="22"/>
                  </a:cubicBezTo>
                  <a:cubicBezTo>
                    <a:pt x="27" y="22"/>
                    <a:pt x="27" y="22"/>
                    <a:pt x="27" y="22"/>
                  </a:cubicBezTo>
                  <a:cubicBezTo>
                    <a:pt x="27" y="22"/>
                    <a:pt x="27" y="22"/>
                    <a:pt x="27" y="22"/>
                  </a:cubicBezTo>
                  <a:cubicBezTo>
                    <a:pt x="27" y="19"/>
                    <a:pt x="27" y="19"/>
                    <a:pt x="27" y="19"/>
                  </a:cubicBezTo>
                  <a:cubicBezTo>
                    <a:pt x="27" y="19"/>
                    <a:pt x="27" y="19"/>
                    <a:pt x="27" y="19"/>
                  </a:cubicBezTo>
                  <a:cubicBezTo>
                    <a:pt x="30" y="19"/>
                    <a:pt x="30" y="19"/>
                    <a:pt x="30" y="19"/>
                  </a:cubicBezTo>
                  <a:cubicBezTo>
                    <a:pt x="30" y="19"/>
                    <a:pt x="30" y="19"/>
                    <a:pt x="30" y="19"/>
                  </a:cubicBezTo>
                  <a:lnTo>
                    <a:pt x="30" y="22"/>
                  </a:lnTo>
                  <a:close/>
                  <a:moveTo>
                    <a:pt x="30" y="17"/>
                  </a:moveTo>
                  <a:cubicBezTo>
                    <a:pt x="17" y="17"/>
                    <a:pt x="17" y="17"/>
                    <a:pt x="17" y="17"/>
                  </a:cubicBezTo>
                  <a:cubicBezTo>
                    <a:pt x="17" y="4"/>
                    <a:pt x="17" y="4"/>
                    <a:pt x="17" y="4"/>
                  </a:cubicBezTo>
                  <a:cubicBezTo>
                    <a:pt x="30" y="4"/>
                    <a:pt x="30" y="4"/>
                    <a:pt x="30" y="4"/>
                  </a:cubicBezTo>
                  <a:lnTo>
                    <a:pt x="30"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58" name="Group 144">
            <a:extLst>
              <a:ext uri="{FF2B5EF4-FFF2-40B4-BE49-F238E27FC236}">
                <a16:creationId xmlns:a16="http://schemas.microsoft.com/office/drawing/2014/main" id="{8E0591E2-0E72-478C-B433-36725987F3DF}"/>
              </a:ext>
            </a:extLst>
          </p:cNvPr>
          <p:cNvGrpSpPr/>
          <p:nvPr/>
        </p:nvGrpSpPr>
        <p:grpSpPr>
          <a:xfrm>
            <a:off x="1751942" y="2895903"/>
            <a:ext cx="317718" cy="606778"/>
            <a:chOff x="9810750" y="3868738"/>
            <a:chExt cx="404813" cy="773112"/>
          </a:xfrm>
          <a:solidFill>
            <a:schemeClr val="bg1"/>
          </a:solidFill>
        </p:grpSpPr>
        <p:sp>
          <p:nvSpPr>
            <p:cNvPr id="159" name="Rectangle 158">
              <a:extLst>
                <a:ext uri="{FF2B5EF4-FFF2-40B4-BE49-F238E27FC236}">
                  <a16:creationId xmlns:a16="http://schemas.microsoft.com/office/drawing/2014/main" id="{44D48A41-148D-4132-A0EF-F9DAC15AE5E8}"/>
                </a:ext>
              </a:extLst>
            </p:cNvPr>
            <p:cNvSpPr>
              <a:spLocks noChangeArrowheads="1"/>
            </p:cNvSpPr>
            <p:nvPr/>
          </p:nvSpPr>
          <p:spPr bwMode="auto">
            <a:xfrm>
              <a:off x="9861550" y="4075113"/>
              <a:ext cx="71438" cy="4445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6">
              <a:extLst>
                <a:ext uri="{FF2B5EF4-FFF2-40B4-BE49-F238E27FC236}">
                  <a16:creationId xmlns:a16="http://schemas.microsoft.com/office/drawing/2014/main" id="{17501766-D35A-425D-8301-6DE8F571F0F1}"/>
                </a:ext>
              </a:extLst>
            </p:cNvPr>
            <p:cNvSpPr>
              <a:spLocks/>
            </p:cNvSpPr>
            <p:nvPr/>
          </p:nvSpPr>
          <p:spPr bwMode="auto">
            <a:xfrm>
              <a:off x="9861550" y="4137025"/>
              <a:ext cx="71438" cy="7937"/>
            </a:xfrm>
            <a:custGeom>
              <a:avLst/>
              <a:gdLst>
                <a:gd name="T0" fmla="*/ 0 w 45"/>
                <a:gd name="T1" fmla="*/ 5 h 5"/>
                <a:gd name="T2" fmla="*/ 0 w 45"/>
                <a:gd name="T3" fmla="*/ 0 h 5"/>
                <a:gd name="T4" fmla="*/ 45 w 45"/>
                <a:gd name="T5" fmla="*/ 0 h 5"/>
                <a:gd name="T6" fmla="*/ 45 w 45"/>
                <a:gd name="T7" fmla="*/ 5 h 5"/>
                <a:gd name="T8" fmla="*/ 0 w 45"/>
                <a:gd name="T9" fmla="*/ 5 h 5"/>
                <a:gd name="T10" fmla="*/ 0 w 45"/>
                <a:gd name="T11" fmla="*/ 5 h 5"/>
              </a:gdLst>
              <a:ahLst/>
              <a:cxnLst>
                <a:cxn ang="0">
                  <a:pos x="T0" y="T1"/>
                </a:cxn>
                <a:cxn ang="0">
                  <a:pos x="T2" y="T3"/>
                </a:cxn>
                <a:cxn ang="0">
                  <a:pos x="T4" y="T5"/>
                </a:cxn>
                <a:cxn ang="0">
                  <a:pos x="T6" y="T7"/>
                </a:cxn>
                <a:cxn ang="0">
                  <a:pos x="T8" y="T9"/>
                </a:cxn>
                <a:cxn ang="0">
                  <a:pos x="T10" y="T11"/>
                </a:cxn>
              </a:cxnLst>
              <a:rect l="0" t="0" r="r" b="b"/>
              <a:pathLst>
                <a:path w="45" h="5">
                  <a:moveTo>
                    <a:pt x="0" y="5"/>
                  </a:moveTo>
                  <a:lnTo>
                    <a:pt x="0" y="0"/>
                  </a:lnTo>
                  <a:lnTo>
                    <a:pt x="45" y="0"/>
                  </a:lnTo>
                  <a:lnTo>
                    <a:pt x="45" y="5"/>
                  </a:lnTo>
                  <a:lnTo>
                    <a:pt x="0" y="5"/>
                  </a:lnTo>
                  <a:lnTo>
                    <a:pt x="0"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7">
              <a:extLst>
                <a:ext uri="{FF2B5EF4-FFF2-40B4-BE49-F238E27FC236}">
                  <a16:creationId xmlns:a16="http://schemas.microsoft.com/office/drawing/2014/main" id="{B9EF8B09-AF1E-4499-B703-A297505EC3B6}"/>
                </a:ext>
              </a:extLst>
            </p:cNvPr>
            <p:cNvSpPr>
              <a:spLocks/>
            </p:cNvSpPr>
            <p:nvPr/>
          </p:nvSpPr>
          <p:spPr bwMode="auto">
            <a:xfrm>
              <a:off x="9861550" y="4154488"/>
              <a:ext cx="71438" cy="7937"/>
            </a:xfrm>
            <a:custGeom>
              <a:avLst/>
              <a:gdLst>
                <a:gd name="T0" fmla="*/ 0 w 45"/>
                <a:gd name="T1" fmla="*/ 5 h 5"/>
                <a:gd name="T2" fmla="*/ 0 w 45"/>
                <a:gd name="T3" fmla="*/ 0 h 5"/>
                <a:gd name="T4" fmla="*/ 45 w 45"/>
                <a:gd name="T5" fmla="*/ 0 h 5"/>
                <a:gd name="T6" fmla="*/ 45 w 45"/>
                <a:gd name="T7" fmla="*/ 5 h 5"/>
                <a:gd name="T8" fmla="*/ 0 w 45"/>
                <a:gd name="T9" fmla="*/ 5 h 5"/>
                <a:gd name="T10" fmla="*/ 0 w 45"/>
                <a:gd name="T11" fmla="*/ 5 h 5"/>
              </a:gdLst>
              <a:ahLst/>
              <a:cxnLst>
                <a:cxn ang="0">
                  <a:pos x="T0" y="T1"/>
                </a:cxn>
                <a:cxn ang="0">
                  <a:pos x="T2" y="T3"/>
                </a:cxn>
                <a:cxn ang="0">
                  <a:pos x="T4" y="T5"/>
                </a:cxn>
                <a:cxn ang="0">
                  <a:pos x="T6" y="T7"/>
                </a:cxn>
                <a:cxn ang="0">
                  <a:pos x="T8" y="T9"/>
                </a:cxn>
                <a:cxn ang="0">
                  <a:pos x="T10" y="T11"/>
                </a:cxn>
              </a:cxnLst>
              <a:rect l="0" t="0" r="r" b="b"/>
              <a:pathLst>
                <a:path w="45" h="5">
                  <a:moveTo>
                    <a:pt x="0" y="5"/>
                  </a:moveTo>
                  <a:lnTo>
                    <a:pt x="0" y="0"/>
                  </a:lnTo>
                  <a:lnTo>
                    <a:pt x="45" y="0"/>
                  </a:lnTo>
                  <a:lnTo>
                    <a:pt x="45" y="5"/>
                  </a:lnTo>
                  <a:lnTo>
                    <a:pt x="0" y="5"/>
                  </a:lnTo>
                  <a:lnTo>
                    <a:pt x="0" y="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8">
              <a:extLst>
                <a:ext uri="{FF2B5EF4-FFF2-40B4-BE49-F238E27FC236}">
                  <a16:creationId xmlns:a16="http://schemas.microsoft.com/office/drawing/2014/main" id="{FCA2F0EE-357B-499B-8CC1-3CB92A72CC3F}"/>
                </a:ext>
              </a:extLst>
            </p:cNvPr>
            <p:cNvSpPr>
              <a:spLocks noEditPoints="1"/>
            </p:cNvSpPr>
            <p:nvPr/>
          </p:nvSpPr>
          <p:spPr bwMode="auto">
            <a:xfrm>
              <a:off x="10001250" y="4029075"/>
              <a:ext cx="214313" cy="612775"/>
            </a:xfrm>
            <a:custGeom>
              <a:avLst/>
              <a:gdLst>
                <a:gd name="T0" fmla="*/ 76 w 76"/>
                <a:gd name="T1" fmla="*/ 75 h 217"/>
                <a:gd name="T2" fmla="*/ 73 w 76"/>
                <a:gd name="T3" fmla="*/ 67 h 217"/>
                <a:gd name="T4" fmla="*/ 72 w 76"/>
                <a:gd name="T5" fmla="*/ 66 h 217"/>
                <a:gd name="T6" fmla="*/ 71 w 76"/>
                <a:gd name="T7" fmla="*/ 64 h 217"/>
                <a:gd name="T8" fmla="*/ 64 w 76"/>
                <a:gd name="T9" fmla="*/ 57 h 217"/>
                <a:gd name="T10" fmla="*/ 63 w 76"/>
                <a:gd name="T11" fmla="*/ 57 h 217"/>
                <a:gd name="T12" fmla="*/ 60 w 76"/>
                <a:gd name="T13" fmla="*/ 55 h 217"/>
                <a:gd name="T14" fmla="*/ 57 w 76"/>
                <a:gd name="T15" fmla="*/ 54 h 217"/>
                <a:gd name="T16" fmla="*/ 56 w 76"/>
                <a:gd name="T17" fmla="*/ 53 h 217"/>
                <a:gd name="T18" fmla="*/ 55 w 76"/>
                <a:gd name="T19" fmla="*/ 53 h 217"/>
                <a:gd name="T20" fmla="*/ 53 w 76"/>
                <a:gd name="T21" fmla="*/ 53 h 217"/>
                <a:gd name="T22" fmla="*/ 48 w 76"/>
                <a:gd name="T23" fmla="*/ 52 h 217"/>
                <a:gd name="T24" fmla="*/ 28 w 76"/>
                <a:gd name="T25" fmla="*/ 52 h 217"/>
                <a:gd name="T26" fmla="*/ 23 w 76"/>
                <a:gd name="T27" fmla="*/ 53 h 217"/>
                <a:gd name="T28" fmla="*/ 22 w 76"/>
                <a:gd name="T29" fmla="*/ 53 h 217"/>
                <a:gd name="T30" fmla="*/ 21 w 76"/>
                <a:gd name="T31" fmla="*/ 53 h 217"/>
                <a:gd name="T32" fmla="*/ 18 w 76"/>
                <a:gd name="T33" fmla="*/ 54 h 217"/>
                <a:gd name="T34" fmla="*/ 5 w 76"/>
                <a:gd name="T35" fmla="*/ 65 h 217"/>
                <a:gd name="T36" fmla="*/ 3 w 76"/>
                <a:gd name="T37" fmla="*/ 68 h 217"/>
                <a:gd name="T38" fmla="*/ 2 w 76"/>
                <a:gd name="T39" fmla="*/ 70 h 217"/>
                <a:gd name="T40" fmla="*/ 2 w 76"/>
                <a:gd name="T41" fmla="*/ 72 h 217"/>
                <a:gd name="T42" fmla="*/ 1 w 76"/>
                <a:gd name="T43" fmla="*/ 75 h 217"/>
                <a:gd name="T44" fmla="*/ 1 w 76"/>
                <a:gd name="T45" fmla="*/ 75 h 217"/>
                <a:gd name="T46" fmla="*/ 0 w 76"/>
                <a:gd name="T47" fmla="*/ 80 h 217"/>
                <a:gd name="T48" fmla="*/ 0 w 76"/>
                <a:gd name="T49" fmla="*/ 120 h 217"/>
                <a:gd name="T50" fmla="*/ 14 w 76"/>
                <a:gd name="T51" fmla="*/ 144 h 217"/>
                <a:gd name="T52" fmla="*/ 14 w 76"/>
                <a:gd name="T53" fmla="*/ 214 h 217"/>
                <a:gd name="T54" fmla="*/ 17 w 76"/>
                <a:gd name="T55" fmla="*/ 217 h 217"/>
                <a:gd name="T56" fmla="*/ 59 w 76"/>
                <a:gd name="T57" fmla="*/ 217 h 217"/>
                <a:gd name="T58" fmla="*/ 62 w 76"/>
                <a:gd name="T59" fmla="*/ 214 h 217"/>
                <a:gd name="T60" fmla="*/ 62 w 76"/>
                <a:gd name="T61" fmla="*/ 144 h 217"/>
                <a:gd name="T62" fmla="*/ 76 w 76"/>
                <a:gd name="T63" fmla="*/ 124 h 217"/>
                <a:gd name="T64" fmla="*/ 76 w 76"/>
                <a:gd name="T65" fmla="*/ 120 h 217"/>
                <a:gd name="T66" fmla="*/ 76 w 76"/>
                <a:gd name="T67" fmla="*/ 80 h 217"/>
                <a:gd name="T68" fmla="*/ 76 w 76"/>
                <a:gd name="T69" fmla="*/ 75 h 217"/>
                <a:gd name="T70" fmla="*/ 76 w 76"/>
                <a:gd name="T71" fmla="*/ 75 h 217"/>
                <a:gd name="T72" fmla="*/ 38 w 76"/>
                <a:gd name="T73" fmla="*/ 45 h 217"/>
                <a:gd name="T74" fmla="*/ 38 w 76"/>
                <a:gd name="T75" fmla="*/ 45 h 217"/>
                <a:gd name="T76" fmla="*/ 61 w 76"/>
                <a:gd name="T77" fmla="*/ 23 h 217"/>
                <a:gd name="T78" fmla="*/ 38 w 76"/>
                <a:gd name="T79" fmla="*/ 0 h 217"/>
                <a:gd name="T80" fmla="*/ 38 w 76"/>
                <a:gd name="T81" fmla="*/ 0 h 217"/>
                <a:gd name="T82" fmla="*/ 16 w 76"/>
                <a:gd name="T83" fmla="*/ 23 h 217"/>
                <a:gd name="T84" fmla="*/ 38 w 76"/>
                <a:gd name="T85" fmla="*/ 4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6" h="217">
                  <a:moveTo>
                    <a:pt x="76" y="75"/>
                  </a:moveTo>
                  <a:cubicBezTo>
                    <a:pt x="75" y="72"/>
                    <a:pt x="74" y="69"/>
                    <a:pt x="73" y="67"/>
                  </a:cubicBezTo>
                  <a:cubicBezTo>
                    <a:pt x="73" y="67"/>
                    <a:pt x="72" y="66"/>
                    <a:pt x="72" y="66"/>
                  </a:cubicBezTo>
                  <a:cubicBezTo>
                    <a:pt x="72" y="66"/>
                    <a:pt x="71" y="65"/>
                    <a:pt x="71" y="64"/>
                  </a:cubicBezTo>
                  <a:cubicBezTo>
                    <a:pt x="69" y="62"/>
                    <a:pt x="67" y="59"/>
                    <a:pt x="64" y="57"/>
                  </a:cubicBezTo>
                  <a:cubicBezTo>
                    <a:pt x="64" y="57"/>
                    <a:pt x="63" y="57"/>
                    <a:pt x="63" y="57"/>
                  </a:cubicBezTo>
                  <a:cubicBezTo>
                    <a:pt x="62" y="56"/>
                    <a:pt x="61" y="56"/>
                    <a:pt x="60" y="55"/>
                  </a:cubicBezTo>
                  <a:cubicBezTo>
                    <a:pt x="59" y="55"/>
                    <a:pt x="58" y="54"/>
                    <a:pt x="57" y="54"/>
                  </a:cubicBezTo>
                  <a:cubicBezTo>
                    <a:pt x="57" y="54"/>
                    <a:pt x="56" y="54"/>
                    <a:pt x="56" y="53"/>
                  </a:cubicBezTo>
                  <a:cubicBezTo>
                    <a:pt x="55" y="53"/>
                    <a:pt x="55" y="53"/>
                    <a:pt x="55" y="53"/>
                  </a:cubicBezTo>
                  <a:cubicBezTo>
                    <a:pt x="54" y="53"/>
                    <a:pt x="54" y="53"/>
                    <a:pt x="53" y="53"/>
                  </a:cubicBezTo>
                  <a:cubicBezTo>
                    <a:pt x="51" y="52"/>
                    <a:pt x="50" y="52"/>
                    <a:pt x="48" y="52"/>
                  </a:cubicBezTo>
                  <a:cubicBezTo>
                    <a:pt x="28" y="52"/>
                    <a:pt x="28" y="52"/>
                    <a:pt x="28" y="52"/>
                  </a:cubicBezTo>
                  <a:cubicBezTo>
                    <a:pt x="27" y="52"/>
                    <a:pt x="25" y="52"/>
                    <a:pt x="23" y="53"/>
                  </a:cubicBezTo>
                  <a:cubicBezTo>
                    <a:pt x="23" y="53"/>
                    <a:pt x="22" y="53"/>
                    <a:pt x="22" y="53"/>
                  </a:cubicBezTo>
                  <a:cubicBezTo>
                    <a:pt x="21" y="53"/>
                    <a:pt x="21" y="53"/>
                    <a:pt x="21" y="53"/>
                  </a:cubicBezTo>
                  <a:cubicBezTo>
                    <a:pt x="20" y="53"/>
                    <a:pt x="19" y="54"/>
                    <a:pt x="18" y="54"/>
                  </a:cubicBezTo>
                  <a:cubicBezTo>
                    <a:pt x="13" y="56"/>
                    <a:pt x="8" y="60"/>
                    <a:pt x="5" y="65"/>
                  </a:cubicBezTo>
                  <a:cubicBezTo>
                    <a:pt x="4" y="66"/>
                    <a:pt x="4" y="67"/>
                    <a:pt x="3" y="68"/>
                  </a:cubicBezTo>
                  <a:cubicBezTo>
                    <a:pt x="3" y="68"/>
                    <a:pt x="3" y="69"/>
                    <a:pt x="2" y="70"/>
                  </a:cubicBezTo>
                  <a:cubicBezTo>
                    <a:pt x="2" y="70"/>
                    <a:pt x="2" y="71"/>
                    <a:pt x="2" y="72"/>
                  </a:cubicBezTo>
                  <a:cubicBezTo>
                    <a:pt x="1" y="73"/>
                    <a:pt x="1" y="74"/>
                    <a:pt x="1" y="75"/>
                  </a:cubicBezTo>
                  <a:cubicBezTo>
                    <a:pt x="1" y="75"/>
                    <a:pt x="1" y="75"/>
                    <a:pt x="1" y="75"/>
                  </a:cubicBezTo>
                  <a:cubicBezTo>
                    <a:pt x="0" y="77"/>
                    <a:pt x="0" y="79"/>
                    <a:pt x="0" y="80"/>
                  </a:cubicBezTo>
                  <a:cubicBezTo>
                    <a:pt x="0" y="120"/>
                    <a:pt x="0" y="120"/>
                    <a:pt x="0" y="120"/>
                  </a:cubicBezTo>
                  <a:cubicBezTo>
                    <a:pt x="0" y="130"/>
                    <a:pt x="5" y="139"/>
                    <a:pt x="14" y="144"/>
                  </a:cubicBezTo>
                  <a:cubicBezTo>
                    <a:pt x="14" y="214"/>
                    <a:pt x="14" y="214"/>
                    <a:pt x="14" y="214"/>
                  </a:cubicBezTo>
                  <a:cubicBezTo>
                    <a:pt x="14" y="216"/>
                    <a:pt x="16" y="217"/>
                    <a:pt x="17" y="217"/>
                  </a:cubicBezTo>
                  <a:cubicBezTo>
                    <a:pt x="59" y="217"/>
                    <a:pt x="59" y="217"/>
                    <a:pt x="59" y="217"/>
                  </a:cubicBezTo>
                  <a:cubicBezTo>
                    <a:pt x="61" y="217"/>
                    <a:pt x="62" y="216"/>
                    <a:pt x="62" y="214"/>
                  </a:cubicBezTo>
                  <a:cubicBezTo>
                    <a:pt x="62" y="144"/>
                    <a:pt x="62" y="144"/>
                    <a:pt x="62" y="144"/>
                  </a:cubicBezTo>
                  <a:cubicBezTo>
                    <a:pt x="70" y="140"/>
                    <a:pt x="75" y="133"/>
                    <a:pt x="76" y="124"/>
                  </a:cubicBezTo>
                  <a:cubicBezTo>
                    <a:pt x="76" y="123"/>
                    <a:pt x="76" y="122"/>
                    <a:pt x="76" y="120"/>
                  </a:cubicBezTo>
                  <a:cubicBezTo>
                    <a:pt x="76" y="80"/>
                    <a:pt x="76" y="80"/>
                    <a:pt x="76" y="80"/>
                  </a:cubicBezTo>
                  <a:cubicBezTo>
                    <a:pt x="76" y="79"/>
                    <a:pt x="76" y="77"/>
                    <a:pt x="76" y="75"/>
                  </a:cubicBezTo>
                  <a:cubicBezTo>
                    <a:pt x="76" y="75"/>
                    <a:pt x="76" y="75"/>
                    <a:pt x="76" y="75"/>
                  </a:cubicBezTo>
                  <a:close/>
                  <a:moveTo>
                    <a:pt x="38" y="45"/>
                  </a:moveTo>
                  <a:cubicBezTo>
                    <a:pt x="38" y="45"/>
                    <a:pt x="38" y="45"/>
                    <a:pt x="38" y="45"/>
                  </a:cubicBezTo>
                  <a:cubicBezTo>
                    <a:pt x="51" y="45"/>
                    <a:pt x="61" y="35"/>
                    <a:pt x="61" y="23"/>
                  </a:cubicBezTo>
                  <a:cubicBezTo>
                    <a:pt x="61" y="10"/>
                    <a:pt x="51" y="0"/>
                    <a:pt x="38" y="0"/>
                  </a:cubicBezTo>
                  <a:cubicBezTo>
                    <a:pt x="38" y="0"/>
                    <a:pt x="38" y="0"/>
                    <a:pt x="38" y="0"/>
                  </a:cubicBezTo>
                  <a:cubicBezTo>
                    <a:pt x="26" y="0"/>
                    <a:pt x="16" y="10"/>
                    <a:pt x="16" y="23"/>
                  </a:cubicBezTo>
                  <a:cubicBezTo>
                    <a:pt x="16" y="35"/>
                    <a:pt x="26" y="45"/>
                    <a:pt x="38" y="4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Oval 9">
              <a:extLst>
                <a:ext uri="{FF2B5EF4-FFF2-40B4-BE49-F238E27FC236}">
                  <a16:creationId xmlns:a16="http://schemas.microsoft.com/office/drawing/2014/main" id="{2AC1E822-34F5-44AC-86A7-8AC733EF7EB0}"/>
                </a:ext>
              </a:extLst>
            </p:cNvPr>
            <p:cNvSpPr>
              <a:spLocks noChangeArrowheads="1"/>
            </p:cNvSpPr>
            <p:nvPr/>
          </p:nvSpPr>
          <p:spPr bwMode="auto">
            <a:xfrm>
              <a:off x="9817100" y="3871913"/>
              <a:ext cx="52388" cy="53975"/>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0">
              <a:extLst>
                <a:ext uri="{FF2B5EF4-FFF2-40B4-BE49-F238E27FC236}">
                  <a16:creationId xmlns:a16="http://schemas.microsoft.com/office/drawing/2014/main" id="{B1E43552-B422-4473-BF2B-E295231C3888}"/>
                </a:ext>
              </a:extLst>
            </p:cNvPr>
            <p:cNvSpPr>
              <a:spLocks/>
            </p:cNvSpPr>
            <p:nvPr/>
          </p:nvSpPr>
          <p:spPr bwMode="auto">
            <a:xfrm>
              <a:off x="9810750" y="3868738"/>
              <a:ext cx="285750" cy="736600"/>
            </a:xfrm>
            <a:custGeom>
              <a:avLst/>
              <a:gdLst>
                <a:gd name="T0" fmla="*/ 101 w 101"/>
                <a:gd name="T1" fmla="*/ 17 h 261"/>
                <a:gd name="T2" fmla="*/ 87 w 101"/>
                <a:gd name="T3" fmla="*/ 0 h 261"/>
                <a:gd name="T4" fmla="*/ 34 w 101"/>
                <a:gd name="T5" fmla="*/ 0 h 261"/>
                <a:gd name="T6" fmla="*/ 36 w 101"/>
                <a:gd name="T7" fmla="*/ 10 h 261"/>
                <a:gd name="T8" fmla="*/ 12 w 101"/>
                <a:gd name="T9" fmla="*/ 34 h 261"/>
                <a:gd name="T10" fmla="*/ 0 w 101"/>
                <a:gd name="T11" fmla="*/ 30 h 261"/>
                <a:gd name="T12" fmla="*/ 0 w 101"/>
                <a:gd name="T13" fmla="*/ 244 h 261"/>
                <a:gd name="T14" fmla="*/ 14 w 101"/>
                <a:gd name="T15" fmla="*/ 261 h 261"/>
                <a:gd name="T16" fmla="*/ 74 w 101"/>
                <a:gd name="T17" fmla="*/ 261 h 261"/>
                <a:gd name="T18" fmla="*/ 74 w 101"/>
                <a:gd name="T19" fmla="*/ 205 h 261"/>
                <a:gd name="T20" fmla="*/ 61 w 101"/>
                <a:gd name="T21" fmla="*/ 177 h 261"/>
                <a:gd name="T22" fmla="*/ 61 w 101"/>
                <a:gd name="T23" fmla="*/ 137 h 261"/>
                <a:gd name="T24" fmla="*/ 61 w 101"/>
                <a:gd name="T25" fmla="*/ 134 h 261"/>
                <a:gd name="T26" fmla="*/ 11 w 101"/>
                <a:gd name="T27" fmla="*/ 134 h 261"/>
                <a:gd name="T28" fmla="*/ 11 w 101"/>
                <a:gd name="T29" fmla="*/ 49 h 261"/>
                <a:gd name="T30" fmla="*/ 89 w 101"/>
                <a:gd name="T31" fmla="*/ 49 h 261"/>
                <a:gd name="T32" fmla="*/ 89 w 101"/>
                <a:gd name="T33" fmla="*/ 56 h 261"/>
                <a:gd name="T34" fmla="*/ 101 w 101"/>
                <a:gd name="T35" fmla="*/ 51 h 261"/>
                <a:gd name="T36" fmla="*/ 101 w 101"/>
                <a:gd name="T37" fmla="*/ 1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1" h="261">
                  <a:moveTo>
                    <a:pt x="101" y="17"/>
                  </a:moveTo>
                  <a:cubicBezTo>
                    <a:pt x="101" y="8"/>
                    <a:pt x="95" y="0"/>
                    <a:pt x="87" y="0"/>
                  </a:cubicBezTo>
                  <a:cubicBezTo>
                    <a:pt x="34" y="0"/>
                    <a:pt x="34" y="0"/>
                    <a:pt x="34" y="0"/>
                  </a:cubicBezTo>
                  <a:cubicBezTo>
                    <a:pt x="35" y="3"/>
                    <a:pt x="36" y="7"/>
                    <a:pt x="36" y="10"/>
                  </a:cubicBezTo>
                  <a:cubicBezTo>
                    <a:pt x="36" y="23"/>
                    <a:pt x="25" y="34"/>
                    <a:pt x="12" y="34"/>
                  </a:cubicBezTo>
                  <a:cubicBezTo>
                    <a:pt x="8" y="34"/>
                    <a:pt x="3" y="33"/>
                    <a:pt x="0" y="30"/>
                  </a:cubicBezTo>
                  <a:cubicBezTo>
                    <a:pt x="0" y="244"/>
                    <a:pt x="0" y="244"/>
                    <a:pt x="0" y="244"/>
                  </a:cubicBezTo>
                  <a:cubicBezTo>
                    <a:pt x="0" y="253"/>
                    <a:pt x="6" y="261"/>
                    <a:pt x="14" y="261"/>
                  </a:cubicBezTo>
                  <a:cubicBezTo>
                    <a:pt x="74" y="261"/>
                    <a:pt x="74" y="261"/>
                    <a:pt x="74" y="261"/>
                  </a:cubicBezTo>
                  <a:cubicBezTo>
                    <a:pt x="74" y="205"/>
                    <a:pt x="74" y="205"/>
                    <a:pt x="74" y="205"/>
                  </a:cubicBezTo>
                  <a:cubicBezTo>
                    <a:pt x="66" y="198"/>
                    <a:pt x="61" y="188"/>
                    <a:pt x="61" y="177"/>
                  </a:cubicBezTo>
                  <a:cubicBezTo>
                    <a:pt x="61" y="137"/>
                    <a:pt x="61" y="137"/>
                    <a:pt x="61" y="137"/>
                  </a:cubicBezTo>
                  <a:cubicBezTo>
                    <a:pt x="61" y="136"/>
                    <a:pt x="61" y="135"/>
                    <a:pt x="61" y="134"/>
                  </a:cubicBezTo>
                  <a:cubicBezTo>
                    <a:pt x="11" y="134"/>
                    <a:pt x="11" y="134"/>
                    <a:pt x="11" y="134"/>
                  </a:cubicBezTo>
                  <a:cubicBezTo>
                    <a:pt x="11" y="49"/>
                    <a:pt x="11" y="49"/>
                    <a:pt x="11" y="49"/>
                  </a:cubicBezTo>
                  <a:cubicBezTo>
                    <a:pt x="89" y="49"/>
                    <a:pt x="89" y="49"/>
                    <a:pt x="89" y="49"/>
                  </a:cubicBezTo>
                  <a:cubicBezTo>
                    <a:pt x="89" y="56"/>
                    <a:pt x="89" y="56"/>
                    <a:pt x="89" y="56"/>
                  </a:cubicBezTo>
                  <a:cubicBezTo>
                    <a:pt x="92" y="53"/>
                    <a:pt x="96" y="52"/>
                    <a:pt x="101" y="51"/>
                  </a:cubicBezTo>
                  <a:lnTo>
                    <a:pt x="101"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Rectangle 11">
              <a:extLst>
                <a:ext uri="{FF2B5EF4-FFF2-40B4-BE49-F238E27FC236}">
                  <a16:creationId xmlns:a16="http://schemas.microsoft.com/office/drawing/2014/main" id="{487E2AFA-B1A8-49D4-BB62-C7DD4275C50B}"/>
                </a:ext>
              </a:extLst>
            </p:cNvPr>
            <p:cNvSpPr>
              <a:spLocks noChangeArrowheads="1"/>
            </p:cNvSpPr>
            <p:nvPr/>
          </p:nvSpPr>
          <p:spPr bwMode="auto">
            <a:xfrm>
              <a:off x="9940925" y="4129088"/>
              <a:ext cx="47625" cy="84137"/>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2">
              <a:extLst>
                <a:ext uri="{FF2B5EF4-FFF2-40B4-BE49-F238E27FC236}">
                  <a16:creationId xmlns:a16="http://schemas.microsoft.com/office/drawing/2014/main" id="{F460B473-4AE4-46C1-A102-97C73B066624}"/>
                </a:ext>
              </a:extLst>
            </p:cNvPr>
            <p:cNvSpPr>
              <a:spLocks/>
            </p:cNvSpPr>
            <p:nvPr/>
          </p:nvSpPr>
          <p:spPr bwMode="auto">
            <a:xfrm>
              <a:off x="9940925" y="4086225"/>
              <a:ext cx="85725" cy="7937"/>
            </a:xfrm>
            <a:custGeom>
              <a:avLst/>
              <a:gdLst>
                <a:gd name="T0" fmla="*/ 30 w 30"/>
                <a:gd name="T1" fmla="*/ 0 h 3"/>
                <a:gd name="T2" fmla="*/ 0 w 30"/>
                <a:gd name="T3" fmla="*/ 0 h 3"/>
                <a:gd name="T4" fmla="*/ 0 w 30"/>
                <a:gd name="T5" fmla="*/ 3 h 3"/>
                <a:gd name="T6" fmla="*/ 30 w 30"/>
                <a:gd name="T7" fmla="*/ 3 h 3"/>
                <a:gd name="T8" fmla="*/ 30 w 30"/>
                <a:gd name="T9" fmla="*/ 3 h 3"/>
                <a:gd name="T10" fmla="*/ 30 w 30"/>
                <a:gd name="T11" fmla="*/ 0 h 3"/>
              </a:gdLst>
              <a:ahLst/>
              <a:cxnLst>
                <a:cxn ang="0">
                  <a:pos x="T0" y="T1"/>
                </a:cxn>
                <a:cxn ang="0">
                  <a:pos x="T2" y="T3"/>
                </a:cxn>
                <a:cxn ang="0">
                  <a:pos x="T4" y="T5"/>
                </a:cxn>
                <a:cxn ang="0">
                  <a:pos x="T6" y="T7"/>
                </a:cxn>
                <a:cxn ang="0">
                  <a:pos x="T8" y="T9"/>
                </a:cxn>
                <a:cxn ang="0">
                  <a:pos x="T10" y="T11"/>
                </a:cxn>
              </a:cxnLst>
              <a:rect l="0" t="0" r="r" b="b"/>
              <a:pathLst>
                <a:path w="30" h="3">
                  <a:moveTo>
                    <a:pt x="30" y="0"/>
                  </a:moveTo>
                  <a:cubicBezTo>
                    <a:pt x="0" y="0"/>
                    <a:pt x="0" y="0"/>
                    <a:pt x="0" y="0"/>
                  </a:cubicBezTo>
                  <a:cubicBezTo>
                    <a:pt x="0" y="3"/>
                    <a:pt x="0" y="3"/>
                    <a:pt x="0" y="3"/>
                  </a:cubicBezTo>
                  <a:cubicBezTo>
                    <a:pt x="30" y="3"/>
                    <a:pt x="30" y="3"/>
                    <a:pt x="30" y="3"/>
                  </a:cubicBezTo>
                  <a:cubicBezTo>
                    <a:pt x="30" y="3"/>
                    <a:pt x="30" y="3"/>
                    <a:pt x="30" y="3"/>
                  </a:cubicBezTo>
                  <a:cubicBezTo>
                    <a:pt x="30" y="2"/>
                    <a:pt x="30" y="1"/>
                    <a:pt x="3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3">
              <a:extLst>
                <a:ext uri="{FF2B5EF4-FFF2-40B4-BE49-F238E27FC236}">
                  <a16:creationId xmlns:a16="http://schemas.microsoft.com/office/drawing/2014/main" id="{675339A8-0ACD-4983-8B5F-7C70C984B3C9}"/>
                </a:ext>
              </a:extLst>
            </p:cNvPr>
            <p:cNvSpPr>
              <a:spLocks/>
            </p:cNvSpPr>
            <p:nvPr/>
          </p:nvSpPr>
          <p:spPr bwMode="auto">
            <a:xfrm>
              <a:off x="9940925" y="4103688"/>
              <a:ext cx="87313" cy="7937"/>
            </a:xfrm>
            <a:custGeom>
              <a:avLst/>
              <a:gdLst>
                <a:gd name="T0" fmla="*/ 0 w 31"/>
                <a:gd name="T1" fmla="*/ 0 h 3"/>
                <a:gd name="T2" fmla="*/ 0 w 31"/>
                <a:gd name="T3" fmla="*/ 3 h 3"/>
                <a:gd name="T4" fmla="*/ 31 w 31"/>
                <a:gd name="T5" fmla="*/ 3 h 3"/>
                <a:gd name="T6" fmla="*/ 31 w 31"/>
                <a:gd name="T7" fmla="*/ 0 h 3"/>
                <a:gd name="T8" fmla="*/ 0 w 31"/>
                <a:gd name="T9" fmla="*/ 0 h 3"/>
              </a:gdLst>
              <a:ahLst/>
              <a:cxnLst>
                <a:cxn ang="0">
                  <a:pos x="T0" y="T1"/>
                </a:cxn>
                <a:cxn ang="0">
                  <a:pos x="T2" y="T3"/>
                </a:cxn>
                <a:cxn ang="0">
                  <a:pos x="T4" y="T5"/>
                </a:cxn>
                <a:cxn ang="0">
                  <a:pos x="T6" y="T7"/>
                </a:cxn>
                <a:cxn ang="0">
                  <a:pos x="T8" y="T9"/>
                </a:cxn>
              </a:cxnLst>
              <a:rect l="0" t="0" r="r" b="b"/>
              <a:pathLst>
                <a:path w="31" h="3">
                  <a:moveTo>
                    <a:pt x="0" y="0"/>
                  </a:moveTo>
                  <a:cubicBezTo>
                    <a:pt x="0" y="3"/>
                    <a:pt x="0" y="3"/>
                    <a:pt x="0" y="3"/>
                  </a:cubicBezTo>
                  <a:cubicBezTo>
                    <a:pt x="31" y="3"/>
                    <a:pt x="31" y="3"/>
                    <a:pt x="31" y="3"/>
                  </a:cubicBezTo>
                  <a:cubicBezTo>
                    <a:pt x="31" y="2"/>
                    <a:pt x="31" y="1"/>
                    <a:pt x="31" y="0"/>
                  </a:cubicBezTo>
                  <a:lnTo>
                    <a:pt x="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4">
              <a:extLst>
                <a:ext uri="{FF2B5EF4-FFF2-40B4-BE49-F238E27FC236}">
                  <a16:creationId xmlns:a16="http://schemas.microsoft.com/office/drawing/2014/main" id="{6629FDE3-767D-479C-9D72-36DD586609A4}"/>
                </a:ext>
              </a:extLst>
            </p:cNvPr>
            <p:cNvSpPr>
              <a:spLocks/>
            </p:cNvSpPr>
            <p:nvPr/>
          </p:nvSpPr>
          <p:spPr bwMode="auto">
            <a:xfrm>
              <a:off x="9861550" y="4038600"/>
              <a:ext cx="180975" cy="26987"/>
            </a:xfrm>
            <a:custGeom>
              <a:avLst/>
              <a:gdLst>
                <a:gd name="T0" fmla="*/ 64 w 64"/>
                <a:gd name="T1" fmla="*/ 0 h 10"/>
                <a:gd name="T2" fmla="*/ 0 w 64"/>
                <a:gd name="T3" fmla="*/ 0 h 10"/>
                <a:gd name="T4" fmla="*/ 0 w 64"/>
                <a:gd name="T5" fmla="*/ 10 h 10"/>
                <a:gd name="T6" fmla="*/ 60 w 64"/>
                <a:gd name="T7" fmla="*/ 10 h 10"/>
                <a:gd name="T8" fmla="*/ 64 w 64"/>
                <a:gd name="T9" fmla="*/ 3 h 10"/>
                <a:gd name="T10" fmla="*/ 64 w 64"/>
                <a:gd name="T11" fmla="*/ 0 h 10"/>
              </a:gdLst>
              <a:ahLst/>
              <a:cxnLst>
                <a:cxn ang="0">
                  <a:pos x="T0" y="T1"/>
                </a:cxn>
                <a:cxn ang="0">
                  <a:pos x="T2" y="T3"/>
                </a:cxn>
                <a:cxn ang="0">
                  <a:pos x="T4" y="T5"/>
                </a:cxn>
                <a:cxn ang="0">
                  <a:pos x="T6" y="T7"/>
                </a:cxn>
                <a:cxn ang="0">
                  <a:pos x="T8" y="T9"/>
                </a:cxn>
                <a:cxn ang="0">
                  <a:pos x="T10" y="T11"/>
                </a:cxn>
              </a:cxnLst>
              <a:rect l="0" t="0" r="r" b="b"/>
              <a:pathLst>
                <a:path w="64" h="10">
                  <a:moveTo>
                    <a:pt x="64" y="0"/>
                  </a:moveTo>
                  <a:cubicBezTo>
                    <a:pt x="0" y="0"/>
                    <a:pt x="0" y="0"/>
                    <a:pt x="0" y="0"/>
                  </a:cubicBezTo>
                  <a:cubicBezTo>
                    <a:pt x="0" y="10"/>
                    <a:pt x="0" y="10"/>
                    <a:pt x="0" y="10"/>
                  </a:cubicBezTo>
                  <a:cubicBezTo>
                    <a:pt x="60" y="10"/>
                    <a:pt x="60" y="10"/>
                    <a:pt x="60" y="10"/>
                  </a:cubicBezTo>
                  <a:cubicBezTo>
                    <a:pt x="61" y="7"/>
                    <a:pt x="62" y="5"/>
                    <a:pt x="64" y="3"/>
                  </a:cubicBezTo>
                  <a:lnTo>
                    <a:pt x="6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5">
              <a:extLst>
                <a:ext uri="{FF2B5EF4-FFF2-40B4-BE49-F238E27FC236}">
                  <a16:creationId xmlns:a16="http://schemas.microsoft.com/office/drawing/2014/main" id="{57F28FCA-5E04-447F-B66F-DBE9D676BEAD}"/>
                </a:ext>
              </a:extLst>
            </p:cNvPr>
            <p:cNvSpPr>
              <a:spLocks/>
            </p:cNvSpPr>
            <p:nvPr/>
          </p:nvSpPr>
          <p:spPr bwMode="auto">
            <a:xfrm>
              <a:off x="9994900" y="4129088"/>
              <a:ext cx="44450" cy="80962"/>
            </a:xfrm>
            <a:custGeom>
              <a:avLst/>
              <a:gdLst>
                <a:gd name="T0" fmla="*/ 0 w 16"/>
                <a:gd name="T1" fmla="*/ 29 h 29"/>
                <a:gd name="T2" fmla="*/ 1 w 16"/>
                <a:gd name="T3" fmla="*/ 27 h 29"/>
                <a:gd name="T4" fmla="*/ 16 w 16"/>
                <a:gd name="T5" fmla="*/ 14 h 29"/>
                <a:gd name="T6" fmla="*/ 16 w 16"/>
                <a:gd name="T7" fmla="*/ 4 h 29"/>
                <a:gd name="T8" fmla="*/ 14 w 16"/>
                <a:gd name="T9" fmla="*/ 0 h 29"/>
                <a:gd name="T10" fmla="*/ 0 w 16"/>
                <a:gd name="T11" fmla="*/ 0 h 29"/>
                <a:gd name="T12" fmla="*/ 0 w 1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0" y="29"/>
                  </a:moveTo>
                  <a:cubicBezTo>
                    <a:pt x="0" y="28"/>
                    <a:pt x="1" y="27"/>
                    <a:pt x="1" y="27"/>
                  </a:cubicBezTo>
                  <a:cubicBezTo>
                    <a:pt x="5" y="21"/>
                    <a:pt x="10" y="16"/>
                    <a:pt x="16" y="14"/>
                  </a:cubicBezTo>
                  <a:cubicBezTo>
                    <a:pt x="16" y="4"/>
                    <a:pt x="16" y="4"/>
                    <a:pt x="16" y="4"/>
                  </a:cubicBezTo>
                  <a:cubicBezTo>
                    <a:pt x="15" y="3"/>
                    <a:pt x="15" y="1"/>
                    <a:pt x="14" y="0"/>
                  </a:cubicBezTo>
                  <a:cubicBezTo>
                    <a:pt x="0" y="0"/>
                    <a:pt x="0" y="0"/>
                    <a:pt x="0" y="0"/>
                  </a:cubicBezTo>
                  <a:lnTo>
                    <a:pt x="0" y="2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70" name="Group 34">
            <a:extLst>
              <a:ext uri="{FF2B5EF4-FFF2-40B4-BE49-F238E27FC236}">
                <a16:creationId xmlns:a16="http://schemas.microsoft.com/office/drawing/2014/main" id="{634B927A-6DAE-4AF1-A6C8-61CC674E871F}"/>
              </a:ext>
            </a:extLst>
          </p:cNvPr>
          <p:cNvGrpSpPr/>
          <p:nvPr/>
        </p:nvGrpSpPr>
        <p:grpSpPr>
          <a:xfrm>
            <a:off x="1592777" y="3655134"/>
            <a:ext cx="733167" cy="235092"/>
            <a:chOff x="917575" y="3476625"/>
            <a:chExt cx="1168401" cy="374651"/>
          </a:xfrm>
          <a:solidFill>
            <a:schemeClr val="bg1"/>
          </a:solidFill>
        </p:grpSpPr>
        <p:sp>
          <p:nvSpPr>
            <p:cNvPr id="171" name="Freeform 5">
              <a:extLst>
                <a:ext uri="{FF2B5EF4-FFF2-40B4-BE49-F238E27FC236}">
                  <a16:creationId xmlns:a16="http://schemas.microsoft.com/office/drawing/2014/main" id="{B9BCEE1C-E095-43CA-8A67-8C5B4B7C5B0A}"/>
                </a:ext>
              </a:extLst>
            </p:cNvPr>
            <p:cNvSpPr>
              <a:spLocks/>
            </p:cNvSpPr>
            <p:nvPr/>
          </p:nvSpPr>
          <p:spPr bwMode="auto">
            <a:xfrm>
              <a:off x="917575" y="3476625"/>
              <a:ext cx="58738" cy="60325"/>
            </a:xfrm>
            <a:custGeom>
              <a:avLst/>
              <a:gdLst>
                <a:gd name="T0" fmla="*/ 6 w 21"/>
                <a:gd name="T1" fmla="*/ 19 h 21"/>
                <a:gd name="T2" fmla="*/ 18 w 21"/>
                <a:gd name="T3" fmla="*/ 14 h 21"/>
                <a:gd name="T4" fmla="*/ 14 w 21"/>
                <a:gd name="T5" fmla="*/ 2 h 21"/>
                <a:gd name="T6" fmla="*/ 2 w 21"/>
                <a:gd name="T7" fmla="*/ 6 h 21"/>
                <a:gd name="T8" fmla="*/ 6 w 21"/>
                <a:gd name="T9" fmla="*/ 19 h 21"/>
              </a:gdLst>
              <a:ahLst/>
              <a:cxnLst>
                <a:cxn ang="0">
                  <a:pos x="T0" y="T1"/>
                </a:cxn>
                <a:cxn ang="0">
                  <a:pos x="T2" y="T3"/>
                </a:cxn>
                <a:cxn ang="0">
                  <a:pos x="T4" y="T5"/>
                </a:cxn>
                <a:cxn ang="0">
                  <a:pos x="T6" y="T7"/>
                </a:cxn>
                <a:cxn ang="0">
                  <a:pos x="T8" y="T9"/>
                </a:cxn>
              </a:cxnLst>
              <a:rect l="0" t="0" r="r" b="b"/>
              <a:pathLst>
                <a:path w="21" h="21">
                  <a:moveTo>
                    <a:pt x="6" y="19"/>
                  </a:moveTo>
                  <a:cubicBezTo>
                    <a:pt x="11" y="21"/>
                    <a:pt x="16" y="19"/>
                    <a:pt x="18" y="14"/>
                  </a:cubicBezTo>
                  <a:cubicBezTo>
                    <a:pt x="21" y="10"/>
                    <a:pt x="19" y="4"/>
                    <a:pt x="14" y="2"/>
                  </a:cubicBezTo>
                  <a:cubicBezTo>
                    <a:pt x="10" y="0"/>
                    <a:pt x="4" y="2"/>
                    <a:pt x="2" y="6"/>
                  </a:cubicBezTo>
                  <a:cubicBezTo>
                    <a:pt x="0" y="11"/>
                    <a:pt x="2" y="16"/>
                    <a:pt x="6"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spcBef>
                  <a:spcPts val="0"/>
                </a:spcBef>
              </a:pPr>
              <a:endParaRPr lang="en-US">
                <a:latin typeface="+mn-lt"/>
              </a:endParaRPr>
            </a:p>
          </p:txBody>
        </p:sp>
        <p:sp>
          <p:nvSpPr>
            <p:cNvPr id="172" name="Freeform 6">
              <a:extLst>
                <a:ext uri="{FF2B5EF4-FFF2-40B4-BE49-F238E27FC236}">
                  <a16:creationId xmlns:a16="http://schemas.microsoft.com/office/drawing/2014/main" id="{AD54F975-C5E0-40A2-A08D-5A68D11F4281}"/>
                </a:ext>
              </a:extLst>
            </p:cNvPr>
            <p:cNvSpPr>
              <a:spLocks noEditPoints="1"/>
            </p:cNvSpPr>
            <p:nvPr/>
          </p:nvSpPr>
          <p:spPr bwMode="auto">
            <a:xfrm>
              <a:off x="925513" y="3482975"/>
              <a:ext cx="1160463" cy="328613"/>
            </a:xfrm>
            <a:custGeom>
              <a:avLst/>
              <a:gdLst>
                <a:gd name="T0" fmla="*/ 0 w 412"/>
                <a:gd name="T1" fmla="*/ 95 h 116"/>
                <a:gd name="T2" fmla="*/ 14 w 412"/>
                <a:gd name="T3" fmla="*/ 116 h 116"/>
                <a:gd name="T4" fmla="*/ 402 w 412"/>
                <a:gd name="T5" fmla="*/ 97 h 116"/>
                <a:gd name="T6" fmla="*/ 29 w 412"/>
                <a:gd name="T7" fmla="*/ 0 h 116"/>
                <a:gd name="T8" fmla="*/ 10 w 412"/>
                <a:gd name="T9" fmla="*/ 32 h 116"/>
                <a:gd name="T10" fmla="*/ 331 w 412"/>
                <a:gd name="T11" fmla="*/ 33 h 116"/>
                <a:gd name="T12" fmla="*/ 375 w 412"/>
                <a:gd name="T13" fmla="*/ 52 h 116"/>
                <a:gd name="T14" fmla="*/ 341 w 412"/>
                <a:gd name="T15" fmla="*/ 59 h 116"/>
                <a:gd name="T16" fmla="*/ 331 w 412"/>
                <a:gd name="T17" fmla="*/ 33 h 116"/>
                <a:gd name="T18" fmla="*/ 266 w 412"/>
                <a:gd name="T19" fmla="*/ 25 h 116"/>
                <a:gd name="T20" fmla="*/ 306 w 412"/>
                <a:gd name="T21" fmla="*/ 31 h 116"/>
                <a:gd name="T22" fmla="*/ 307 w 412"/>
                <a:gd name="T23" fmla="*/ 33 h 116"/>
                <a:gd name="T24" fmla="*/ 297 w 412"/>
                <a:gd name="T25" fmla="*/ 59 h 116"/>
                <a:gd name="T26" fmla="*/ 256 w 412"/>
                <a:gd name="T27" fmla="*/ 50 h 116"/>
                <a:gd name="T28" fmla="*/ 200 w 412"/>
                <a:gd name="T29" fmla="*/ 33 h 116"/>
                <a:gd name="T30" fmla="*/ 241 w 412"/>
                <a:gd name="T31" fmla="*/ 25 h 116"/>
                <a:gd name="T32" fmla="*/ 250 w 412"/>
                <a:gd name="T33" fmla="*/ 31 h 116"/>
                <a:gd name="T34" fmla="*/ 251 w 412"/>
                <a:gd name="T35" fmla="*/ 50 h 116"/>
                <a:gd name="T36" fmla="*/ 210 w 412"/>
                <a:gd name="T37" fmla="*/ 59 h 116"/>
                <a:gd name="T38" fmla="*/ 200 w 412"/>
                <a:gd name="T39" fmla="*/ 33 h 116"/>
                <a:gd name="T40" fmla="*/ 154 w 412"/>
                <a:gd name="T41" fmla="*/ 25 h 116"/>
                <a:gd name="T42" fmla="*/ 194 w 412"/>
                <a:gd name="T43" fmla="*/ 31 h 116"/>
                <a:gd name="T44" fmla="*/ 195 w 412"/>
                <a:gd name="T45" fmla="*/ 33 h 116"/>
                <a:gd name="T46" fmla="*/ 184 w 412"/>
                <a:gd name="T47" fmla="*/ 59 h 116"/>
                <a:gd name="T48" fmla="*/ 144 w 412"/>
                <a:gd name="T49" fmla="*/ 50 h 116"/>
                <a:gd name="T50" fmla="*/ 88 w 412"/>
                <a:gd name="T51" fmla="*/ 33 h 116"/>
                <a:gd name="T52" fmla="*/ 128 w 412"/>
                <a:gd name="T53" fmla="*/ 25 h 116"/>
                <a:gd name="T54" fmla="*/ 138 w 412"/>
                <a:gd name="T55" fmla="*/ 31 h 116"/>
                <a:gd name="T56" fmla="*/ 138 w 412"/>
                <a:gd name="T57" fmla="*/ 50 h 116"/>
                <a:gd name="T58" fmla="*/ 98 w 412"/>
                <a:gd name="T59" fmla="*/ 59 h 116"/>
                <a:gd name="T60" fmla="*/ 88 w 412"/>
                <a:gd name="T61" fmla="*/ 33 h 116"/>
                <a:gd name="T62" fmla="*/ 42 w 412"/>
                <a:gd name="T63" fmla="*/ 25 h 116"/>
                <a:gd name="T64" fmla="*/ 82 w 412"/>
                <a:gd name="T65" fmla="*/ 31 h 116"/>
                <a:gd name="T66" fmla="*/ 82 w 412"/>
                <a:gd name="T67" fmla="*/ 33 h 116"/>
                <a:gd name="T68" fmla="*/ 72 w 412"/>
                <a:gd name="T69" fmla="*/ 59 h 116"/>
                <a:gd name="T70" fmla="*/ 31 w 412"/>
                <a:gd name="T71" fmla="*/ 5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12" h="116">
                  <a:moveTo>
                    <a:pt x="0" y="31"/>
                  </a:moveTo>
                  <a:cubicBezTo>
                    <a:pt x="0" y="95"/>
                    <a:pt x="0" y="95"/>
                    <a:pt x="0" y="95"/>
                  </a:cubicBezTo>
                  <a:cubicBezTo>
                    <a:pt x="0" y="95"/>
                    <a:pt x="0" y="95"/>
                    <a:pt x="0" y="95"/>
                  </a:cubicBezTo>
                  <a:cubicBezTo>
                    <a:pt x="0" y="95"/>
                    <a:pt x="1" y="116"/>
                    <a:pt x="14" y="116"/>
                  </a:cubicBezTo>
                  <a:cubicBezTo>
                    <a:pt x="394" y="116"/>
                    <a:pt x="394" y="116"/>
                    <a:pt x="394" y="116"/>
                  </a:cubicBezTo>
                  <a:cubicBezTo>
                    <a:pt x="412" y="116"/>
                    <a:pt x="402" y="97"/>
                    <a:pt x="402" y="97"/>
                  </a:cubicBezTo>
                  <a:cubicBezTo>
                    <a:pt x="402" y="97"/>
                    <a:pt x="367" y="0"/>
                    <a:pt x="309" y="0"/>
                  </a:cubicBezTo>
                  <a:cubicBezTo>
                    <a:pt x="29" y="0"/>
                    <a:pt x="29" y="0"/>
                    <a:pt x="29" y="0"/>
                  </a:cubicBezTo>
                  <a:cubicBezTo>
                    <a:pt x="32" y="6"/>
                    <a:pt x="32" y="13"/>
                    <a:pt x="29" y="19"/>
                  </a:cubicBezTo>
                  <a:cubicBezTo>
                    <a:pt x="25" y="26"/>
                    <a:pt x="18" y="31"/>
                    <a:pt x="10" y="32"/>
                  </a:cubicBezTo>
                  <a:cubicBezTo>
                    <a:pt x="7" y="32"/>
                    <a:pt x="3" y="32"/>
                    <a:pt x="0" y="31"/>
                  </a:cubicBezTo>
                  <a:close/>
                  <a:moveTo>
                    <a:pt x="331" y="33"/>
                  </a:moveTo>
                  <a:cubicBezTo>
                    <a:pt x="331" y="28"/>
                    <a:pt x="335" y="25"/>
                    <a:pt x="341" y="25"/>
                  </a:cubicBezTo>
                  <a:cubicBezTo>
                    <a:pt x="341" y="25"/>
                    <a:pt x="361" y="22"/>
                    <a:pt x="375" y="52"/>
                  </a:cubicBezTo>
                  <a:cubicBezTo>
                    <a:pt x="375" y="52"/>
                    <a:pt x="377" y="59"/>
                    <a:pt x="371" y="59"/>
                  </a:cubicBezTo>
                  <a:cubicBezTo>
                    <a:pt x="341" y="59"/>
                    <a:pt x="341" y="59"/>
                    <a:pt x="341" y="59"/>
                  </a:cubicBezTo>
                  <a:cubicBezTo>
                    <a:pt x="335" y="59"/>
                    <a:pt x="331" y="55"/>
                    <a:pt x="331" y="50"/>
                  </a:cubicBezTo>
                  <a:lnTo>
                    <a:pt x="331" y="33"/>
                  </a:lnTo>
                  <a:close/>
                  <a:moveTo>
                    <a:pt x="256" y="33"/>
                  </a:moveTo>
                  <a:cubicBezTo>
                    <a:pt x="256" y="28"/>
                    <a:pt x="261" y="25"/>
                    <a:pt x="266" y="25"/>
                  </a:cubicBezTo>
                  <a:cubicBezTo>
                    <a:pt x="297" y="25"/>
                    <a:pt x="297" y="25"/>
                    <a:pt x="297" y="25"/>
                  </a:cubicBezTo>
                  <a:cubicBezTo>
                    <a:pt x="301" y="25"/>
                    <a:pt x="305" y="27"/>
                    <a:pt x="306" y="31"/>
                  </a:cubicBezTo>
                  <a:cubicBezTo>
                    <a:pt x="306" y="31"/>
                    <a:pt x="306" y="31"/>
                    <a:pt x="306" y="31"/>
                  </a:cubicBezTo>
                  <a:cubicBezTo>
                    <a:pt x="307" y="31"/>
                    <a:pt x="307" y="32"/>
                    <a:pt x="307" y="33"/>
                  </a:cubicBezTo>
                  <a:cubicBezTo>
                    <a:pt x="307" y="50"/>
                    <a:pt x="307" y="50"/>
                    <a:pt x="307" y="50"/>
                  </a:cubicBezTo>
                  <a:cubicBezTo>
                    <a:pt x="307" y="55"/>
                    <a:pt x="302" y="59"/>
                    <a:pt x="297" y="59"/>
                  </a:cubicBezTo>
                  <a:cubicBezTo>
                    <a:pt x="266" y="59"/>
                    <a:pt x="266" y="59"/>
                    <a:pt x="266" y="59"/>
                  </a:cubicBezTo>
                  <a:cubicBezTo>
                    <a:pt x="261" y="59"/>
                    <a:pt x="256" y="55"/>
                    <a:pt x="256" y="50"/>
                  </a:cubicBezTo>
                  <a:lnTo>
                    <a:pt x="256" y="33"/>
                  </a:lnTo>
                  <a:close/>
                  <a:moveTo>
                    <a:pt x="200" y="33"/>
                  </a:moveTo>
                  <a:cubicBezTo>
                    <a:pt x="200" y="28"/>
                    <a:pt x="205" y="25"/>
                    <a:pt x="210" y="25"/>
                  </a:cubicBezTo>
                  <a:cubicBezTo>
                    <a:pt x="241" y="25"/>
                    <a:pt x="241" y="25"/>
                    <a:pt x="241" y="25"/>
                  </a:cubicBezTo>
                  <a:cubicBezTo>
                    <a:pt x="245" y="25"/>
                    <a:pt x="249" y="27"/>
                    <a:pt x="250" y="31"/>
                  </a:cubicBezTo>
                  <a:cubicBezTo>
                    <a:pt x="250" y="31"/>
                    <a:pt x="250" y="31"/>
                    <a:pt x="250" y="31"/>
                  </a:cubicBezTo>
                  <a:cubicBezTo>
                    <a:pt x="251" y="31"/>
                    <a:pt x="251" y="32"/>
                    <a:pt x="251" y="33"/>
                  </a:cubicBezTo>
                  <a:cubicBezTo>
                    <a:pt x="251" y="50"/>
                    <a:pt x="251" y="50"/>
                    <a:pt x="251" y="50"/>
                  </a:cubicBezTo>
                  <a:cubicBezTo>
                    <a:pt x="251" y="55"/>
                    <a:pt x="246" y="59"/>
                    <a:pt x="241" y="59"/>
                  </a:cubicBezTo>
                  <a:cubicBezTo>
                    <a:pt x="210" y="59"/>
                    <a:pt x="210" y="59"/>
                    <a:pt x="210" y="59"/>
                  </a:cubicBezTo>
                  <a:cubicBezTo>
                    <a:pt x="205" y="59"/>
                    <a:pt x="200" y="55"/>
                    <a:pt x="200" y="50"/>
                  </a:cubicBezTo>
                  <a:lnTo>
                    <a:pt x="200" y="33"/>
                  </a:lnTo>
                  <a:close/>
                  <a:moveTo>
                    <a:pt x="144" y="33"/>
                  </a:moveTo>
                  <a:cubicBezTo>
                    <a:pt x="144" y="28"/>
                    <a:pt x="148" y="25"/>
                    <a:pt x="154" y="25"/>
                  </a:cubicBezTo>
                  <a:cubicBezTo>
                    <a:pt x="184" y="25"/>
                    <a:pt x="184" y="25"/>
                    <a:pt x="184" y="25"/>
                  </a:cubicBezTo>
                  <a:cubicBezTo>
                    <a:pt x="189" y="25"/>
                    <a:pt x="193" y="27"/>
                    <a:pt x="194" y="31"/>
                  </a:cubicBezTo>
                  <a:cubicBezTo>
                    <a:pt x="194" y="31"/>
                    <a:pt x="194" y="31"/>
                    <a:pt x="194" y="31"/>
                  </a:cubicBezTo>
                  <a:cubicBezTo>
                    <a:pt x="194" y="31"/>
                    <a:pt x="195" y="32"/>
                    <a:pt x="195" y="33"/>
                  </a:cubicBezTo>
                  <a:cubicBezTo>
                    <a:pt x="195" y="50"/>
                    <a:pt x="195" y="50"/>
                    <a:pt x="195" y="50"/>
                  </a:cubicBezTo>
                  <a:cubicBezTo>
                    <a:pt x="195" y="55"/>
                    <a:pt x="190" y="59"/>
                    <a:pt x="184" y="59"/>
                  </a:cubicBezTo>
                  <a:cubicBezTo>
                    <a:pt x="154" y="59"/>
                    <a:pt x="154" y="59"/>
                    <a:pt x="154" y="59"/>
                  </a:cubicBezTo>
                  <a:cubicBezTo>
                    <a:pt x="148" y="59"/>
                    <a:pt x="144" y="55"/>
                    <a:pt x="144" y="50"/>
                  </a:cubicBezTo>
                  <a:lnTo>
                    <a:pt x="144" y="33"/>
                  </a:lnTo>
                  <a:close/>
                  <a:moveTo>
                    <a:pt x="88" y="33"/>
                  </a:moveTo>
                  <a:cubicBezTo>
                    <a:pt x="88" y="28"/>
                    <a:pt x="92" y="25"/>
                    <a:pt x="98" y="25"/>
                  </a:cubicBezTo>
                  <a:cubicBezTo>
                    <a:pt x="128" y="25"/>
                    <a:pt x="128" y="25"/>
                    <a:pt x="128" y="25"/>
                  </a:cubicBezTo>
                  <a:cubicBezTo>
                    <a:pt x="133" y="25"/>
                    <a:pt x="137" y="27"/>
                    <a:pt x="138" y="31"/>
                  </a:cubicBezTo>
                  <a:cubicBezTo>
                    <a:pt x="138" y="31"/>
                    <a:pt x="138" y="31"/>
                    <a:pt x="138" y="31"/>
                  </a:cubicBezTo>
                  <a:cubicBezTo>
                    <a:pt x="138" y="31"/>
                    <a:pt x="138" y="32"/>
                    <a:pt x="138" y="33"/>
                  </a:cubicBezTo>
                  <a:cubicBezTo>
                    <a:pt x="138" y="50"/>
                    <a:pt x="138" y="50"/>
                    <a:pt x="138" y="50"/>
                  </a:cubicBezTo>
                  <a:cubicBezTo>
                    <a:pt x="138" y="55"/>
                    <a:pt x="134" y="59"/>
                    <a:pt x="128" y="59"/>
                  </a:cubicBezTo>
                  <a:cubicBezTo>
                    <a:pt x="98" y="59"/>
                    <a:pt x="98" y="59"/>
                    <a:pt x="98" y="59"/>
                  </a:cubicBezTo>
                  <a:cubicBezTo>
                    <a:pt x="92" y="59"/>
                    <a:pt x="88" y="55"/>
                    <a:pt x="88" y="50"/>
                  </a:cubicBezTo>
                  <a:lnTo>
                    <a:pt x="88" y="33"/>
                  </a:lnTo>
                  <a:close/>
                  <a:moveTo>
                    <a:pt x="31" y="33"/>
                  </a:moveTo>
                  <a:cubicBezTo>
                    <a:pt x="31" y="28"/>
                    <a:pt x="36" y="25"/>
                    <a:pt x="42" y="25"/>
                  </a:cubicBezTo>
                  <a:cubicBezTo>
                    <a:pt x="72" y="25"/>
                    <a:pt x="72" y="25"/>
                    <a:pt x="72" y="25"/>
                  </a:cubicBezTo>
                  <a:cubicBezTo>
                    <a:pt x="76" y="25"/>
                    <a:pt x="80" y="27"/>
                    <a:pt x="82" y="31"/>
                  </a:cubicBezTo>
                  <a:cubicBezTo>
                    <a:pt x="82" y="31"/>
                    <a:pt x="82" y="31"/>
                    <a:pt x="82" y="31"/>
                  </a:cubicBezTo>
                  <a:cubicBezTo>
                    <a:pt x="82" y="31"/>
                    <a:pt x="82" y="32"/>
                    <a:pt x="82" y="33"/>
                  </a:cubicBezTo>
                  <a:cubicBezTo>
                    <a:pt x="82" y="50"/>
                    <a:pt x="82" y="50"/>
                    <a:pt x="82" y="50"/>
                  </a:cubicBezTo>
                  <a:cubicBezTo>
                    <a:pt x="82" y="55"/>
                    <a:pt x="77" y="59"/>
                    <a:pt x="72" y="59"/>
                  </a:cubicBezTo>
                  <a:cubicBezTo>
                    <a:pt x="42" y="59"/>
                    <a:pt x="42" y="59"/>
                    <a:pt x="42" y="59"/>
                  </a:cubicBezTo>
                  <a:cubicBezTo>
                    <a:pt x="36" y="59"/>
                    <a:pt x="31" y="55"/>
                    <a:pt x="31" y="50"/>
                  </a:cubicBezTo>
                  <a:lnTo>
                    <a:pt x="31" y="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spcBef>
                  <a:spcPts val="0"/>
                </a:spcBef>
              </a:pPr>
              <a:endParaRPr lang="en-US">
                <a:latin typeface="+mn-lt"/>
              </a:endParaRPr>
            </a:p>
          </p:txBody>
        </p:sp>
        <p:sp>
          <p:nvSpPr>
            <p:cNvPr id="173" name="Freeform 7">
              <a:extLst>
                <a:ext uri="{FF2B5EF4-FFF2-40B4-BE49-F238E27FC236}">
                  <a16:creationId xmlns:a16="http://schemas.microsoft.com/office/drawing/2014/main" id="{ACA60B52-B7D8-4A39-A986-5B7FFC3E5E3C}"/>
                </a:ext>
              </a:extLst>
            </p:cNvPr>
            <p:cNvSpPr>
              <a:spLocks/>
            </p:cNvSpPr>
            <p:nvPr/>
          </p:nvSpPr>
          <p:spPr bwMode="auto">
            <a:xfrm>
              <a:off x="917575" y="3830638"/>
              <a:ext cx="1160463" cy="20638"/>
            </a:xfrm>
            <a:custGeom>
              <a:avLst/>
              <a:gdLst>
                <a:gd name="T0" fmla="*/ 409 w 412"/>
                <a:gd name="T1" fmla="*/ 0 h 7"/>
                <a:gd name="T2" fmla="*/ 3 w 412"/>
                <a:gd name="T3" fmla="*/ 0 h 7"/>
                <a:gd name="T4" fmla="*/ 0 w 412"/>
                <a:gd name="T5" fmla="*/ 4 h 7"/>
                <a:gd name="T6" fmla="*/ 3 w 412"/>
                <a:gd name="T7" fmla="*/ 7 h 7"/>
                <a:gd name="T8" fmla="*/ 409 w 412"/>
                <a:gd name="T9" fmla="*/ 7 h 7"/>
                <a:gd name="T10" fmla="*/ 412 w 412"/>
                <a:gd name="T11" fmla="*/ 4 h 7"/>
                <a:gd name="T12" fmla="*/ 409 w 412"/>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412" h="7">
                  <a:moveTo>
                    <a:pt x="409" y="0"/>
                  </a:moveTo>
                  <a:cubicBezTo>
                    <a:pt x="3" y="0"/>
                    <a:pt x="3" y="0"/>
                    <a:pt x="3" y="0"/>
                  </a:cubicBezTo>
                  <a:cubicBezTo>
                    <a:pt x="1" y="0"/>
                    <a:pt x="0" y="2"/>
                    <a:pt x="0" y="4"/>
                  </a:cubicBezTo>
                  <a:cubicBezTo>
                    <a:pt x="0" y="5"/>
                    <a:pt x="1" y="7"/>
                    <a:pt x="3" y="7"/>
                  </a:cubicBezTo>
                  <a:cubicBezTo>
                    <a:pt x="409" y="7"/>
                    <a:pt x="409" y="7"/>
                    <a:pt x="409" y="7"/>
                  </a:cubicBezTo>
                  <a:cubicBezTo>
                    <a:pt x="411" y="7"/>
                    <a:pt x="412" y="5"/>
                    <a:pt x="412" y="4"/>
                  </a:cubicBezTo>
                  <a:cubicBezTo>
                    <a:pt x="412" y="2"/>
                    <a:pt x="411" y="0"/>
                    <a:pt x="40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spcBef>
                  <a:spcPts val="0"/>
                </a:spcBef>
              </a:pPr>
              <a:endParaRPr lang="en-US">
                <a:latin typeface="+mn-lt"/>
              </a:endParaRPr>
            </a:p>
          </p:txBody>
        </p:sp>
      </p:grpSp>
      <p:grpSp>
        <p:nvGrpSpPr>
          <p:cNvPr id="71" name="Group 78">
            <a:extLst>
              <a:ext uri="{FF2B5EF4-FFF2-40B4-BE49-F238E27FC236}">
                <a16:creationId xmlns:a16="http://schemas.microsoft.com/office/drawing/2014/main" id="{2AAEBDFC-6DAB-43C6-98CC-C07B4B8FF125}"/>
              </a:ext>
            </a:extLst>
          </p:cNvPr>
          <p:cNvGrpSpPr>
            <a:grpSpLocks noChangeAspect="1"/>
          </p:cNvGrpSpPr>
          <p:nvPr/>
        </p:nvGrpSpPr>
        <p:grpSpPr>
          <a:xfrm>
            <a:off x="1593859" y="3974259"/>
            <a:ext cx="695679" cy="480668"/>
            <a:chOff x="5334000" y="4176713"/>
            <a:chExt cx="4622800" cy="3194050"/>
          </a:xfrm>
          <a:solidFill>
            <a:schemeClr val="bg1"/>
          </a:solidFill>
        </p:grpSpPr>
        <p:sp>
          <p:nvSpPr>
            <p:cNvPr id="72" name="Freeform 26">
              <a:extLst>
                <a:ext uri="{FF2B5EF4-FFF2-40B4-BE49-F238E27FC236}">
                  <a16:creationId xmlns:a16="http://schemas.microsoft.com/office/drawing/2014/main" id="{A96581B0-F19E-448A-8D9D-1B8E6B794C92}"/>
                </a:ext>
              </a:extLst>
            </p:cNvPr>
            <p:cNvSpPr>
              <a:spLocks noChangeArrowheads="1"/>
            </p:cNvSpPr>
            <p:nvPr/>
          </p:nvSpPr>
          <p:spPr bwMode="auto">
            <a:xfrm>
              <a:off x="8123238" y="4176713"/>
              <a:ext cx="877887" cy="946150"/>
            </a:xfrm>
            <a:custGeom>
              <a:avLst/>
              <a:gdLst>
                <a:gd name="T0" fmla="*/ 2156 w 2438"/>
                <a:gd name="T1" fmla="*/ 2500 h 2626"/>
                <a:gd name="T2" fmla="*/ 2156 w 2438"/>
                <a:gd name="T3" fmla="*/ 2500 h 2626"/>
                <a:gd name="T4" fmla="*/ 94 w 2438"/>
                <a:gd name="T5" fmla="*/ 188 h 2626"/>
                <a:gd name="T6" fmla="*/ 94 w 2438"/>
                <a:gd name="T7" fmla="*/ 188 h 2626"/>
                <a:gd name="T8" fmla="*/ 0 w 2438"/>
                <a:gd name="T9" fmla="*/ 94 h 2626"/>
                <a:gd name="T10" fmla="*/ 0 w 2438"/>
                <a:gd name="T11" fmla="*/ 94 h 2626"/>
                <a:gd name="T12" fmla="*/ 94 w 2438"/>
                <a:gd name="T13" fmla="*/ 0 h 2626"/>
                <a:gd name="T14" fmla="*/ 94 w 2438"/>
                <a:gd name="T15" fmla="*/ 0 h 2626"/>
                <a:gd name="T16" fmla="*/ 2375 w 2438"/>
                <a:gd name="T17" fmla="*/ 2531 h 2626"/>
                <a:gd name="T18" fmla="*/ 2375 w 2438"/>
                <a:gd name="T19" fmla="*/ 2531 h 2626"/>
                <a:gd name="T20" fmla="*/ 2250 w 2438"/>
                <a:gd name="T21" fmla="*/ 2625 h 2626"/>
                <a:gd name="T22" fmla="*/ 2250 w 2438"/>
                <a:gd name="T23" fmla="*/ 2625 h 2626"/>
                <a:gd name="T24" fmla="*/ 2156 w 2438"/>
                <a:gd name="T25" fmla="*/ 2500 h 2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8" h="2626">
                  <a:moveTo>
                    <a:pt x="2156" y="2500"/>
                  </a:moveTo>
                  <a:lnTo>
                    <a:pt x="2156" y="2500"/>
                  </a:lnTo>
                  <a:cubicBezTo>
                    <a:pt x="2219" y="1313"/>
                    <a:pt x="1312" y="250"/>
                    <a:pt x="94" y="188"/>
                  </a:cubicBezTo>
                  <a:lnTo>
                    <a:pt x="94" y="188"/>
                  </a:lnTo>
                  <a:cubicBezTo>
                    <a:pt x="31" y="188"/>
                    <a:pt x="0" y="156"/>
                    <a:pt x="0" y="94"/>
                  </a:cubicBezTo>
                  <a:lnTo>
                    <a:pt x="0" y="94"/>
                  </a:lnTo>
                  <a:cubicBezTo>
                    <a:pt x="0" y="31"/>
                    <a:pt x="31" y="0"/>
                    <a:pt x="94" y="0"/>
                  </a:cubicBezTo>
                  <a:lnTo>
                    <a:pt x="94" y="0"/>
                  </a:lnTo>
                  <a:cubicBezTo>
                    <a:pt x="1437" y="63"/>
                    <a:pt x="2437" y="1188"/>
                    <a:pt x="2375" y="2531"/>
                  </a:cubicBezTo>
                  <a:lnTo>
                    <a:pt x="2375" y="2531"/>
                  </a:lnTo>
                  <a:cubicBezTo>
                    <a:pt x="2375" y="2594"/>
                    <a:pt x="2312" y="2625"/>
                    <a:pt x="2250" y="2625"/>
                  </a:cubicBezTo>
                  <a:lnTo>
                    <a:pt x="2250" y="2625"/>
                  </a:lnTo>
                  <a:cubicBezTo>
                    <a:pt x="2219" y="2625"/>
                    <a:pt x="2156" y="2563"/>
                    <a:pt x="2156" y="2500"/>
                  </a:cubicBezTo>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500" dirty="0"/>
            </a:p>
          </p:txBody>
        </p:sp>
        <p:sp>
          <p:nvSpPr>
            <p:cNvPr id="73" name="Freeform 27">
              <a:extLst>
                <a:ext uri="{FF2B5EF4-FFF2-40B4-BE49-F238E27FC236}">
                  <a16:creationId xmlns:a16="http://schemas.microsoft.com/office/drawing/2014/main" id="{D62440EF-8203-435D-8A29-987CA9F33D7E}"/>
                </a:ext>
              </a:extLst>
            </p:cNvPr>
            <p:cNvSpPr>
              <a:spLocks noChangeArrowheads="1"/>
            </p:cNvSpPr>
            <p:nvPr/>
          </p:nvSpPr>
          <p:spPr bwMode="auto">
            <a:xfrm>
              <a:off x="8112125" y="4389438"/>
              <a:ext cx="663575" cy="720725"/>
            </a:xfrm>
            <a:custGeom>
              <a:avLst/>
              <a:gdLst>
                <a:gd name="T0" fmla="*/ 1593 w 1844"/>
                <a:gd name="T1" fmla="*/ 1875 h 2001"/>
                <a:gd name="T2" fmla="*/ 1593 w 1844"/>
                <a:gd name="T3" fmla="*/ 1875 h 2001"/>
                <a:gd name="T4" fmla="*/ 93 w 1844"/>
                <a:gd name="T5" fmla="*/ 219 h 2001"/>
                <a:gd name="T6" fmla="*/ 93 w 1844"/>
                <a:gd name="T7" fmla="*/ 219 h 2001"/>
                <a:gd name="T8" fmla="*/ 93 w 1844"/>
                <a:gd name="T9" fmla="*/ 219 h 2001"/>
                <a:gd name="T10" fmla="*/ 0 w 1844"/>
                <a:gd name="T11" fmla="*/ 94 h 2001"/>
                <a:gd name="T12" fmla="*/ 0 w 1844"/>
                <a:gd name="T13" fmla="*/ 94 h 2001"/>
                <a:gd name="T14" fmla="*/ 93 w 1844"/>
                <a:gd name="T15" fmla="*/ 0 h 2001"/>
                <a:gd name="T16" fmla="*/ 93 w 1844"/>
                <a:gd name="T17" fmla="*/ 0 h 2001"/>
                <a:gd name="T18" fmla="*/ 1781 w 1844"/>
                <a:gd name="T19" fmla="*/ 1906 h 2001"/>
                <a:gd name="T20" fmla="*/ 1781 w 1844"/>
                <a:gd name="T21" fmla="*/ 1906 h 2001"/>
                <a:gd name="T22" fmla="*/ 1687 w 1844"/>
                <a:gd name="T23" fmla="*/ 2000 h 2001"/>
                <a:gd name="T24" fmla="*/ 1687 w 1844"/>
                <a:gd name="T25" fmla="*/ 2000 h 2001"/>
                <a:gd name="T26" fmla="*/ 1593 w 1844"/>
                <a:gd name="T27" fmla="*/ 1875 h 2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44" h="2001">
                  <a:moveTo>
                    <a:pt x="1593" y="1875"/>
                  </a:moveTo>
                  <a:lnTo>
                    <a:pt x="1593" y="1875"/>
                  </a:lnTo>
                  <a:cubicBezTo>
                    <a:pt x="1625" y="1000"/>
                    <a:pt x="968" y="250"/>
                    <a:pt x="93" y="219"/>
                  </a:cubicBezTo>
                  <a:lnTo>
                    <a:pt x="93" y="219"/>
                  </a:lnTo>
                  <a:lnTo>
                    <a:pt x="93" y="219"/>
                  </a:lnTo>
                  <a:cubicBezTo>
                    <a:pt x="31" y="219"/>
                    <a:pt x="0" y="156"/>
                    <a:pt x="0" y="94"/>
                  </a:cubicBezTo>
                  <a:lnTo>
                    <a:pt x="0" y="94"/>
                  </a:lnTo>
                  <a:cubicBezTo>
                    <a:pt x="0" y="31"/>
                    <a:pt x="31" y="0"/>
                    <a:pt x="93" y="0"/>
                  </a:cubicBezTo>
                  <a:lnTo>
                    <a:pt x="93" y="0"/>
                  </a:lnTo>
                  <a:cubicBezTo>
                    <a:pt x="1093" y="62"/>
                    <a:pt x="1843" y="906"/>
                    <a:pt x="1781" y="1906"/>
                  </a:cubicBezTo>
                  <a:lnTo>
                    <a:pt x="1781" y="1906"/>
                  </a:lnTo>
                  <a:cubicBezTo>
                    <a:pt x="1781" y="1969"/>
                    <a:pt x="1750" y="2000"/>
                    <a:pt x="1687" y="2000"/>
                  </a:cubicBezTo>
                  <a:lnTo>
                    <a:pt x="1687" y="2000"/>
                  </a:lnTo>
                  <a:cubicBezTo>
                    <a:pt x="1625" y="2000"/>
                    <a:pt x="1593" y="1937"/>
                    <a:pt x="1593" y="1875"/>
                  </a:cubicBezTo>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500" dirty="0"/>
            </a:p>
          </p:txBody>
        </p:sp>
        <p:sp>
          <p:nvSpPr>
            <p:cNvPr id="74" name="Freeform 28">
              <a:extLst>
                <a:ext uri="{FF2B5EF4-FFF2-40B4-BE49-F238E27FC236}">
                  <a16:creationId xmlns:a16="http://schemas.microsoft.com/office/drawing/2014/main" id="{CE8283A5-E99F-4C16-9879-F3AD158BD597}"/>
                </a:ext>
              </a:extLst>
            </p:cNvPr>
            <p:cNvSpPr>
              <a:spLocks noChangeArrowheads="1"/>
            </p:cNvSpPr>
            <p:nvPr/>
          </p:nvSpPr>
          <p:spPr bwMode="auto">
            <a:xfrm>
              <a:off x="8101013" y="4592638"/>
              <a:ext cx="473075" cy="506412"/>
            </a:xfrm>
            <a:custGeom>
              <a:avLst/>
              <a:gdLst>
                <a:gd name="T0" fmla="*/ 1063 w 1314"/>
                <a:gd name="T1" fmla="*/ 1282 h 1408"/>
                <a:gd name="T2" fmla="*/ 1063 w 1314"/>
                <a:gd name="T3" fmla="*/ 1282 h 1408"/>
                <a:gd name="T4" fmla="*/ 94 w 1314"/>
                <a:gd name="T5" fmla="*/ 219 h 1408"/>
                <a:gd name="T6" fmla="*/ 94 w 1314"/>
                <a:gd name="T7" fmla="*/ 219 h 1408"/>
                <a:gd name="T8" fmla="*/ 0 w 1314"/>
                <a:gd name="T9" fmla="*/ 94 h 1408"/>
                <a:gd name="T10" fmla="*/ 0 w 1314"/>
                <a:gd name="T11" fmla="*/ 94 h 1408"/>
                <a:gd name="T12" fmla="*/ 94 w 1314"/>
                <a:gd name="T13" fmla="*/ 0 h 1408"/>
                <a:gd name="T14" fmla="*/ 94 w 1314"/>
                <a:gd name="T15" fmla="*/ 0 h 1408"/>
                <a:gd name="T16" fmla="*/ 1250 w 1314"/>
                <a:gd name="T17" fmla="*/ 1313 h 1408"/>
                <a:gd name="T18" fmla="*/ 1250 w 1314"/>
                <a:gd name="T19" fmla="*/ 1313 h 1408"/>
                <a:gd name="T20" fmla="*/ 1157 w 1314"/>
                <a:gd name="T21" fmla="*/ 1407 h 1408"/>
                <a:gd name="T22" fmla="*/ 1157 w 1314"/>
                <a:gd name="T23" fmla="*/ 1407 h 1408"/>
                <a:gd name="T24" fmla="*/ 1063 w 1314"/>
                <a:gd name="T25" fmla="*/ 1282 h 1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14" h="1408">
                  <a:moveTo>
                    <a:pt x="1063" y="1282"/>
                  </a:moveTo>
                  <a:lnTo>
                    <a:pt x="1063" y="1282"/>
                  </a:lnTo>
                  <a:cubicBezTo>
                    <a:pt x="1094" y="719"/>
                    <a:pt x="657" y="250"/>
                    <a:pt x="94" y="219"/>
                  </a:cubicBezTo>
                  <a:lnTo>
                    <a:pt x="94" y="219"/>
                  </a:lnTo>
                  <a:cubicBezTo>
                    <a:pt x="32" y="219"/>
                    <a:pt x="0" y="157"/>
                    <a:pt x="0" y="94"/>
                  </a:cubicBezTo>
                  <a:lnTo>
                    <a:pt x="0" y="94"/>
                  </a:lnTo>
                  <a:cubicBezTo>
                    <a:pt x="0" y="32"/>
                    <a:pt x="32" y="0"/>
                    <a:pt x="94" y="0"/>
                  </a:cubicBezTo>
                  <a:lnTo>
                    <a:pt x="94" y="0"/>
                  </a:lnTo>
                  <a:cubicBezTo>
                    <a:pt x="782" y="32"/>
                    <a:pt x="1313" y="625"/>
                    <a:pt x="1250" y="1313"/>
                  </a:cubicBezTo>
                  <a:lnTo>
                    <a:pt x="1250" y="1313"/>
                  </a:lnTo>
                  <a:cubicBezTo>
                    <a:pt x="1250" y="1375"/>
                    <a:pt x="1219" y="1407"/>
                    <a:pt x="1157" y="1407"/>
                  </a:cubicBezTo>
                  <a:lnTo>
                    <a:pt x="1157" y="1407"/>
                  </a:lnTo>
                  <a:cubicBezTo>
                    <a:pt x="1094" y="1407"/>
                    <a:pt x="1063" y="1344"/>
                    <a:pt x="1063" y="1282"/>
                  </a:cubicBezTo>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500" dirty="0"/>
            </a:p>
          </p:txBody>
        </p:sp>
        <p:sp>
          <p:nvSpPr>
            <p:cNvPr id="75" name="Freeform 29">
              <a:extLst>
                <a:ext uri="{FF2B5EF4-FFF2-40B4-BE49-F238E27FC236}">
                  <a16:creationId xmlns:a16="http://schemas.microsoft.com/office/drawing/2014/main" id="{263389CA-01CF-4A95-B89F-4158304D32A2}"/>
                </a:ext>
              </a:extLst>
            </p:cNvPr>
            <p:cNvSpPr>
              <a:spLocks noChangeArrowheads="1"/>
            </p:cNvSpPr>
            <p:nvPr/>
          </p:nvSpPr>
          <p:spPr bwMode="auto">
            <a:xfrm>
              <a:off x="5334000" y="5187950"/>
              <a:ext cx="833438" cy="1035050"/>
            </a:xfrm>
            <a:custGeom>
              <a:avLst/>
              <a:gdLst>
                <a:gd name="T0" fmla="*/ 2219 w 2313"/>
                <a:gd name="T1" fmla="*/ 187 h 2875"/>
                <a:gd name="T2" fmla="*/ 2219 w 2313"/>
                <a:gd name="T3" fmla="*/ 187 h 2875"/>
                <a:gd name="T4" fmla="*/ 437 w 2313"/>
                <a:gd name="T5" fmla="*/ 2749 h 2875"/>
                <a:gd name="T6" fmla="*/ 437 w 2313"/>
                <a:gd name="T7" fmla="*/ 2749 h 2875"/>
                <a:gd name="T8" fmla="*/ 344 w 2313"/>
                <a:gd name="T9" fmla="*/ 2842 h 2875"/>
                <a:gd name="T10" fmla="*/ 344 w 2313"/>
                <a:gd name="T11" fmla="*/ 2842 h 2875"/>
                <a:gd name="T12" fmla="*/ 219 w 2313"/>
                <a:gd name="T13" fmla="*/ 2780 h 2875"/>
                <a:gd name="T14" fmla="*/ 219 w 2313"/>
                <a:gd name="T15" fmla="*/ 2780 h 2875"/>
                <a:gd name="T16" fmla="*/ 2187 w 2313"/>
                <a:gd name="T17" fmla="*/ 0 h 2875"/>
                <a:gd name="T18" fmla="*/ 2187 w 2313"/>
                <a:gd name="T19" fmla="*/ 0 h 2875"/>
                <a:gd name="T20" fmla="*/ 2312 w 2313"/>
                <a:gd name="T21" fmla="*/ 93 h 2875"/>
                <a:gd name="T22" fmla="*/ 2312 w 2313"/>
                <a:gd name="T23" fmla="*/ 93 h 2875"/>
                <a:gd name="T24" fmla="*/ 2219 w 2313"/>
                <a:gd name="T25" fmla="*/ 187 h 2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13" h="2875">
                  <a:moveTo>
                    <a:pt x="2219" y="187"/>
                  </a:moveTo>
                  <a:lnTo>
                    <a:pt x="2219" y="187"/>
                  </a:lnTo>
                  <a:cubicBezTo>
                    <a:pt x="1031" y="406"/>
                    <a:pt x="219" y="1531"/>
                    <a:pt x="437" y="2749"/>
                  </a:cubicBezTo>
                  <a:lnTo>
                    <a:pt x="437" y="2749"/>
                  </a:lnTo>
                  <a:cubicBezTo>
                    <a:pt x="437" y="2780"/>
                    <a:pt x="406" y="2842"/>
                    <a:pt x="344" y="2842"/>
                  </a:cubicBezTo>
                  <a:lnTo>
                    <a:pt x="344" y="2842"/>
                  </a:lnTo>
                  <a:cubicBezTo>
                    <a:pt x="281" y="2874"/>
                    <a:pt x="219" y="2811"/>
                    <a:pt x="219" y="2780"/>
                  </a:cubicBezTo>
                  <a:lnTo>
                    <a:pt x="219" y="2780"/>
                  </a:lnTo>
                  <a:cubicBezTo>
                    <a:pt x="0" y="1468"/>
                    <a:pt x="875" y="218"/>
                    <a:pt x="2187" y="0"/>
                  </a:cubicBezTo>
                  <a:lnTo>
                    <a:pt x="2187" y="0"/>
                  </a:lnTo>
                  <a:cubicBezTo>
                    <a:pt x="2250" y="0"/>
                    <a:pt x="2312" y="31"/>
                    <a:pt x="2312" y="93"/>
                  </a:cubicBezTo>
                  <a:lnTo>
                    <a:pt x="2312" y="93"/>
                  </a:lnTo>
                  <a:cubicBezTo>
                    <a:pt x="2312" y="125"/>
                    <a:pt x="2281" y="187"/>
                    <a:pt x="2219" y="187"/>
                  </a:cubicBezTo>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500" dirty="0"/>
            </a:p>
          </p:txBody>
        </p:sp>
        <p:sp>
          <p:nvSpPr>
            <p:cNvPr id="76" name="Freeform 30">
              <a:extLst>
                <a:ext uri="{FF2B5EF4-FFF2-40B4-BE49-F238E27FC236}">
                  <a16:creationId xmlns:a16="http://schemas.microsoft.com/office/drawing/2014/main" id="{5C19FC02-028F-496D-BD2B-CE05692657B9}"/>
                </a:ext>
              </a:extLst>
            </p:cNvPr>
            <p:cNvSpPr>
              <a:spLocks noChangeArrowheads="1"/>
            </p:cNvSpPr>
            <p:nvPr/>
          </p:nvSpPr>
          <p:spPr bwMode="auto">
            <a:xfrm>
              <a:off x="5568950" y="5402263"/>
              <a:ext cx="630238" cy="776287"/>
            </a:xfrm>
            <a:custGeom>
              <a:avLst/>
              <a:gdLst>
                <a:gd name="T0" fmla="*/ 1656 w 1751"/>
                <a:gd name="T1" fmla="*/ 219 h 2157"/>
                <a:gd name="T2" fmla="*/ 1656 w 1751"/>
                <a:gd name="T3" fmla="*/ 219 h 2157"/>
                <a:gd name="T4" fmla="*/ 375 w 1751"/>
                <a:gd name="T5" fmla="*/ 2031 h 2157"/>
                <a:gd name="T6" fmla="*/ 375 w 1751"/>
                <a:gd name="T7" fmla="*/ 2031 h 2157"/>
                <a:gd name="T8" fmla="*/ 375 w 1751"/>
                <a:gd name="T9" fmla="*/ 2031 h 2157"/>
                <a:gd name="T10" fmla="*/ 281 w 1751"/>
                <a:gd name="T11" fmla="*/ 2156 h 2157"/>
                <a:gd name="T12" fmla="*/ 281 w 1751"/>
                <a:gd name="T13" fmla="*/ 2156 h 2157"/>
                <a:gd name="T14" fmla="*/ 156 w 1751"/>
                <a:gd name="T15" fmla="*/ 2062 h 2157"/>
                <a:gd name="T16" fmla="*/ 156 w 1751"/>
                <a:gd name="T17" fmla="*/ 2062 h 2157"/>
                <a:gd name="T18" fmla="*/ 1625 w 1751"/>
                <a:gd name="T19" fmla="*/ 0 h 2157"/>
                <a:gd name="T20" fmla="*/ 1625 w 1751"/>
                <a:gd name="T21" fmla="*/ 0 h 2157"/>
                <a:gd name="T22" fmla="*/ 1750 w 1751"/>
                <a:gd name="T23" fmla="*/ 94 h 2157"/>
                <a:gd name="T24" fmla="*/ 1750 w 1751"/>
                <a:gd name="T25" fmla="*/ 94 h 2157"/>
                <a:gd name="T26" fmla="*/ 1656 w 1751"/>
                <a:gd name="T27" fmla="*/ 219 h 2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51" h="2157">
                  <a:moveTo>
                    <a:pt x="1656" y="219"/>
                  </a:moveTo>
                  <a:lnTo>
                    <a:pt x="1656" y="219"/>
                  </a:lnTo>
                  <a:cubicBezTo>
                    <a:pt x="813" y="344"/>
                    <a:pt x="219" y="1187"/>
                    <a:pt x="375" y="2031"/>
                  </a:cubicBezTo>
                  <a:lnTo>
                    <a:pt x="375" y="2031"/>
                  </a:lnTo>
                  <a:lnTo>
                    <a:pt x="375" y="2031"/>
                  </a:lnTo>
                  <a:cubicBezTo>
                    <a:pt x="375" y="2093"/>
                    <a:pt x="344" y="2156"/>
                    <a:pt x="281" y="2156"/>
                  </a:cubicBezTo>
                  <a:lnTo>
                    <a:pt x="281" y="2156"/>
                  </a:lnTo>
                  <a:cubicBezTo>
                    <a:pt x="219" y="2156"/>
                    <a:pt x="156" y="2124"/>
                    <a:pt x="156" y="2062"/>
                  </a:cubicBezTo>
                  <a:lnTo>
                    <a:pt x="156" y="2062"/>
                  </a:lnTo>
                  <a:cubicBezTo>
                    <a:pt x="0" y="1093"/>
                    <a:pt x="656" y="157"/>
                    <a:pt x="1625" y="0"/>
                  </a:cubicBezTo>
                  <a:lnTo>
                    <a:pt x="1625" y="0"/>
                  </a:lnTo>
                  <a:cubicBezTo>
                    <a:pt x="1688" y="0"/>
                    <a:pt x="1750" y="32"/>
                    <a:pt x="1750" y="94"/>
                  </a:cubicBezTo>
                  <a:lnTo>
                    <a:pt x="1750" y="94"/>
                  </a:lnTo>
                  <a:cubicBezTo>
                    <a:pt x="1750" y="157"/>
                    <a:pt x="1719" y="188"/>
                    <a:pt x="1656" y="219"/>
                  </a:cubicBezTo>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500" dirty="0"/>
            </a:p>
          </p:txBody>
        </p:sp>
        <p:sp>
          <p:nvSpPr>
            <p:cNvPr id="77" name="Freeform 31">
              <a:extLst>
                <a:ext uri="{FF2B5EF4-FFF2-40B4-BE49-F238E27FC236}">
                  <a16:creationId xmlns:a16="http://schemas.microsoft.com/office/drawing/2014/main" id="{42C60F2D-7E3A-4A06-9C53-9B2916582860}"/>
                </a:ext>
              </a:extLst>
            </p:cNvPr>
            <p:cNvSpPr>
              <a:spLocks noChangeArrowheads="1"/>
            </p:cNvSpPr>
            <p:nvPr/>
          </p:nvSpPr>
          <p:spPr bwMode="auto">
            <a:xfrm>
              <a:off x="5783263" y="5605463"/>
              <a:ext cx="450850" cy="539750"/>
            </a:xfrm>
            <a:custGeom>
              <a:avLst/>
              <a:gdLst>
                <a:gd name="T0" fmla="*/ 1156 w 1251"/>
                <a:gd name="T1" fmla="*/ 187 h 1500"/>
                <a:gd name="T2" fmla="*/ 1156 w 1251"/>
                <a:gd name="T3" fmla="*/ 187 h 1500"/>
                <a:gd name="T4" fmla="*/ 344 w 1251"/>
                <a:gd name="T5" fmla="*/ 1374 h 1500"/>
                <a:gd name="T6" fmla="*/ 344 w 1251"/>
                <a:gd name="T7" fmla="*/ 1374 h 1500"/>
                <a:gd name="T8" fmla="*/ 250 w 1251"/>
                <a:gd name="T9" fmla="*/ 1499 h 1500"/>
                <a:gd name="T10" fmla="*/ 250 w 1251"/>
                <a:gd name="T11" fmla="*/ 1499 h 1500"/>
                <a:gd name="T12" fmla="*/ 125 w 1251"/>
                <a:gd name="T13" fmla="*/ 1405 h 1500"/>
                <a:gd name="T14" fmla="*/ 125 w 1251"/>
                <a:gd name="T15" fmla="*/ 1405 h 1500"/>
                <a:gd name="T16" fmla="*/ 1125 w 1251"/>
                <a:gd name="T17" fmla="*/ 0 h 1500"/>
                <a:gd name="T18" fmla="*/ 1125 w 1251"/>
                <a:gd name="T19" fmla="*/ 0 h 1500"/>
                <a:gd name="T20" fmla="*/ 1250 w 1251"/>
                <a:gd name="T21" fmla="*/ 94 h 1500"/>
                <a:gd name="T22" fmla="*/ 1250 w 1251"/>
                <a:gd name="T23" fmla="*/ 94 h 1500"/>
                <a:gd name="T24" fmla="*/ 1156 w 1251"/>
                <a:gd name="T25" fmla="*/ 187 h 1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51" h="1500">
                  <a:moveTo>
                    <a:pt x="1156" y="187"/>
                  </a:moveTo>
                  <a:lnTo>
                    <a:pt x="1156" y="187"/>
                  </a:lnTo>
                  <a:cubicBezTo>
                    <a:pt x="625" y="312"/>
                    <a:pt x="250" y="811"/>
                    <a:pt x="344" y="1374"/>
                  </a:cubicBezTo>
                  <a:lnTo>
                    <a:pt x="344" y="1374"/>
                  </a:lnTo>
                  <a:cubicBezTo>
                    <a:pt x="344" y="1436"/>
                    <a:pt x="312" y="1499"/>
                    <a:pt x="250" y="1499"/>
                  </a:cubicBezTo>
                  <a:lnTo>
                    <a:pt x="250" y="1499"/>
                  </a:lnTo>
                  <a:cubicBezTo>
                    <a:pt x="187" y="1499"/>
                    <a:pt x="125" y="1468"/>
                    <a:pt x="125" y="1405"/>
                  </a:cubicBezTo>
                  <a:lnTo>
                    <a:pt x="125" y="1405"/>
                  </a:lnTo>
                  <a:cubicBezTo>
                    <a:pt x="0" y="749"/>
                    <a:pt x="469" y="125"/>
                    <a:pt x="1125" y="0"/>
                  </a:cubicBezTo>
                  <a:lnTo>
                    <a:pt x="1125" y="0"/>
                  </a:lnTo>
                  <a:cubicBezTo>
                    <a:pt x="1187" y="0"/>
                    <a:pt x="1250" y="31"/>
                    <a:pt x="1250" y="94"/>
                  </a:cubicBezTo>
                  <a:lnTo>
                    <a:pt x="1250" y="94"/>
                  </a:lnTo>
                  <a:cubicBezTo>
                    <a:pt x="1250" y="125"/>
                    <a:pt x="1219" y="187"/>
                    <a:pt x="1156" y="187"/>
                  </a:cubicBezTo>
                </a:path>
              </a:pathLst>
            </a:custGeom>
            <a:grpFill/>
            <a:ln>
              <a:noFill/>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500" dirty="0"/>
            </a:p>
          </p:txBody>
        </p:sp>
        <p:sp>
          <p:nvSpPr>
            <p:cNvPr id="78" name="Freeform 32">
              <a:extLst>
                <a:ext uri="{FF2B5EF4-FFF2-40B4-BE49-F238E27FC236}">
                  <a16:creationId xmlns:a16="http://schemas.microsoft.com/office/drawing/2014/main" id="{A8FC40E8-8CBE-453B-8EDF-74798B162CAB}"/>
                </a:ext>
              </a:extLst>
            </p:cNvPr>
            <p:cNvSpPr>
              <a:spLocks noChangeArrowheads="1"/>
            </p:cNvSpPr>
            <p:nvPr/>
          </p:nvSpPr>
          <p:spPr bwMode="auto">
            <a:xfrm>
              <a:off x="7121525" y="4851400"/>
              <a:ext cx="225425" cy="225425"/>
            </a:xfrm>
            <a:custGeom>
              <a:avLst/>
              <a:gdLst>
                <a:gd name="T0" fmla="*/ 343 w 626"/>
                <a:gd name="T1" fmla="*/ 594 h 626"/>
                <a:gd name="T2" fmla="*/ 343 w 626"/>
                <a:gd name="T3" fmla="*/ 594 h 626"/>
                <a:gd name="T4" fmla="*/ 625 w 626"/>
                <a:gd name="T5" fmla="*/ 281 h 626"/>
                <a:gd name="T6" fmla="*/ 281 w 626"/>
                <a:gd name="T7" fmla="*/ 0 h 626"/>
                <a:gd name="T8" fmla="*/ 31 w 626"/>
                <a:gd name="T9" fmla="*/ 344 h 626"/>
                <a:gd name="T10" fmla="*/ 343 w 626"/>
                <a:gd name="T11" fmla="*/ 594 h 626"/>
              </a:gdLst>
              <a:ahLst/>
              <a:cxnLst>
                <a:cxn ang="0">
                  <a:pos x="T0" y="T1"/>
                </a:cxn>
                <a:cxn ang="0">
                  <a:pos x="T2" y="T3"/>
                </a:cxn>
                <a:cxn ang="0">
                  <a:pos x="T4" y="T5"/>
                </a:cxn>
                <a:cxn ang="0">
                  <a:pos x="T6" y="T7"/>
                </a:cxn>
                <a:cxn ang="0">
                  <a:pos x="T8" y="T9"/>
                </a:cxn>
                <a:cxn ang="0">
                  <a:pos x="T10" y="T11"/>
                </a:cxn>
              </a:cxnLst>
              <a:rect l="0" t="0" r="r" b="b"/>
              <a:pathLst>
                <a:path w="626" h="626">
                  <a:moveTo>
                    <a:pt x="343" y="594"/>
                  </a:moveTo>
                  <a:lnTo>
                    <a:pt x="343" y="594"/>
                  </a:lnTo>
                  <a:cubicBezTo>
                    <a:pt x="500" y="594"/>
                    <a:pt x="625" y="437"/>
                    <a:pt x="625" y="281"/>
                  </a:cubicBezTo>
                  <a:cubicBezTo>
                    <a:pt x="593" y="125"/>
                    <a:pt x="468" y="0"/>
                    <a:pt x="281" y="0"/>
                  </a:cubicBezTo>
                  <a:cubicBezTo>
                    <a:pt x="125" y="31"/>
                    <a:pt x="0" y="156"/>
                    <a:pt x="31" y="344"/>
                  </a:cubicBezTo>
                  <a:cubicBezTo>
                    <a:pt x="31" y="500"/>
                    <a:pt x="187" y="625"/>
                    <a:pt x="343" y="594"/>
                  </a:cubicBez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500" dirty="0"/>
            </a:p>
          </p:txBody>
        </p:sp>
        <p:sp>
          <p:nvSpPr>
            <p:cNvPr id="79" name="Freeform 33">
              <a:extLst>
                <a:ext uri="{FF2B5EF4-FFF2-40B4-BE49-F238E27FC236}">
                  <a16:creationId xmlns:a16="http://schemas.microsoft.com/office/drawing/2014/main" id="{9B494C34-674D-474E-A686-6EC47D5A03C3}"/>
                </a:ext>
              </a:extLst>
            </p:cNvPr>
            <p:cNvSpPr>
              <a:spLocks noChangeArrowheads="1"/>
            </p:cNvSpPr>
            <p:nvPr/>
          </p:nvSpPr>
          <p:spPr bwMode="auto">
            <a:xfrm>
              <a:off x="7853379" y="5672136"/>
              <a:ext cx="1260474" cy="1384300"/>
            </a:xfrm>
            <a:custGeom>
              <a:avLst/>
              <a:gdLst>
                <a:gd name="T0" fmla="*/ 3406 w 3501"/>
                <a:gd name="T1" fmla="*/ 0 h 3844"/>
                <a:gd name="T2" fmla="*/ 3406 w 3501"/>
                <a:gd name="T3" fmla="*/ 0 h 3844"/>
                <a:gd name="T4" fmla="*/ 281 w 3501"/>
                <a:gd name="T5" fmla="*/ 0 h 3844"/>
                <a:gd name="T6" fmla="*/ 0 w 3501"/>
                <a:gd name="T7" fmla="*/ 282 h 3844"/>
                <a:gd name="T8" fmla="*/ 0 w 3501"/>
                <a:gd name="T9" fmla="*/ 3718 h 3844"/>
                <a:gd name="T10" fmla="*/ 125 w 3501"/>
                <a:gd name="T11" fmla="*/ 3843 h 3844"/>
                <a:gd name="T12" fmla="*/ 3375 w 3501"/>
                <a:gd name="T13" fmla="*/ 3843 h 3844"/>
                <a:gd name="T14" fmla="*/ 3500 w 3501"/>
                <a:gd name="T15" fmla="*/ 3718 h 3844"/>
                <a:gd name="T16" fmla="*/ 3500 w 3501"/>
                <a:gd name="T17" fmla="*/ 157 h 3844"/>
                <a:gd name="T18" fmla="*/ 3406 w 3501"/>
                <a:gd name="T19" fmla="*/ 0 h 3844"/>
                <a:gd name="T20" fmla="*/ 844 w 3501"/>
                <a:gd name="T21" fmla="*/ 3156 h 3844"/>
                <a:gd name="T22" fmla="*/ 844 w 3501"/>
                <a:gd name="T23" fmla="*/ 3156 h 3844"/>
                <a:gd name="T24" fmla="*/ 562 w 3501"/>
                <a:gd name="T25" fmla="*/ 3156 h 3844"/>
                <a:gd name="T26" fmla="*/ 562 w 3501"/>
                <a:gd name="T27" fmla="*/ 2749 h 3844"/>
                <a:gd name="T28" fmla="*/ 844 w 3501"/>
                <a:gd name="T29" fmla="*/ 2749 h 3844"/>
                <a:gd name="T30" fmla="*/ 844 w 3501"/>
                <a:gd name="T31" fmla="*/ 3156 h 3844"/>
                <a:gd name="T32" fmla="*/ 844 w 3501"/>
                <a:gd name="T33" fmla="*/ 1749 h 3844"/>
                <a:gd name="T34" fmla="*/ 844 w 3501"/>
                <a:gd name="T35" fmla="*/ 1749 h 3844"/>
                <a:gd name="T36" fmla="*/ 562 w 3501"/>
                <a:gd name="T37" fmla="*/ 1749 h 3844"/>
                <a:gd name="T38" fmla="*/ 562 w 3501"/>
                <a:gd name="T39" fmla="*/ 1343 h 3844"/>
                <a:gd name="T40" fmla="*/ 844 w 3501"/>
                <a:gd name="T41" fmla="*/ 1343 h 3844"/>
                <a:gd name="T42" fmla="*/ 844 w 3501"/>
                <a:gd name="T43" fmla="*/ 1749 h 3844"/>
                <a:gd name="T44" fmla="*/ 1562 w 3501"/>
                <a:gd name="T45" fmla="*/ 3156 h 3844"/>
                <a:gd name="T46" fmla="*/ 1562 w 3501"/>
                <a:gd name="T47" fmla="*/ 3156 h 3844"/>
                <a:gd name="T48" fmla="*/ 1250 w 3501"/>
                <a:gd name="T49" fmla="*/ 3156 h 3844"/>
                <a:gd name="T50" fmla="*/ 1250 w 3501"/>
                <a:gd name="T51" fmla="*/ 2749 h 3844"/>
                <a:gd name="T52" fmla="*/ 1562 w 3501"/>
                <a:gd name="T53" fmla="*/ 2749 h 3844"/>
                <a:gd name="T54" fmla="*/ 1562 w 3501"/>
                <a:gd name="T55" fmla="*/ 3156 h 3844"/>
                <a:gd name="T56" fmla="*/ 2250 w 3501"/>
                <a:gd name="T57" fmla="*/ 1031 h 3844"/>
                <a:gd name="T58" fmla="*/ 2250 w 3501"/>
                <a:gd name="T59" fmla="*/ 1031 h 3844"/>
                <a:gd name="T60" fmla="*/ 1969 w 3501"/>
                <a:gd name="T61" fmla="*/ 1031 h 3844"/>
                <a:gd name="T62" fmla="*/ 1969 w 3501"/>
                <a:gd name="T63" fmla="*/ 624 h 3844"/>
                <a:gd name="T64" fmla="*/ 2250 w 3501"/>
                <a:gd name="T65" fmla="*/ 624 h 3844"/>
                <a:gd name="T66" fmla="*/ 2250 w 3501"/>
                <a:gd name="T67" fmla="*/ 1031 h 3844"/>
                <a:gd name="T68" fmla="*/ 2937 w 3501"/>
                <a:gd name="T69" fmla="*/ 3156 h 3844"/>
                <a:gd name="T70" fmla="*/ 2937 w 3501"/>
                <a:gd name="T71" fmla="*/ 3156 h 3844"/>
                <a:gd name="T72" fmla="*/ 2656 w 3501"/>
                <a:gd name="T73" fmla="*/ 3156 h 3844"/>
                <a:gd name="T74" fmla="*/ 2656 w 3501"/>
                <a:gd name="T75" fmla="*/ 2749 h 3844"/>
                <a:gd name="T76" fmla="*/ 2937 w 3501"/>
                <a:gd name="T77" fmla="*/ 2749 h 3844"/>
                <a:gd name="T78" fmla="*/ 2937 w 3501"/>
                <a:gd name="T79" fmla="*/ 3156 h 3844"/>
                <a:gd name="T80" fmla="*/ 2937 w 3501"/>
                <a:gd name="T81" fmla="*/ 2468 h 3844"/>
                <a:gd name="T82" fmla="*/ 2937 w 3501"/>
                <a:gd name="T83" fmla="*/ 2468 h 3844"/>
                <a:gd name="T84" fmla="*/ 2656 w 3501"/>
                <a:gd name="T85" fmla="*/ 2468 h 3844"/>
                <a:gd name="T86" fmla="*/ 2656 w 3501"/>
                <a:gd name="T87" fmla="*/ 2062 h 3844"/>
                <a:gd name="T88" fmla="*/ 2937 w 3501"/>
                <a:gd name="T89" fmla="*/ 2062 h 3844"/>
                <a:gd name="T90" fmla="*/ 2937 w 3501"/>
                <a:gd name="T91" fmla="*/ 2468 h 3844"/>
                <a:gd name="T92" fmla="*/ 2937 w 3501"/>
                <a:gd name="T93" fmla="*/ 1031 h 3844"/>
                <a:gd name="T94" fmla="*/ 2937 w 3501"/>
                <a:gd name="T95" fmla="*/ 1031 h 3844"/>
                <a:gd name="T96" fmla="*/ 2656 w 3501"/>
                <a:gd name="T97" fmla="*/ 1031 h 3844"/>
                <a:gd name="T98" fmla="*/ 2656 w 3501"/>
                <a:gd name="T99" fmla="*/ 624 h 3844"/>
                <a:gd name="T100" fmla="*/ 2937 w 3501"/>
                <a:gd name="T101" fmla="*/ 624 h 3844"/>
                <a:gd name="T102" fmla="*/ 2937 w 3501"/>
                <a:gd name="T103" fmla="*/ 1031 h 38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01" h="3844">
                  <a:moveTo>
                    <a:pt x="3406" y="0"/>
                  </a:moveTo>
                  <a:lnTo>
                    <a:pt x="3406" y="0"/>
                  </a:lnTo>
                  <a:cubicBezTo>
                    <a:pt x="281" y="0"/>
                    <a:pt x="281" y="0"/>
                    <a:pt x="281" y="0"/>
                  </a:cubicBezTo>
                  <a:cubicBezTo>
                    <a:pt x="31" y="0"/>
                    <a:pt x="0" y="125"/>
                    <a:pt x="0" y="282"/>
                  </a:cubicBezTo>
                  <a:cubicBezTo>
                    <a:pt x="0" y="3718"/>
                    <a:pt x="0" y="3718"/>
                    <a:pt x="0" y="3718"/>
                  </a:cubicBezTo>
                  <a:cubicBezTo>
                    <a:pt x="0" y="3781"/>
                    <a:pt x="62" y="3843"/>
                    <a:pt x="125" y="3843"/>
                  </a:cubicBezTo>
                  <a:cubicBezTo>
                    <a:pt x="3375" y="3843"/>
                    <a:pt x="3375" y="3843"/>
                    <a:pt x="3375" y="3843"/>
                  </a:cubicBezTo>
                  <a:cubicBezTo>
                    <a:pt x="3437" y="3843"/>
                    <a:pt x="3500" y="3781"/>
                    <a:pt x="3500" y="3718"/>
                  </a:cubicBezTo>
                  <a:cubicBezTo>
                    <a:pt x="3500" y="157"/>
                    <a:pt x="3500" y="157"/>
                    <a:pt x="3500" y="157"/>
                  </a:cubicBezTo>
                  <a:cubicBezTo>
                    <a:pt x="3500" y="94"/>
                    <a:pt x="3500" y="0"/>
                    <a:pt x="3406" y="0"/>
                  </a:cubicBezTo>
                  <a:close/>
                  <a:moveTo>
                    <a:pt x="844" y="3156"/>
                  </a:moveTo>
                  <a:lnTo>
                    <a:pt x="844" y="3156"/>
                  </a:lnTo>
                  <a:cubicBezTo>
                    <a:pt x="562" y="3156"/>
                    <a:pt x="562" y="3156"/>
                    <a:pt x="562" y="3156"/>
                  </a:cubicBezTo>
                  <a:cubicBezTo>
                    <a:pt x="562" y="2749"/>
                    <a:pt x="562" y="2749"/>
                    <a:pt x="562" y="2749"/>
                  </a:cubicBezTo>
                  <a:cubicBezTo>
                    <a:pt x="844" y="2749"/>
                    <a:pt x="844" y="2749"/>
                    <a:pt x="844" y="2749"/>
                  </a:cubicBezTo>
                  <a:lnTo>
                    <a:pt x="844" y="3156"/>
                  </a:lnTo>
                  <a:close/>
                  <a:moveTo>
                    <a:pt x="844" y="1749"/>
                  </a:moveTo>
                  <a:lnTo>
                    <a:pt x="844" y="1749"/>
                  </a:lnTo>
                  <a:cubicBezTo>
                    <a:pt x="562" y="1749"/>
                    <a:pt x="562" y="1749"/>
                    <a:pt x="562" y="1749"/>
                  </a:cubicBezTo>
                  <a:cubicBezTo>
                    <a:pt x="562" y="1343"/>
                    <a:pt x="562" y="1343"/>
                    <a:pt x="562" y="1343"/>
                  </a:cubicBezTo>
                  <a:cubicBezTo>
                    <a:pt x="844" y="1343"/>
                    <a:pt x="844" y="1343"/>
                    <a:pt x="844" y="1343"/>
                  </a:cubicBezTo>
                  <a:lnTo>
                    <a:pt x="844" y="1749"/>
                  </a:lnTo>
                  <a:close/>
                  <a:moveTo>
                    <a:pt x="1562" y="3156"/>
                  </a:moveTo>
                  <a:lnTo>
                    <a:pt x="1562" y="3156"/>
                  </a:lnTo>
                  <a:cubicBezTo>
                    <a:pt x="1250" y="3156"/>
                    <a:pt x="1250" y="3156"/>
                    <a:pt x="1250" y="3156"/>
                  </a:cubicBezTo>
                  <a:cubicBezTo>
                    <a:pt x="1250" y="2749"/>
                    <a:pt x="1250" y="2749"/>
                    <a:pt x="1250" y="2749"/>
                  </a:cubicBezTo>
                  <a:cubicBezTo>
                    <a:pt x="1562" y="2749"/>
                    <a:pt x="1562" y="2749"/>
                    <a:pt x="1562" y="2749"/>
                  </a:cubicBezTo>
                  <a:lnTo>
                    <a:pt x="1562" y="3156"/>
                  </a:lnTo>
                  <a:close/>
                  <a:moveTo>
                    <a:pt x="2250" y="1031"/>
                  </a:moveTo>
                  <a:lnTo>
                    <a:pt x="2250" y="1031"/>
                  </a:lnTo>
                  <a:cubicBezTo>
                    <a:pt x="1969" y="1031"/>
                    <a:pt x="1969" y="1031"/>
                    <a:pt x="1969" y="1031"/>
                  </a:cubicBezTo>
                  <a:cubicBezTo>
                    <a:pt x="1969" y="624"/>
                    <a:pt x="1969" y="624"/>
                    <a:pt x="1969" y="624"/>
                  </a:cubicBezTo>
                  <a:cubicBezTo>
                    <a:pt x="2250" y="624"/>
                    <a:pt x="2250" y="624"/>
                    <a:pt x="2250" y="624"/>
                  </a:cubicBezTo>
                  <a:lnTo>
                    <a:pt x="2250" y="1031"/>
                  </a:lnTo>
                  <a:close/>
                  <a:moveTo>
                    <a:pt x="2937" y="3156"/>
                  </a:moveTo>
                  <a:lnTo>
                    <a:pt x="2937" y="3156"/>
                  </a:lnTo>
                  <a:cubicBezTo>
                    <a:pt x="2656" y="3156"/>
                    <a:pt x="2656" y="3156"/>
                    <a:pt x="2656" y="3156"/>
                  </a:cubicBezTo>
                  <a:cubicBezTo>
                    <a:pt x="2656" y="2749"/>
                    <a:pt x="2656" y="2749"/>
                    <a:pt x="2656" y="2749"/>
                  </a:cubicBezTo>
                  <a:cubicBezTo>
                    <a:pt x="2937" y="2749"/>
                    <a:pt x="2937" y="2749"/>
                    <a:pt x="2937" y="2749"/>
                  </a:cubicBezTo>
                  <a:lnTo>
                    <a:pt x="2937" y="3156"/>
                  </a:lnTo>
                  <a:close/>
                  <a:moveTo>
                    <a:pt x="2937" y="2468"/>
                  </a:moveTo>
                  <a:lnTo>
                    <a:pt x="2937" y="2468"/>
                  </a:lnTo>
                  <a:cubicBezTo>
                    <a:pt x="2656" y="2468"/>
                    <a:pt x="2656" y="2468"/>
                    <a:pt x="2656" y="2468"/>
                  </a:cubicBezTo>
                  <a:cubicBezTo>
                    <a:pt x="2656" y="2062"/>
                    <a:pt x="2656" y="2062"/>
                    <a:pt x="2656" y="2062"/>
                  </a:cubicBezTo>
                  <a:cubicBezTo>
                    <a:pt x="2937" y="2062"/>
                    <a:pt x="2937" y="2062"/>
                    <a:pt x="2937" y="2062"/>
                  </a:cubicBezTo>
                  <a:lnTo>
                    <a:pt x="2937" y="2468"/>
                  </a:lnTo>
                  <a:close/>
                  <a:moveTo>
                    <a:pt x="2937" y="1031"/>
                  </a:moveTo>
                  <a:lnTo>
                    <a:pt x="2937" y="1031"/>
                  </a:lnTo>
                  <a:cubicBezTo>
                    <a:pt x="2656" y="1031"/>
                    <a:pt x="2656" y="1031"/>
                    <a:pt x="2656" y="1031"/>
                  </a:cubicBezTo>
                  <a:cubicBezTo>
                    <a:pt x="2656" y="624"/>
                    <a:pt x="2656" y="624"/>
                    <a:pt x="2656" y="624"/>
                  </a:cubicBezTo>
                  <a:cubicBezTo>
                    <a:pt x="2937" y="624"/>
                    <a:pt x="2937" y="624"/>
                    <a:pt x="2937" y="624"/>
                  </a:cubicBezTo>
                  <a:lnTo>
                    <a:pt x="2937" y="1031"/>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500" dirty="0"/>
            </a:p>
          </p:txBody>
        </p:sp>
        <p:sp>
          <p:nvSpPr>
            <p:cNvPr id="80" name="Freeform 34">
              <a:extLst>
                <a:ext uri="{FF2B5EF4-FFF2-40B4-BE49-F238E27FC236}">
                  <a16:creationId xmlns:a16="http://schemas.microsoft.com/office/drawing/2014/main" id="{CCEBAF31-8582-431D-8D90-C96E47E7D77D}"/>
                </a:ext>
              </a:extLst>
            </p:cNvPr>
            <p:cNvSpPr>
              <a:spLocks noChangeArrowheads="1"/>
            </p:cNvSpPr>
            <p:nvPr/>
          </p:nvSpPr>
          <p:spPr bwMode="auto">
            <a:xfrm>
              <a:off x="6086475" y="4851400"/>
              <a:ext cx="3870325" cy="2519363"/>
            </a:xfrm>
            <a:custGeom>
              <a:avLst/>
              <a:gdLst>
                <a:gd name="T0" fmla="*/ 10530 w 10750"/>
                <a:gd name="T1" fmla="*/ 3093 h 7000"/>
                <a:gd name="T2" fmla="*/ 8624 w 10750"/>
                <a:gd name="T3" fmla="*/ 5999 h 7000"/>
                <a:gd name="T4" fmla="*/ 9186 w 10750"/>
                <a:gd name="T5" fmla="*/ 6249 h 7000"/>
                <a:gd name="T6" fmla="*/ 6686 w 10750"/>
                <a:gd name="T7" fmla="*/ 6780 h 7000"/>
                <a:gd name="T8" fmla="*/ 6499 w 10750"/>
                <a:gd name="T9" fmla="*/ 5937 h 7000"/>
                <a:gd name="T10" fmla="*/ 4125 w 10750"/>
                <a:gd name="T11" fmla="*/ 6780 h 7000"/>
                <a:gd name="T12" fmla="*/ 4780 w 10750"/>
                <a:gd name="T13" fmla="*/ 6218 h 7000"/>
                <a:gd name="T14" fmla="*/ 4686 w 10750"/>
                <a:gd name="T15" fmla="*/ 2563 h 7000"/>
                <a:gd name="T16" fmla="*/ 6092 w 10750"/>
                <a:gd name="T17" fmla="*/ 2094 h 7000"/>
                <a:gd name="T18" fmla="*/ 5811 w 10750"/>
                <a:gd name="T19" fmla="*/ 0 h 7000"/>
                <a:gd name="T20" fmla="*/ 3937 w 10750"/>
                <a:gd name="T21" fmla="*/ 250 h 7000"/>
                <a:gd name="T22" fmla="*/ 3031 w 10750"/>
                <a:gd name="T23" fmla="*/ 1031 h 7000"/>
                <a:gd name="T24" fmla="*/ 3062 w 10750"/>
                <a:gd name="T25" fmla="*/ 2718 h 7000"/>
                <a:gd name="T26" fmla="*/ 3375 w 10750"/>
                <a:gd name="T27" fmla="*/ 5968 h 7000"/>
                <a:gd name="T28" fmla="*/ 3375 w 10750"/>
                <a:gd name="T29" fmla="*/ 6218 h 7000"/>
                <a:gd name="T30" fmla="*/ 3906 w 10750"/>
                <a:gd name="T31" fmla="*/ 6780 h 7000"/>
                <a:gd name="T32" fmla="*/ 1812 w 10750"/>
                <a:gd name="T33" fmla="*/ 6218 h 7000"/>
                <a:gd name="T34" fmla="*/ 3187 w 10750"/>
                <a:gd name="T35" fmla="*/ 5968 h 7000"/>
                <a:gd name="T36" fmla="*/ 2968 w 10750"/>
                <a:gd name="T37" fmla="*/ 2843 h 7000"/>
                <a:gd name="T38" fmla="*/ 625 w 10750"/>
                <a:gd name="T39" fmla="*/ 2843 h 7000"/>
                <a:gd name="T40" fmla="*/ 0 w 10750"/>
                <a:gd name="T41" fmla="*/ 3093 h 7000"/>
                <a:gd name="T42" fmla="*/ 0 w 10750"/>
                <a:gd name="T43" fmla="*/ 5968 h 7000"/>
                <a:gd name="T44" fmla="*/ 1593 w 10750"/>
                <a:gd name="T45" fmla="*/ 6218 h 7000"/>
                <a:gd name="T46" fmla="*/ 9405 w 10750"/>
                <a:gd name="T47" fmla="*/ 6999 h 7000"/>
                <a:gd name="T48" fmla="*/ 10499 w 10750"/>
                <a:gd name="T49" fmla="*/ 6249 h 7000"/>
                <a:gd name="T50" fmla="*/ 10749 w 10750"/>
                <a:gd name="T51" fmla="*/ 3343 h 7000"/>
                <a:gd name="T52" fmla="*/ 4874 w 10750"/>
                <a:gd name="T53" fmla="*/ 750 h 7000"/>
                <a:gd name="T54" fmla="*/ 5311 w 10750"/>
                <a:gd name="T55" fmla="*/ 750 h 7000"/>
                <a:gd name="T56" fmla="*/ 4874 w 10750"/>
                <a:gd name="T57" fmla="*/ 1344 h 7000"/>
                <a:gd name="T58" fmla="*/ 2187 w 10750"/>
                <a:gd name="T59" fmla="*/ 3593 h 7000"/>
                <a:gd name="T60" fmla="*/ 2500 w 10750"/>
                <a:gd name="T61" fmla="*/ 3593 h 7000"/>
                <a:gd name="T62" fmla="*/ 2187 w 10750"/>
                <a:gd name="T63" fmla="*/ 4030 h 7000"/>
                <a:gd name="T64" fmla="*/ 2187 w 10750"/>
                <a:gd name="T65" fmla="*/ 4343 h 7000"/>
                <a:gd name="T66" fmla="*/ 2500 w 10750"/>
                <a:gd name="T67" fmla="*/ 4343 h 7000"/>
                <a:gd name="T68" fmla="*/ 2187 w 10750"/>
                <a:gd name="T69" fmla="*/ 4780 h 7000"/>
                <a:gd name="T70" fmla="*/ 2187 w 10750"/>
                <a:gd name="T71" fmla="*/ 5124 h 7000"/>
                <a:gd name="T72" fmla="*/ 2500 w 10750"/>
                <a:gd name="T73" fmla="*/ 5124 h 7000"/>
                <a:gd name="T74" fmla="*/ 2187 w 10750"/>
                <a:gd name="T75" fmla="*/ 5562 h 7000"/>
                <a:gd name="T76" fmla="*/ 1000 w 10750"/>
                <a:gd name="T77" fmla="*/ 5562 h 7000"/>
                <a:gd name="T78" fmla="*/ 687 w 10750"/>
                <a:gd name="T79" fmla="*/ 5562 h 7000"/>
                <a:gd name="T80" fmla="*/ 1000 w 10750"/>
                <a:gd name="T81" fmla="*/ 5124 h 7000"/>
                <a:gd name="T82" fmla="*/ 1750 w 10750"/>
                <a:gd name="T83" fmla="*/ 4030 h 7000"/>
                <a:gd name="T84" fmla="*/ 1437 w 10750"/>
                <a:gd name="T85" fmla="*/ 4030 h 7000"/>
                <a:gd name="T86" fmla="*/ 1750 w 10750"/>
                <a:gd name="T87" fmla="*/ 3593 h 7000"/>
                <a:gd name="T88" fmla="*/ 3718 w 10750"/>
                <a:gd name="T89" fmla="*/ 1313 h 7000"/>
                <a:gd name="T90" fmla="*/ 4156 w 10750"/>
                <a:gd name="T91" fmla="*/ 1313 h 7000"/>
                <a:gd name="T92" fmla="*/ 3718 w 10750"/>
                <a:gd name="T93" fmla="*/ 1906 h 7000"/>
                <a:gd name="T94" fmla="*/ 3718 w 10750"/>
                <a:gd name="T95" fmla="*/ 2375 h 7000"/>
                <a:gd name="T96" fmla="*/ 4156 w 10750"/>
                <a:gd name="T97" fmla="*/ 2375 h 7000"/>
                <a:gd name="T98" fmla="*/ 3718 w 10750"/>
                <a:gd name="T99" fmla="*/ 2968 h 7000"/>
                <a:gd name="T100" fmla="*/ 3718 w 10750"/>
                <a:gd name="T101" fmla="*/ 3405 h 7000"/>
                <a:gd name="T102" fmla="*/ 4156 w 10750"/>
                <a:gd name="T103" fmla="*/ 3405 h 7000"/>
                <a:gd name="T104" fmla="*/ 3718 w 10750"/>
                <a:gd name="T105" fmla="*/ 3999 h 7000"/>
                <a:gd name="T106" fmla="*/ 3718 w 10750"/>
                <a:gd name="T107" fmla="*/ 5187 h 7000"/>
                <a:gd name="T108" fmla="*/ 3718 w 10750"/>
                <a:gd name="T109" fmla="*/ 4624 h 7000"/>
                <a:gd name="T110" fmla="*/ 4156 w 10750"/>
                <a:gd name="T111" fmla="*/ 5187 h 7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750" h="7000">
                  <a:moveTo>
                    <a:pt x="10530" y="3093"/>
                  </a:moveTo>
                  <a:lnTo>
                    <a:pt x="10530" y="3093"/>
                  </a:lnTo>
                  <a:cubicBezTo>
                    <a:pt x="8624" y="3093"/>
                    <a:pt x="8624" y="3093"/>
                    <a:pt x="8624" y="3093"/>
                  </a:cubicBezTo>
                  <a:cubicBezTo>
                    <a:pt x="8624" y="5999"/>
                    <a:pt x="8624" y="5999"/>
                    <a:pt x="8624" y="5999"/>
                  </a:cubicBezTo>
                  <a:cubicBezTo>
                    <a:pt x="8624" y="6093"/>
                    <a:pt x="8592" y="6187"/>
                    <a:pt x="8499" y="6249"/>
                  </a:cubicBezTo>
                  <a:cubicBezTo>
                    <a:pt x="9186" y="6249"/>
                    <a:pt x="9186" y="6249"/>
                    <a:pt x="9186" y="6249"/>
                  </a:cubicBezTo>
                  <a:cubicBezTo>
                    <a:pt x="9186" y="6780"/>
                    <a:pt x="9186" y="6780"/>
                    <a:pt x="9186" y="6780"/>
                  </a:cubicBezTo>
                  <a:cubicBezTo>
                    <a:pt x="6686" y="6780"/>
                    <a:pt x="6686" y="6780"/>
                    <a:pt x="6686" y="6780"/>
                  </a:cubicBezTo>
                  <a:cubicBezTo>
                    <a:pt x="6686" y="5937"/>
                    <a:pt x="6686" y="5937"/>
                    <a:pt x="6686" y="5937"/>
                  </a:cubicBezTo>
                  <a:cubicBezTo>
                    <a:pt x="6499" y="5937"/>
                    <a:pt x="6499" y="5937"/>
                    <a:pt x="6499" y="5937"/>
                  </a:cubicBezTo>
                  <a:cubicBezTo>
                    <a:pt x="6499" y="6780"/>
                    <a:pt x="6499" y="6780"/>
                    <a:pt x="6499" y="6780"/>
                  </a:cubicBezTo>
                  <a:cubicBezTo>
                    <a:pt x="4125" y="6780"/>
                    <a:pt x="4125" y="6780"/>
                    <a:pt x="4125" y="6780"/>
                  </a:cubicBezTo>
                  <a:cubicBezTo>
                    <a:pt x="4125" y="6218"/>
                    <a:pt x="4125" y="6218"/>
                    <a:pt x="4125" y="6218"/>
                  </a:cubicBezTo>
                  <a:cubicBezTo>
                    <a:pt x="4780" y="6218"/>
                    <a:pt x="4780" y="6218"/>
                    <a:pt x="4780" y="6218"/>
                  </a:cubicBezTo>
                  <a:cubicBezTo>
                    <a:pt x="4717" y="6155"/>
                    <a:pt x="4686" y="6093"/>
                    <a:pt x="4686" y="5999"/>
                  </a:cubicBezTo>
                  <a:cubicBezTo>
                    <a:pt x="4686" y="2562"/>
                    <a:pt x="4686" y="2563"/>
                    <a:pt x="4686" y="2563"/>
                  </a:cubicBezTo>
                  <a:cubicBezTo>
                    <a:pt x="4686" y="2250"/>
                    <a:pt x="4874" y="2094"/>
                    <a:pt x="5186" y="2094"/>
                  </a:cubicBezTo>
                  <a:cubicBezTo>
                    <a:pt x="6092" y="2094"/>
                    <a:pt x="6092" y="2094"/>
                    <a:pt x="6092" y="2094"/>
                  </a:cubicBezTo>
                  <a:cubicBezTo>
                    <a:pt x="6092" y="375"/>
                    <a:pt x="6092" y="375"/>
                    <a:pt x="6092" y="375"/>
                  </a:cubicBezTo>
                  <a:cubicBezTo>
                    <a:pt x="6092" y="156"/>
                    <a:pt x="5999" y="0"/>
                    <a:pt x="5811" y="0"/>
                  </a:cubicBezTo>
                  <a:cubicBezTo>
                    <a:pt x="3843" y="0"/>
                    <a:pt x="3843" y="0"/>
                    <a:pt x="3843" y="0"/>
                  </a:cubicBezTo>
                  <a:cubicBezTo>
                    <a:pt x="3875" y="94"/>
                    <a:pt x="3906" y="156"/>
                    <a:pt x="3937" y="250"/>
                  </a:cubicBezTo>
                  <a:cubicBezTo>
                    <a:pt x="3968" y="656"/>
                    <a:pt x="3656" y="1031"/>
                    <a:pt x="3250" y="1063"/>
                  </a:cubicBezTo>
                  <a:cubicBezTo>
                    <a:pt x="3187" y="1063"/>
                    <a:pt x="3093" y="1063"/>
                    <a:pt x="3031" y="1031"/>
                  </a:cubicBezTo>
                  <a:cubicBezTo>
                    <a:pt x="3031" y="2718"/>
                    <a:pt x="3031" y="2718"/>
                    <a:pt x="3031" y="2718"/>
                  </a:cubicBezTo>
                  <a:cubicBezTo>
                    <a:pt x="3062" y="2718"/>
                    <a:pt x="3062" y="2718"/>
                    <a:pt x="3062" y="2718"/>
                  </a:cubicBezTo>
                  <a:cubicBezTo>
                    <a:pt x="3250" y="2718"/>
                    <a:pt x="3375" y="2874"/>
                    <a:pt x="3375" y="3093"/>
                  </a:cubicBezTo>
                  <a:cubicBezTo>
                    <a:pt x="3375" y="5968"/>
                    <a:pt x="3375" y="5968"/>
                    <a:pt x="3375" y="5968"/>
                  </a:cubicBezTo>
                  <a:cubicBezTo>
                    <a:pt x="3375" y="6062"/>
                    <a:pt x="3343" y="6155"/>
                    <a:pt x="3281" y="6218"/>
                  </a:cubicBezTo>
                  <a:cubicBezTo>
                    <a:pt x="3312" y="6218"/>
                    <a:pt x="3343" y="6218"/>
                    <a:pt x="3375" y="6218"/>
                  </a:cubicBezTo>
                  <a:cubicBezTo>
                    <a:pt x="3906" y="6218"/>
                    <a:pt x="3906" y="6218"/>
                    <a:pt x="3906" y="6218"/>
                  </a:cubicBezTo>
                  <a:cubicBezTo>
                    <a:pt x="3906" y="6780"/>
                    <a:pt x="3906" y="6780"/>
                    <a:pt x="3906" y="6780"/>
                  </a:cubicBezTo>
                  <a:cubicBezTo>
                    <a:pt x="1812" y="6780"/>
                    <a:pt x="1812" y="6780"/>
                    <a:pt x="1812" y="6780"/>
                  </a:cubicBezTo>
                  <a:cubicBezTo>
                    <a:pt x="1812" y="6218"/>
                    <a:pt x="1812" y="6218"/>
                    <a:pt x="1812" y="6218"/>
                  </a:cubicBezTo>
                  <a:cubicBezTo>
                    <a:pt x="2937" y="6218"/>
                    <a:pt x="2937" y="6218"/>
                    <a:pt x="2937" y="6218"/>
                  </a:cubicBezTo>
                  <a:cubicBezTo>
                    <a:pt x="3093" y="6218"/>
                    <a:pt x="3187" y="6124"/>
                    <a:pt x="3187" y="5968"/>
                  </a:cubicBezTo>
                  <a:cubicBezTo>
                    <a:pt x="3187" y="3093"/>
                    <a:pt x="3187" y="3093"/>
                    <a:pt x="3187" y="3093"/>
                  </a:cubicBezTo>
                  <a:cubicBezTo>
                    <a:pt x="3187" y="2937"/>
                    <a:pt x="3125" y="2843"/>
                    <a:pt x="2968" y="2843"/>
                  </a:cubicBezTo>
                  <a:cubicBezTo>
                    <a:pt x="2562" y="2843"/>
                    <a:pt x="2562" y="2843"/>
                    <a:pt x="2562" y="2843"/>
                  </a:cubicBezTo>
                  <a:cubicBezTo>
                    <a:pt x="625" y="2843"/>
                    <a:pt x="625" y="2843"/>
                    <a:pt x="625" y="2843"/>
                  </a:cubicBezTo>
                  <a:cubicBezTo>
                    <a:pt x="218" y="2843"/>
                    <a:pt x="218" y="2843"/>
                    <a:pt x="218" y="2843"/>
                  </a:cubicBezTo>
                  <a:cubicBezTo>
                    <a:pt x="62" y="2843"/>
                    <a:pt x="0" y="2937"/>
                    <a:pt x="0" y="3093"/>
                  </a:cubicBezTo>
                  <a:cubicBezTo>
                    <a:pt x="0" y="3468"/>
                    <a:pt x="0" y="3468"/>
                    <a:pt x="0" y="3468"/>
                  </a:cubicBezTo>
                  <a:cubicBezTo>
                    <a:pt x="0" y="5968"/>
                    <a:pt x="0" y="5968"/>
                    <a:pt x="0" y="5968"/>
                  </a:cubicBezTo>
                  <a:cubicBezTo>
                    <a:pt x="0" y="6124"/>
                    <a:pt x="93" y="6218"/>
                    <a:pt x="250" y="6218"/>
                  </a:cubicBezTo>
                  <a:cubicBezTo>
                    <a:pt x="1593" y="6218"/>
                    <a:pt x="1593" y="6218"/>
                    <a:pt x="1593" y="6218"/>
                  </a:cubicBezTo>
                  <a:cubicBezTo>
                    <a:pt x="1593" y="6999"/>
                    <a:pt x="1593" y="6999"/>
                    <a:pt x="1593" y="6999"/>
                  </a:cubicBezTo>
                  <a:cubicBezTo>
                    <a:pt x="9405" y="6999"/>
                    <a:pt x="9405" y="6999"/>
                    <a:pt x="9405" y="6999"/>
                  </a:cubicBezTo>
                  <a:cubicBezTo>
                    <a:pt x="9405" y="6249"/>
                    <a:pt x="9405" y="6249"/>
                    <a:pt x="9405" y="6249"/>
                  </a:cubicBezTo>
                  <a:cubicBezTo>
                    <a:pt x="10499" y="6249"/>
                    <a:pt x="10499" y="6249"/>
                    <a:pt x="10499" y="6249"/>
                  </a:cubicBezTo>
                  <a:cubicBezTo>
                    <a:pt x="10623" y="6249"/>
                    <a:pt x="10749" y="6124"/>
                    <a:pt x="10749" y="5999"/>
                  </a:cubicBezTo>
                  <a:cubicBezTo>
                    <a:pt x="10749" y="3343"/>
                    <a:pt x="10749" y="3343"/>
                    <a:pt x="10749" y="3343"/>
                  </a:cubicBezTo>
                  <a:cubicBezTo>
                    <a:pt x="10749" y="3187"/>
                    <a:pt x="10686" y="3093"/>
                    <a:pt x="10530" y="3093"/>
                  </a:cubicBezTo>
                  <a:close/>
                  <a:moveTo>
                    <a:pt x="4874" y="750"/>
                  </a:moveTo>
                  <a:lnTo>
                    <a:pt x="4874" y="750"/>
                  </a:lnTo>
                  <a:cubicBezTo>
                    <a:pt x="5311" y="750"/>
                    <a:pt x="5311" y="750"/>
                    <a:pt x="5311" y="750"/>
                  </a:cubicBezTo>
                  <a:cubicBezTo>
                    <a:pt x="5311" y="1344"/>
                    <a:pt x="5311" y="1344"/>
                    <a:pt x="5311" y="1344"/>
                  </a:cubicBezTo>
                  <a:cubicBezTo>
                    <a:pt x="4874" y="1344"/>
                    <a:pt x="4874" y="1344"/>
                    <a:pt x="4874" y="1344"/>
                  </a:cubicBezTo>
                  <a:lnTo>
                    <a:pt x="4874" y="750"/>
                  </a:lnTo>
                  <a:close/>
                  <a:moveTo>
                    <a:pt x="2187" y="3593"/>
                  </a:moveTo>
                  <a:lnTo>
                    <a:pt x="2187" y="3593"/>
                  </a:lnTo>
                  <a:cubicBezTo>
                    <a:pt x="2500" y="3593"/>
                    <a:pt x="2500" y="3593"/>
                    <a:pt x="2500" y="3593"/>
                  </a:cubicBezTo>
                  <a:cubicBezTo>
                    <a:pt x="2500" y="4030"/>
                    <a:pt x="2500" y="4030"/>
                    <a:pt x="2500" y="4030"/>
                  </a:cubicBezTo>
                  <a:cubicBezTo>
                    <a:pt x="2187" y="4030"/>
                    <a:pt x="2187" y="4030"/>
                    <a:pt x="2187" y="4030"/>
                  </a:cubicBezTo>
                  <a:lnTo>
                    <a:pt x="2187" y="3593"/>
                  </a:lnTo>
                  <a:close/>
                  <a:moveTo>
                    <a:pt x="2187" y="4343"/>
                  </a:moveTo>
                  <a:lnTo>
                    <a:pt x="2187" y="4343"/>
                  </a:lnTo>
                  <a:cubicBezTo>
                    <a:pt x="2500" y="4343"/>
                    <a:pt x="2500" y="4343"/>
                    <a:pt x="2500" y="4343"/>
                  </a:cubicBezTo>
                  <a:cubicBezTo>
                    <a:pt x="2500" y="4780"/>
                    <a:pt x="2500" y="4780"/>
                    <a:pt x="2500" y="4780"/>
                  </a:cubicBezTo>
                  <a:cubicBezTo>
                    <a:pt x="2187" y="4780"/>
                    <a:pt x="2187" y="4780"/>
                    <a:pt x="2187" y="4780"/>
                  </a:cubicBezTo>
                  <a:lnTo>
                    <a:pt x="2187" y="4343"/>
                  </a:lnTo>
                  <a:close/>
                  <a:moveTo>
                    <a:pt x="2187" y="5124"/>
                  </a:moveTo>
                  <a:lnTo>
                    <a:pt x="2187" y="5124"/>
                  </a:lnTo>
                  <a:cubicBezTo>
                    <a:pt x="2500" y="5124"/>
                    <a:pt x="2500" y="5124"/>
                    <a:pt x="2500" y="5124"/>
                  </a:cubicBezTo>
                  <a:cubicBezTo>
                    <a:pt x="2500" y="5562"/>
                    <a:pt x="2500" y="5562"/>
                    <a:pt x="2500" y="5562"/>
                  </a:cubicBezTo>
                  <a:cubicBezTo>
                    <a:pt x="2187" y="5562"/>
                    <a:pt x="2187" y="5562"/>
                    <a:pt x="2187" y="5562"/>
                  </a:cubicBezTo>
                  <a:lnTo>
                    <a:pt x="2187" y="5124"/>
                  </a:lnTo>
                  <a:close/>
                  <a:moveTo>
                    <a:pt x="1000" y="5562"/>
                  </a:moveTo>
                  <a:lnTo>
                    <a:pt x="1000" y="5562"/>
                  </a:lnTo>
                  <a:cubicBezTo>
                    <a:pt x="687" y="5562"/>
                    <a:pt x="687" y="5562"/>
                    <a:pt x="687" y="5562"/>
                  </a:cubicBezTo>
                  <a:cubicBezTo>
                    <a:pt x="687" y="5124"/>
                    <a:pt x="687" y="5124"/>
                    <a:pt x="687" y="5124"/>
                  </a:cubicBezTo>
                  <a:cubicBezTo>
                    <a:pt x="1000" y="5124"/>
                    <a:pt x="1000" y="5124"/>
                    <a:pt x="1000" y="5124"/>
                  </a:cubicBezTo>
                  <a:lnTo>
                    <a:pt x="1000" y="5562"/>
                  </a:lnTo>
                  <a:close/>
                  <a:moveTo>
                    <a:pt x="1750" y="4030"/>
                  </a:moveTo>
                  <a:lnTo>
                    <a:pt x="1750" y="4030"/>
                  </a:lnTo>
                  <a:cubicBezTo>
                    <a:pt x="1437" y="4030"/>
                    <a:pt x="1437" y="4030"/>
                    <a:pt x="1437" y="4030"/>
                  </a:cubicBezTo>
                  <a:cubicBezTo>
                    <a:pt x="1437" y="3593"/>
                    <a:pt x="1437" y="3593"/>
                    <a:pt x="1437" y="3593"/>
                  </a:cubicBezTo>
                  <a:cubicBezTo>
                    <a:pt x="1750" y="3593"/>
                    <a:pt x="1750" y="3593"/>
                    <a:pt x="1750" y="3593"/>
                  </a:cubicBezTo>
                  <a:lnTo>
                    <a:pt x="1750" y="4030"/>
                  </a:lnTo>
                  <a:close/>
                  <a:moveTo>
                    <a:pt x="3718" y="1313"/>
                  </a:moveTo>
                  <a:lnTo>
                    <a:pt x="3718" y="1313"/>
                  </a:lnTo>
                  <a:cubicBezTo>
                    <a:pt x="4156" y="1313"/>
                    <a:pt x="4156" y="1313"/>
                    <a:pt x="4156" y="1313"/>
                  </a:cubicBezTo>
                  <a:cubicBezTo>
                    <a:pt x="4156" y="1906"/>
                    <a:pt x="4156" y="1906"/>
                    <a:pt x="4156" y="1906"/>
                  </a:cubicBezTo>
                  <a:cubicBezTo>
                    <a:pt x="3718" y="1906"/>
                    <a:pt x="3718" y="1906"/>
                    <a:pt x="3718" y="1906"/>
                  </a:cubicBezTo>
                  <a:lnTo>
                    <a:pt x="3718" y="1313"/>
                  </a:lnTo>
                  <a:close/>
                  <a:moveTo>
                    <a:pt x="3718" y="2375"/>
                  </a:moveTo>
                  <a:lnTo>
                    <a:pt x="3718" y="2375"/>
                  </a:lnTo>
                  <a:cubicBezTo>
                    <a:pt x="4156" y="2375"/>
                    <a:pt x="4156" y="2375"/>
                    <a:pt x="4156" y="2375"/>
                  </a:cubicBezTo>
                  <a:cubicBezTo>
                    <a:pt x="4156" y="2968"/>
                    <a:pt x="4156" y="2968"/>
                    <a:pt x="4156" y="2968"/>
                  </a:cubicBezTo>
                  <a:cubicBezTo>
                    <a:pt x="3718" y="2968"/>
                    <a:pt x="3718" y="2968"/>
                    <a:pt x="3718" y="2968"/>
                  </a:cubicBezTo>
                  <a:lnTo>
                    <a:pt x="3718" y="2375"/>
                  </a:lnTo>
                  <a:close/>
                  <a:moveTo>
                    <a:pt x="3718" y="3405"/>
                  </a:moveTo>
                  <a:lnTo>
                    <a:pt x="3718" y="3405"/>
                  </a:lnTo>
                  <a:cubicBezTo>
                    <a:pt x="4156" y="3405"/>
                    <a:pt x="4156" y="3405"/>
                    <a:pt x="4156" y="3405"/>
                  </a:cubicBezTo>
                  <a:cubicBezTo>
                    <a:pt x="4156" y="3999"/>
                    <a:pt x="4156" y="3999"/>
                    <a:pt x="4156" y="3999"/>
                  </a:cubicBezTo>
                  <a:cubicBezTo>
                    <a:pt x="3718" y="3999"/>
                    <a:pt x="3718" y="3999"/>
                    <a:pt x="3718" y="3999"/>
                  </a:cubicBezTo>
                  <a:lnTo>
                    <a:pt x="3718" y="3405"/>
                  </a:lnTo>
                  <a:close/>
                  <a:moveTo>
                    <a:pt x="3718" y="5187"/>
                  </a:moveTo>
                  <a:lnTo>
                    <a:pt x="3718" y="5187"/>
                  </a:lnTo>
                  <a:cubicBezTo>
                    <a:pt x="3718" y="4624"/>
                    <a:pt x="3718" y="4624"/>
                    <a:pt x="3718" y="4624"/>
                  </a:cubicBezTo>
                  <a:cubicBezTo>
                    <a:pt x="4156" y="4624"/>
                    <a:pt x="4156" y="4624"/>
                    <a:pt x="4156" y="4624"/>
                  </a:cubicBezTo>
                  <a:cubicBezTo>
                    <a:pt x="4156" y="5187"/>
                    <a:pt x="4156" y="5187"/>
                    <a:pt x="4156" y="5187"/>
                  </a:cubicBezTo>
                  <a:lnTo>
                    <a:pt x="3718" y="5187"/>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en-US" sz="500" dirty="0"/>
            </a:p>
          </p:txBody>
        </p:sp>
      </p:grpSp>
      <p:pic>
        <p:nvPicPr>
          <p:cNvPr id="86" name="Picture 2">
            <a:extLst>
              <a:ext uri="{FF2B5EF4-FFF2-40B4-BE49-F238E27FC236}">
                <a16:creationId xmlns:a16="http://schemas.microsoft.com/office/drawing/2014/main" id="{36783388-099C-49EB-B3F3-A983309C3390}"/>
              </a:ext>
            </a:extLst>
          </p:cNvPr>
          <p:cNvPicPr>
            <a:picLocks noChangeAspect="1" noChangeArrowheads="1"/>
          </p:cNvPicPr>
          <p:nvPr/>
        </p:nvPicPr>
        <p:blipFill>
          <a:blip r:embed="rId4" cstate="print">
            <a:lum bright="70000" contrast="-70000"/>
            <a:extLst>
              <a:ext uri="{28A0092B-C50C-407E-A947-70E740481C1C}">
                <a14:useLocalDpi xmlns:a14="http://schemas.microsoft.com/office/drawing/2010/main" val="0"/>
              </a:ext>
            </a:extLst>
          </a:blip>
          <a:srcRect/>
          <a:stretch>
            <a:fillRect/>
          </a:stretch>
        </p:blipFill>
        <p:spPr bwMode="auto">
          <a:xfrm>
            <a:off x="160774" y="2494290"/>
            <a:ext cx="1322481" cy="881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Arrow: Right 1">
            <a:extLst>
              <a:ext uri="{FF2B5EF4-FFF2-40B4-BE49-F238E27FC236}">
                <a16:creationId xmlns:a16="http://schemas.microsoft.com/office/drawing/2014/main" id="{F8549A44-08C3-4A4F-A2F8-4618661BB1F7}"/>
              </a:ext>
            </a:extLst>
          </p:cNvPr>
          <p:cNvSpPr/>
          <p:nvPr/>
        </p:nvSpPr>
        <p:spPr>
          <a:xfrm>
            <a:off x="2596816" y="1847694"/>
            <a:ext cx="877473" cy="267869"/>
          </a:xfrm>
          <a:prstGeom prst="rightArrow">
            <a:avLst/>
          </a:prstGeom>
          <a:solidFill>
            <a:schemeClr val="bg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87" name="Arrow: Right 86">
            <a:extLst>
              <a:ext uri="{FF2B5EF4-FFF2-40B4-BE49-F238E27FC236}">
                <a16:creationId xmlns:a16="http://schemas.microsoft.com/office/drawing/2014/main" id="{72A77DC3-FCF9-43B3-B55C-A10C5A65C095}"/>
              </a:ext>
            </a:extLst>
          </p:cNvPr>
          <p:cNvSpPr/>
          <p:nvPr/>
        </p:nvSpPr>
        <p:spPr>
          <a:xfrm flipH="1">
            <a:off x="2566241" y="3994612"/>
            <a:ext cx="877474" cy="248157"/>
          </a:xfrm>
          <a:prstGeom prst="rightArrow">
            <a:avLst/>
          </a:prstGeom>
          <a:solidFill>
            <a:schemeClr val="bg1"/>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88" name="TextBox 87">
            <a:extLst>
              <a:ext uri="{FF2B5EF4-FFF2-40B4-BE49-F238E27FC236}">
                <a16:creationId xmlns:a16="http://schemas.microsoft.com/office/drawing/2014/main" id="{2CEC13AC-816A-44DC-82DD-452698CACC0B}"/>
              </a:ext>
            </a:extLst>
          </p:cNvPr>
          <p:cNvSpPr txBox="1"/>
          <p:nvPr/>
        </p:nvSpPr>
        <p:spPr>
          <a:xfrm>
            <a:off x="6705933" y="651745"/>
            <a:ext cx="2096664" cy="584775"/>
          </a:xfrm>
          <a:prstGeom prst="rect">
            <a:avLst/>
          </a:prstGeom>
          <a:noFill/>
        </p:spPr>
        <p:txBody>
          <a:bodyPr wrap="none" rtlCol="0">
            <a:spAutoFit/>
          </a:bodyPr>
          <a:lstStyle/>
          <a:p>
            <a:pPr algn="ctr"/>
            <a:r>
              <a:rPr lang="en-US" sz="3200" b="1" dirty="0">
                <a:solidFill>
                  <a:schemeClr val="bg1"/>
                </a:solidFill>
                <a:latin typeface="+mj-lt"/>
                <a:cs typeface="Segoe UI" panose="020B0502040204020203" pitchFamily="34" charset="0"/>
              </a:rPr>
              <a:t>SERVICIOS</a:t>
            </a:r>
          </a:p>
        </p:txBody>
      </p:sp>
      <p:sp>
        <p:nvSpPr>
          <p:cNvPr id="89" name="TextBox 88">
            <a:extLst>
              <a:ext uri="{FF2B5EF4-FFF2-40B4-BE49-F238E27FC236}">
                <a16:creationId xmlns:a16="http://schemas.microsoft.com/office/drawing/2014/main" id="{AFDA4903-9C14-4D7F-B78C-C46AB4F6A2B8}"/>
              </a:ext>
            </a:extLst>
          </p:cNvPr>
          <p:cNvSpPr txBox="1"/>
          <p:nvPr/>
        </p:nvSpPr>
        <p:spPr>
          <a:xfrm>
            <a:off x="4154994" y="659642"/>
            <a:ext cx="1142493" cy="584775"/>
          </a:xfrm>
          <a:prstGeom prst="rect">
            <a:avLst/>
          </a:prstGeom>
          <a:noFill/>
        </p:spPr>
        <p:txBody>
          <a:bodyPr wrap="none" rtlCol="0">
            <a:spAutoFit/>
          </a:bodyPr>
          <a:lstStyle/>
          <a:p>
            <a:pPr algn="ctr"/>
            <a:r>
              <a:rPr lang="en-US" sz="3200" b="1" dirty="0">
                <a:solidFill>
                  <a:schemeClr val="bg1"/>
                </a:solidFill>
                <a:latin typeface="+mj-lt"/>
                <a:cs typeface="Segoe UI" panose="020B0502040204020203" pitchFamily="34" charset="0"/>
              </a:rPr>
              <a:t>DATA</a:t>
            </a:r>
          </a:p>
        </p:txBody>
      </p:sp>
      <p:sp>
        <p:nvSpPr>
          <p:cNvPr id="90" name="TextBox 89">
            <a:extLst>
              <a:ext uri="{FF2B5EF4-FFF2-40B4-BE49-F238E27FC236}">
                <a16:creationId xmlns:a16="http://schemas.microsoft.com/office/drawing/2014/main" id="{9F398168-88EC-4C34-8C95-656C08BEEEE3}"/>
              </a:ext>
            </a:extLst>
          </p:cNvPr>
          <p:cNvSpPr txBox="1"/>
          <p:nvPr/>
        </p:nvSpPr>
        <p:spPr>
          <a:xfrm>
            <a:off x="645434" y="670794"/>
            <a:ext cx="1894686" cy="584775"/>
          </a:xfrm>
          <a:prstGeom prst="rect">
            <a:avLst/>
          </a:prstGeom>
          <a:noFill/>
        </p:spPr>
        <p:txBody>
          <a:bodyPr wrap="none" rtlCol="0">
            <a:spAutoFit/>
          </a:bodyPr>
          <a:lstStyle/>
          <a:p>
            <a:pPr algn="ctr"/>
            <a:r>
              <a:rPr lang="en-US" sz="3200" b="1" dirty="0">
                <a:solidFill>
                  <a:schemeClr val="bg1"/>
                </a:solidFill>
                <a:latin typeface="+mj-lt"/>
                <a:cs typeface="Segoe UI" panose="020B0502040204020203" pitchFamily="34" charset="0"/>
              </a:rPr>
              <a:t>OBJETOS</a:t>
            </a:r>
          </a:p>
        </p:txBody>
      </p:sp>
      <p:grpSp>
        <p:nvGrpSpPr>
          <p:cNvPr id="3" name="Groupe 2">
            <a:extLst>
              <a:ext uri="{FF2B5EF4-FFF2-40B4-BE49-F238E27FC236}">
                <a16:creationId xmlns:a16="http://schemas.microsoft.com/office/drawing/2014/main" id="{F0290F89-270F-4D06-A774-542E6EBB8642}"/>
              </a:ext>
            </a:extLst>
          </p:cNvPr>
          <p:cNvGrpSpPr/>
          <p:nvPr/>
        </p:nvGrpSpPr>
        <p:grpSpPr>
          <a:xfrm>
            <a:off x="573162" y="3855324"/>
            <a:ext cx="610167" cy="599603"/>
            <a:chOff x="1854176" y="3844904"/>
            <a:chExt cx="610167" cy="599603"/>
          </a:xfrm>
        </p:grpSpPr>
        <p:sp>
          <p:nvSpPr>
            <p:cNvPr id="57" name="Freeform 6">
              <a:extLst>
                <a:ext uri="{FF2B5EF4-FFF2-40B4-BE49-F238E27FC236}">
                  <a16:creationId xmlns:a16="http://schemas.microsoft.com/office/drawing/2014/main" id="{4EDDBDF9-FFC6-46A4-8F95-557B060D9441}"/>
                </a:ext>
              </a:extLst>
            </p:cNvPr>
            <p:cNvSpPr>
              <a:spLocks noEditPoints="1"/>
            </p:cNvSpPr>
            <p:nvPr/>
          </p:nvSpPr>
          <p:spPr bwMode="auto">
            <a:xfrm>
              <a:off x="1854176" y="3844904"/>
              <a:ext cx="285843" cy="239182"/>
            </a:xfrm>
            <a:custGeom>
              <a:avLst/>
              <a:gdLst>
                <a:gd name="T0" fmla="*/ 508 w 4815"/>
                <a:gd name="T1" fmla="*/ 222 h 4030"/>
                <a:gd name="T2" fmla="*/ 406 w 4815"/>
                <a:gd name="T3" fmla="*/ 256 h 4030"/>
                <a:gd name="T4" fmla="*/ 320 w 4815"/>
                <a:gd name="T5" fmla="*/ 319 h 4030"/>
                <a:gd name="T6" fmla="*/ 257 w 4815"/>
                <a:gd name="T7" fmla="*/ 405 h 4030"/>
                <a:gd name="T8" fmla="*/ 222 w 4815"/>
                <a:gd name="T9" fmla="*/ 509 h 4030"/>
                <a:gd name="T10" fmla="*/ 217 w 4815"/>
                <a:gd name="T11" fmla="*/ 2579 h 4030"/>
                <a:gd name="T12" fmla="*/ 235 w 4815"/>
                <a:gd name="T13" fmla="*/ 2688 h 4030"/>
                <a:gd name="T14" fmla="*/ 285 w 4815"/>
                <a:gd name="T15" fmla="*/ 2783 h 4030"/>
                <a:gd name="T16" fmla="*/ 359 w 4815"/>
                <a:gd name="T17" fmla="*/ 2859 h 4030"/>
                <a:gd name="T18" fmla="*/ 456 w 4815"/>
                <a:gd name="T19" fmla="*/ 2909 h 4030"/>
                <a:gd name="T20" fmla="*/ 565 w 4815"/>
                <a:gd name="T21" fmla="*/ 2926 h 4030"/>
                <a:gd name="T22" fmla="*/ 1115 w 4815"/>
                <a:gd name="T23" fmla="*/ 2929 h 4030"/>
                <a:gd name="T24" fmla="*/ 1163 w 4815"/>
                <a:gd name="T25" fmla="*/ 2957 h 4030"/>
                <a:gd name="T26" fmla="*/ 1618 w 4815"/>
                <a:gd name="T27" fmla="*/ 3712 h 4030"/>
                <a:gd name="T28" fmla="*/ 2089 w 4815"/>
                <a:gd name="T29" fmla="*/ 2957 h 4030"/>
                <a:gd name="T30" fmla="*/ 2136 w 4815"/>
                <a:gd name="T31" fmla="*/ 2929 h 4030"/>
                <a:gd name="T32" fmla="*/ 4249 w 4815"/>
                <a:gd name="T33" fmla="*/ 2926 h 4030"/>
                <a:gd name="T34" fmla="*/ 4360 w 4815"/>
                <a:gd name="T35" fmla="*/ 2909 h 4030"/>
                <a:gd name="T36" fmla="*/ 4455 w 4815"/>
                <a:gd name="T37" fmla="*/ 2859 h 4030"/>
                <a:gd name="T38" fmla="*/ 4530 w 4815"/>
                <a:gd name="T39" fmla="*/ 2783 h 4030"/>
                <a:gd name="T40" fmla="*/ 4579 w 4815"/>
                <a:gd name="T41" fmla="*/ 2688 h 4030"/>
                <a:gd name="T42" fmla="*/ 4597 w 4815"/>
                <a:gd name="T43" fmla="*/ 2579 h 4030"/>
                <a:gd name="T44" fmla="*/ 4593 w 4815"/>
                <a:gd name="T45" fmla="*/ 509 h 4030"/>
                <a:gd name="T46" fmla="*/ 4559 w 4815"/>
                <a:gd name="T47" fmla="*/ 405 h 4030"/>
                <a:gd name="T48" fmla="*/ 4496 w 4815"/>
                <a:gd name="T49" fmla="*/ 319 h 4030"/>
                <a:gd name="T50" fmla="*/ 4410 w 4815"/>
                <a:gd name="T51" fmla="*/ 256 h 4030"/>
                <a:gd name="T52" fmla="*/ 4306 w 4815"/>
                <a:gd name="T53" fmla="*/ 222 h 4030"/>
                <a:gd name="T54" fmla="*/ 565 w 4815"/>
                <a:gd name="T55" fmla="*/ 218 h 4030"/>
                <a:gd name="T56" fmla="*/ 4249 w 4815"/>
                <a:gd name="T57" fmla="*/ 0 h 4030"/>
                <a:gd name="T58" fmla="*/ 4389 w 4815"/>
                <a:gd name="T59" fmla="*/ 16 h 4030"/>
                <a:gd name="T60" fmla="*/ 4515 w 4815"/>
                <a:gd name="T61" fmla="*/ 66 h 4030"/>
                <a:gd name="T62" fmla="*/ 4625 w 4815"/>
                <a:gd name="T63" fmla="*/ 142 h 4030"/>
                <a:gd name="T64" fmla="*/ 4714 w 4815"/>
                <a:gd name="T65" fmla="*/ 243 h 4030"/>
                <a:gd name="T66" fmla="*/ 4777 w 4815"/>
                <a:gd name="T67" fmla="*/ 361 h 4030"/>
                <a:gd name="T68" fmla="*/ 4810 w 4815"/>
                <a:gd name="T69" fmla="*/ 494 h 4030"/>
                <a:gd name="T70" fmla="*/ 4815 w 4815"/>
                <a:gd name="T71" fmla="*/ 2579 h 4030"/>
                <a:gd name="T72" fmla="*/ 4797 w 4815"/>
                <a:gd name="T73" fmla="*/ 2717 h 4030"/>
                <a:gd name="T74" fmla="*/ 4749 w 4815"/>
                <a:gd name="T75" fmla="*/ 2844 h 4030"/>
                <a:gd name="T76" fmla="*/ 4673 w 4815"/>
                <a:gd name="T77" fmla="*/ 2954 h 4030"/>
                <a:gd name="T78" fmla="*/ 4572 w 4815"/>
                <a:gd name="T79" fmla="*/ 3043 h 4030"/>
                <a:gd name="T80" fmla="*/ 4454 w 4815"/>
                <a:gd name="T81" fmla="*/ 3106 h 4030"/>
                <a:gd name="T82" fmla="*/ 4321 w 4815"/>
                <a:gd name="T83" fmla="*/ 3139 h 4030"/>
                <a:gd name="T84" fmla="*/ 2225 w 4815"/>
                <a:gd name="T85" fmla="*/ 3144 h 4030"/>
                <a:gd name="T86" fmla="*/ 1693 w 4815"/>
                <a:gd name="T87" fmla="*/ 4001 h 4030"/>
                <a:gd name="T88" fmla="*/ 1645 w 4815"/>
                <a:gd name="T89" fmla="*/ 4027 h 4030"/>
                <a:gd name="T90" fmla="*/ 1617 w 4815"/>
                <a:gd name="T91" fmla="*/ 4030 h 4030"/>
                <a:gd name="T92" fmla="*/ 1563 w 4815"/>
                <a:gd name="T93" fmla="*/ 4015 h 4030"/>
                <a:gd name="T94" fmla="*/ 1523 w 4815"/>
                <a:gd name="T95" fmla="*/ 3977 h 4030"/>
                <a:gd name="T96" fmla="*/ 565 w 4815"/>
                <a:gd name="T97" fmla="*/ 3144 h 4030"/>
                <a:gd name="T98" fmla="*/ 427 w 4815"/>
                <a:gd name="T99" fmla="*/ 3126 h 4030"/>
                <a:gd name="T100" fmla="*/ 299 w 4815"/>
                <a:gd name="T101" fmla="*/ 3078 h 4030"/>
                <a:gd name="T102" fmla="*/ 190 w 4815"/>
                <a:gd name="T103" fmla="*/ 3001 h 4030"/>
                <a:gd name="T104" fmla="*/ 100 w 4815"/>
                <a:gd name="T105" fmla="*/ 2901 h 4030"/>
                <a:gd name="T106" fmla="*/ 38 w 4815"/>
                <a:gd name="T107" fmla="*/ 2783 h 4030"/>
                <a:gd name="T108" fmla="*/ 4 w 4815"/>
                <a:gd name="T109" fmla="*/ 2650 h 4030"/>
                <a:gd name="T110" fmla="*/ 0 w 4815"/>
                <a:gd name="T111" fmla="*/ 564 h 4030"/>
                <a:gd name="T112" fmla="*/ 17 w 4815"/>
                <a:gd name="T113" fmla="*/ 425 h 4030"/>
                <a:gd name="T114" fmla="*/ 65 w 4815"/>
                <a:gd name="T115" fmla="*/ 300 h 4030"/>
                <a:gd name="T116" fmla="*/ 143 w 4815"/>
                <a:gd name="T117" fmla="*/ 190 h 4030"/>
                <a:gd name="T118" fmla="*/ 242 w 4815"/>
                <a:gd name="T119" fmla="*/ 101 h 4030"/>
                <a:gd name="T120" fmla="*/ 361 w 4815"/>
                <a:gd name="T121" fmla="*/ 38 h 4030"/>
                <a:gd name="T122" fmla="*/ 494 w 4815"/>
                <a:gd name="T123" fmla="*/ 5 h 4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15" h="4030">
                  <a:moveTo>
                    <a:pt x="565" y="218"/>
                  </a:moveTo>
                  <a:lnTo>
                    <a:pt x="508" y="222"/>
                  </a:lnTo>
                  <a:lnTo>
                    <a:pt x="456" y="235"/>
                  </a:lnTo>
                  <a:lnTo>
                    <a:pt x="406" y="256"/>
                  </a:lnTo>
                  <a:lnTo>
                    <a:pt x="359" y="285"/>
                  </a:lnTo>
                  <a:lnTo>
                    <a:pt x="320" y="319"/>
                  </a:lnTo>
                  <a:lnTo>
                    <a:pt x="285" y="360"/>
                  </a:lnTo>
                  <a:lnTo>
                    <a:pt x="257" y="405"/>
                  </a:lnTo>
                  <a:lnTo>
                    <a:pt x="235" y="454"/>
                  </a:lnTo>
                  <a:lnTo>
                    <a:pt x="222" y="509"/>
                  </a:lnTo>
                  <a:lnTo>
                    <a:pt x="217" y="564"/>
                  </a:lnTo>
                  <a:lnTo>
                    <a:pt x="217" y="2579"/>
                  </a:lnTo>
                  <a:lnTo>
                    <a:pt x="222" y="2636"/>
                  </a:lnTo>
                  <a:lnTo>
                    <a:pt x="235" y="2688"/>
                  </a:lnTo>
                  <a:lnTo>
                    <a:pt x="257" y="2738"/>
                  </a:lnTo>
                  <a:lnTo>
                    <a:pt x="285" y="2783"/>
                  </a:lnTo>
                  <a:lnTo>
                    <a:pt x="320" y="2824"/>
                  </a:lnTo>
                  <a:lnTo>
                    <a:pt x="359" y="2859"/>
                  </a:lnTo>
                  <a:lnTo>
                    <a:pt x="406" y="2887"/>
                  </a:lnTo>
                  <a:lnTo>
                    <a:pt x="456" y="2909"/>
                  </a:lnTo>
                  <a:lnTo>
                    <a:pt x="508" y="2922"/>
                  </a:lnTo>
                  <a:lnTo>
                    <a:pt x="565" y="2926"/>
                  </a:lnTo>
                  <a:lnTo>
                    <a:pt x="1087" y="2926"/>
                  </a:lnTo>
                  <a:lnTo>
                    <a:pt x="1115" y="2929"/>
                  </a:lnTo>
                  <a:lnTo>
                    <a:pt x="1142" y="2941"/>
                  </a:lnTo>
                  <a:lnTo>
                    <a:pt x="1163" y="2957"/>
                  </a:lnTo>
                  <a:lnTo>
                    <a:pt x="1181" y="2979"/>
                  </a:lnTo>
                  <a:lnTo>
                    <a:pt x="1618" y="3712"/>
                  </a:lnTo>
                  <a:lnTo>
                    <a:pt x="2072" y="2977"/>
                  </a:lnTo>
                  <a:lnTo>
                    <a:pt x="2089" y="2957"/>
                  </a:lnTo>
                  <a:lnTo>
                    <a:pt x="2111" y="2939"/>
                  </a:lnTo>
                  <a:lnTo>
                    <a:pt x="2136" y="2929"/>
                  </a:lnTo>
                  <a:lnTo>
                    <a:pt x="2164" y="2926"/>
                  </a:lnTo>
                  <a:lnTo>
                    <a:pt x="4249" y="2926"/>
                  </a:lnTo>
                  <a:lnTo>
                    <a:pt x="4306" y="2922"/>
                  </a:lnTo>
                  <a:lnTo>
                    <a:pt x="4360" y="2909"/>
                  </a:lnTo>
                  <a:lnTo>
                    <a:pt x="4410" y="2887"/>
                  </a:lnTo>
                  <a:lnTo>
                    <a:pt x="4455" y="2859"/>
                  </a:lnTo>
                  <a:lnTo>
                    <a:pt x="4496" y="2824"/>
                  </a:lnTo>
                  <a:lnTo>
                    <a:pt x="4530" y="2783"/>
                  </a:lnTo>
                  <a:lnTo>
                    <a:pt x="4559" y="2738"/>
                  </a:lnTo>
                  <a:lnTo>
                    <a:pt x="4579" y="2688"/>
                  </a:lnTo>
                  <a:lnTo>
                    <a:pt x="4593" y="2636"/>
                  </a:lnTo>
                  <a:lnTo>
                    <a:pt x="4597" y="2579"/>
                  </a:lnTo>
                  <a:lnTo>
                    <a:pt x="4597" y="564"/>
                  </a:lnTo>
                  <a:lnTo>
                    <a:pt x="4593" y="509"/>
                  </a:lnTo>
                  <a:lnTo>
                    <a:pt x="4579" y="454"/>
                  </a:lnTo>
                  <a:lnTo>
                    <a:pt x="4559" y="405"/>
                  </a:lnTo>
                  <a:lnTo>
                    <a:pt x="4530" y="360"/>
                  </a:lnTo>
                  <a:lnTo>
                    <a:pt x="4496" y="319"/>
                  </a:lnTo>
                  <a:lnTo>
                    <a:pt x="4455" y="285"/>
                  </a:lnTo>
                  <a:lnTo>
                    <a:pt x="4410" y="256"/>
                  </a:lnTo>
                  <a:lnTo>
                    <a:pt x="4360" y="235"/>
                  </a:lnTo>
                  <a:lnTo>
                    <a:pt x="4306" y="222"/>
                  </a:lnTo>
                  <a:lnTo>
                    <a:pt x="4249" y="218"/>
                  </a:lnTo>
                  <a:lnTo>
                    <a:pt x="565" y="218"/>
                  </a:lnTo>
                  <a:close/>
                  <a:moveTo>
                    <a:pt x="565" y="0"/>
                  </a:moveTo>
                  <a:lnTo>
                    <a:pt x="4249" y="0"/>
                  </a:lnTo>
                  <a:lnTo>
                    <a:pt x="4321" y="5"/>
                  </a:lnTo>
                  <a:lnTo>
                    <a:pt x="4389" y="16"/>
                  </a:lnTo>
                  <a:lnTo>
                    <a:pt x="4454" y="38"/>
                  </a:lnTo>
                  <a:lnTo>
                    <a:pt x="4515" y="66"/>
                  </a:lnTo>
                  <a:lnTo>
                    <a:pt x="4572" y="101"/>
                  </a:lnTo>
                  <a:lnTo>
                    <a:pt x="4625" y="142"/>
                  </a:lnTo>
                  <a:lnTo>
                    <a:pt x="4673" y="190"/>
                  </a:lnTo>
                  <a:lnTo>
                    <a:pt x="4714" y="243"/>
                  </a:lnTo>
                  <a:lnTo>
                    <a:pt x="4749" y="300"/>
                  </a:lnTo>
                  <a:lnTo>
                    <a:pt x="4777" y="361"/>
                  </a:lnTo>
                  <a:lnTo>
                    <a:pt x="4797" y="425"/>
                  </a:lnTo>
                  <a:lnTo>
                    <a:pt x="4810" y="494"/>
                  </a:lnTo>
                  <a:lnTo>
                    <a:pt x="4815" y="564"/>
                  </a:lnTo>
                  <a:lnTo>
                    <a:pt x="4815" y="2579"/>
                  </a:lnTo>
                  <a:lnTo>
                    <a:pt x="4810" y="2650"/>
                  </a:lnTo>
                  <a:lnTo>
                    <a:pt x="4797" y="2717"/>
                  </a:lnTo>
                  <a:lnTo>
                    <a:pt x="4777" y="2783"/>
                  </a:lnTo>
                  <a:lnTo>
                    <a:pt x="4749" y="2844"/>
                  </a:lnTo>
                  <a:lnTo>
                    <a:pt x="4714" y="2901"/>
                  </a:lnTo>
                  <a:lnTo>
                    <a:pt x="4673" y="2954"/>
                  </a:lnTo>
                  <a:lnTo>
                    <a:pt x="4625" y="3001"/>
                  </a:lnTo>
                  <a:lnTo>
                    <a:pt x="4572" y="3043"/>
                  </a:lnTo>
                  <a:lnTo>
                    <a:pt x="4515" y="3078"/>
                  </a:lnTo>
                  <a:lnTo>
                    <a:pt x="4454" y="3106"/>
                  </a:lnTo>
                  <a:lnTo>
                    <a:pt x="4389" y="3126"/>
                  </a:lnTo>
                  <a:lnTo>
                    <a:pt x="4321" y="3139"/>
                  </a:lnTo>
                  <a:lnTo>
                    <a:pt x="4249" y="3144"/>
                  </a:lnTo>
                  <a:lnTo>
                    <a:pt x="2225" y="3144"/>
                  </a:lnTo>
                  <a:lnTo>
                    <a:pt x="1710" y="3979"/>
                  </a:lnTo>
                  <a:lnTo>
                    <a:pt x="1693" y="4001"/>
                  </a:lnTo>
                  <a:lnTo>
                    <a:pt x="1671" y="4017"/>
                  </a:lnTo>
                  <a:lnTo>
                    <a:pt x="1645" y="4027"/>
                  </a:lnTo>
                  <a:lnTo>
                    <a:pt x="1617" y="4030"/>
                  </a:lnTo>
                  <a:lnTo>
                    <a:pt x="1617" y="4030"/>
                  </a:lnTo>
                  <a:lnTo>
                    <a:pt x="1589" y="4027"/>
                  </a:lnTo>
                  <a:lnTo>
                    <a:pt x="1563" y="4015"/>
                  </a:lnTo>
                  <a:lnTo>
                    <a:pt x="1541" y="3999"/>
                  </a:lnTo>
                  <a:lnTo>
                    <a:pt x="1523" y="3977"/>
                  </a:lnTo>
                  <a:lnTo>
                    <a:pt x="1026" y="3144"/>
                  </a:lnTo>
                  <a:lnTo>
                    <a:pt x="565" y="3144"/>
                  </a:lnTo>
                  <a:lnTo>
                    <a:pt x="494" y="3139"/>
                  </a:lnTo>
                  <a:lnTo>
                    <a:pt x="427" y="3126"/>
                  </a:lnTo>
                  <a:lnTo>
                    <a:pt x="361" y="3106"/>
                  </a:lnTo>
                  <a:lnTo>
                    <a:pt x="299" y="3078"/>
                  </a:lnTo>
                  <a:lnTo>
                    <a:pt x="242" y="3043"/>
                  </a:lnTo>
                  <a:lnTo>
                    <a:pt x="190" y="3001"/>
                  </a:lnTo>
                  <a:lnTo>
                    <a:pt x="143" y="2954"/>
                  </a:lnTo>
                  <a:lnTo>
                    <a:pt x="100" y="2901"/>
                  </a:lnTo>
                  <a:lnTo>
                    <a:pt x="65" y="2844"/>
                  </a:lnTo>
                  <a:lnTo>
                    <a:pt x="38" y="2783"/>
                  </a:lnTo>
                  <a:lnTo>
                    <a:pt x="17" y="2717"/>
                  </a:lnTo>
                  <a:lnTo>
                    <a:pt x="4" y="2650"/>
                  </a:lnTo>
                  <a:lnTo>
                    <a:pt x="0" y="2579"/>
                  </a:lnTo>
                  <a:lnTo>
                    <a:pt x="0" y="564"/>
                  </a:lnTo>
                  <a:lnTo>
                    <a:pt x="4" y="494"/>
                  </a:lnTo>
                  <a:lnTo>
                    <a:pt x="17" y="425"/>
                  </a:lnTo>
                  <a:lnTo>
                    <a:pt x="38" y="361"/>
                  </a:lnTo>
                  <a:lnTo>
                    <a:pt x="65" y="300"/>
                  </a:lnTo>
                  <a:lnTo>
                    <a:pt x="100" y="243"/>
                  </a:lnTo>
                  <a:lnTo>
                    <a:pt x="143" y="190"/>
                  </a:lnTo>
                  <a:lnTo>
                    <a:pt x="190" y="142"/>
                  </a:lnTo>
                  <a:lnTo>
                    <a:pt x="242" y="101"/>
                  </a:lnTo>
                  <a:lnTo>
                    <a:pt x="299" y="66"/>
                  </a:lnTo>
                  <a:lnTo>
                    <a:pt x="361" y="38"/>
                  </a:lnTo>
                  <a:lnTo>
                    <a:pt x="427" y="16"/>
                  </a:lnTo>
                  <a:lnTo>
                    <a:pt x="494" y="5"/>
                  </a:lnTo>
                  <a:lnTo>
                    <a:pt x="565" y="0"/>
                  </a:lnTo>
                  <a:close/>
                </a:path>
              </a:pathLst>
            </a:custGeom>
            <a:solidFill>
              <a:srgbClr val="00B9E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58" name="Rectangle 7">
              <a:extLst>
                <a:ext uri="{FF2B5EF4-FFF2-40B4-BE49-F238E27FC236}">
                  <a16:creationId xmlns:a16="http://schemas.microsoft.com/office/drawing/2014/main" id="{07128B81-CDE5-433D-9938-909BC8B81C14}"/>
                </a:ext>
              </a:extLst>
            </p:cNvPr>
            <p:cNvSpPr>
              <a:spLocks noChangeArrowheads="1"/>
            </p:cNvSpPr>
            <p:nvPr/>
          </p:nvSpPr>
          <p:spPr bwMode="auto">
            <a:xfrm>
              <a:off x="1889795" y="3890318"/>
              <a:ext cx="21549" cy="94747"/>
            </a:xfrm>
            <a:prstGeom prst="rect">
              <a:avLst/>
            </a:prstGeom>
            <a:solidFill>
              <a:srgbClr val="00B9E1"/>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fr-BE"/>
            </a:p>
          </p:txBody>
        </p:sp>
        <p:sp>
          <p:nvSpPr>
            <p:cNvPr id="59" name="Freeform 8">
              <a:extLst>
                <a:ext uri="{FF2B5EF4-FFF2-40B4-BE49-F238E27FC236}">
                  <a16:creationId xmlns:a16="http://schemas.microsoft.com/office/drawing/2014/main" id="{0746898E-55C2-40D1-A1E4-FA3691BDEC95}"/>
                </a:ext>
              </a:extLst>
            </p:cNvPr>
            <p:cNvSpPr>
              <a:spLocks noEditPoints="1"/>
            </p:cNvSpPr>
            <p:nvPr/>
          </p:nvSpPr>
          <p:spPr bwMode="auto">
            <a:xfrm>
              <a:off x="1936991" y="3888893"/>
              <a:ext cx="91007" cy="97775"/>
            </a:xfrm>
            <a:custGeom>
              <a:avLst/>
              <a:gdLst>
                <a:gd name="T0" fmla="*/ 716 w 1533"/>
                <a:gd name="T1" fmla="*/ 289 h 1646"/>
                <a:gd name="T2" fmla="*/ 624 w 1533"/>
                <a:gd name="T3" fmla="*/ 317 h 1646"/>
                <a:gd name="T4" fmla="*/ 546 w 1533"/>
                <a:gd name="T5" fmla="*/ 368 h 1646"/>
                <a:gd name="T6" fmla="*/ 482 w 1533"/>
                <a:gd name="T7" fmla="*/ 441 h 1646"/>
                <a:gd name="T8" fmla="*/ 432 w 1533"/>
                <a:gd name="T9" fmla="*/ 532 h 1646"/>
                <a:gd name="T10" fmla="*/ 399 w 1533"/>
                <a:gd name="T11" fmla="*/ 641 h 1646"/>
                <a:gd name="T12" fmla="*/ 383 w 1533"/>
                <a:gd name="T13" fmla="*/ 762 h 1646"/>
                <a:gd name="T14" fmla="*/ 383 w 1533"/>
                <a:gd name="T15" fmla="*/ 898 h 1646"/>
                <a:gd name="T16" fmla="*/ 403 w 1533"/>
                <a:gd name="T17" fmla="*/ 1026 h 1646"/>
                <a:gd name="T18" fmla="*/ 443 w 1533"/>
                <a:gd name="T19" fmla="*/ 1139 h 1646"/>
                <a:gd name="T20" fmla="*/ 500 w 1533"/>
                <a:gd name="T21" fmla="*/ 1231 h 1646"/>
                <a:gd name="T22" fmla="*/ 574 w 1533"/>
                <a:gd name="T23" fmla="*/ 1301 h 1646"/>
                <a:gd name="T24" fmla="*/ 663 w 1533"/>
                <a:gd name="T25" fmla="*/ 1345 h 1646"/>
                <a:gd name="T26" fmla="*/ 769 w 1533"/>
                <a:gd name="T27" fmla="*/ 1359 h 1646"/>
                <a:gd name="T28" fmla="*/ 867 w 1533"/>
                <a:gd name="T29" fmla="*/ 1346 h 1646"/>
                <a:gd name="T30" fmla="*/ 951 w 1533"/>
                <a:gd name="T31" fmla="*/ 1307 h 1646"/>
                <a:gd name="T32" fmla="*/ 1022 w 1533"/>
                <a:gd name="T33" fmla="*/ 1244 h 1646"/>
                <a:gd name="T34" fmla="*/ 1079 w 1533"/>
                <a:gd name="T35" fmla="*/ 1161 h 1646"/>
                <a:gd name="T36" fmla="*/ 1118 w 1533"/>
                <a:gd name="T37" fmla="*/ 1060 h 1646"/>
                <a:gd name="T38" fmla="*/ 1144 w 1533"/>
                <a:gd name="T39" fmla="*/ 945 h 1646"/>
                <a:gd name="T40" fmla="*/ 1152 w 1533"/>
                <a:gd name="T41" fmla="*/ 818 h 1646"/>
                <a:gd name="T42" fmla="*/ 1144 w 1533"/>
                <a:gd name="T43" fmla="*/ 698 h 1646"/>
                <a:gd name="T44" fmla="*/ 1120 w 1533"/>
                <a:gd name="T45" fmla="*/ 587 h 1646"/>
                <a:gd name="T46" fmla="*/ 1079 w 1533"/>
                <a:gd name="T47" fmla="*/ 488 h 1646"/>
                <a:gd name="T48" fmla="*/ 1023 w 1533"/>
                <a:gd name="T49" fmla="*/ 405 h 1646"/>
                <a:gd name="T50" fmla="*/ 951 w 1533"/>
                <a:gd name="T51" fmla="*/ 342 h 1646"/>
                <a:gd name="T52" fmla="*/ 867 w 1533"/>
                <a:gd name="T53" fmla="*/ 301 h 1646"/>
                <a:gd name="T54" fmla="*/ 766 w 1533"/>
                <a:gd name="T55" fmla="*/ 286 h 1646"/>
                <a:gd name="T56" fmla="*/ 855 w 1533"/>
                <a:gd name="T57" fmla="*/ 3 h 1646"/>
                <a:gd name="T58" fmla="*/ 1003 w 1533"/>
                <a:gd name="T59" fmla="*/ 29 h 1646"/>
                <a:gd name="T60" fmla="*/ 1131 w 1533"/>
                <a:gd name="T61" fmla="*/ 77 h 1646"/>
                <a:gd name="T62" fmla="*/ 1244 w 1533"/>
                <a:gd name="T63" fmla="*/ 149 h 1646"/>
                <a:gd name="T64" fmla="*/ 1339 w 1533"/>
                <a:gd name="T65" fmla="*/ 238 h 1646"/>
                <a:gd name="T66" fmla="*/ 1415 w 1533"/>
                <a:gd name="T67" fmla="*/ 343 h 1646"/>
                <a:gd name="T68" fmla="*/ 1472 w 1533"/>
                <a:gd name="T69" fmla="*/ 463 h 1646"/>
                <a:gd name="T70" fmla="*/ 1512 w 1533"/>
                <a:gd name="T71" fmla="*/ 593 h 1646"/>
                <a:gd name="T72" fmla="*/ 1531 w 1533"/>
                <a:gd name="T73" fmla="*/ 733 h 1646"/>
                <a:gd name="T74" fmla="*/ 1531 w 1533"/>
                <a:gd name="T75" fmla="*/ 897 h 1646"/>
                <a:gd name="T76" fmla="*/ 1506 w 1533"/>
                <a:gd name="T77" fmla="*/ 1063 h 1646"/>
                <a:gd name="T78" fmla="*/ 1456 w 1533"/>
                <a:gd name="T79" fmla="*/ 1210 h 1646"/>
                <a:gd name="T80" fmla="*/ 1384 w 1533"/>
                <a:gd name="T81" fmla="*/ 1339 h 1646"/>
                <a:gd name="T82" fmla="*/ 1292 w 1533"/>
                <a:gd name="T83" fmla="*/ 1447 h 1646"/>
                <a:gd name="T84" fmla="*/ 1181 w 1533"/>
                <a:gd name="T85" fmla="*/ 1532 h 1646"/>
                <a:gd name="T86" fmla="*/ 1052 w 1533"/>
                <a:gd name="T87" fmla="*/ 1594 h 1646"/>
                <a:gd name="T88" fmla="*/ 908 w 1533"/>
                <a:gd name="T89" fmla="*/ 1632 h 1646"/>
                <a:gd name="T90" fmla="*/ 750 w 1533"/>
                <a:gd name="T91" fmla="*/ 1646 h 1646"/>
                <a:gd name="T92" fmla="*/ 590 w 1533"/>
                <a:gd name="T93" fmla="*/ 1631 h 1646"/>
                <a:gd name="T94" fmla="*/ 448 w 1533"/>
                <a:gd name="T95" fmla="*/ 1590 h 1646"/>
                <a:gd name="T96" fmla="*/ 326 w 1533"/>
                <a:gd name="T97" fmla="*/ 1523 h 1646"/>
                <a:gd name="T98" fmla="*/ 220 w 1533"/>
                <a:gd name="T99" fmla="*/ 1435 h 1646"/>
                <a:gd name="T100" fmla="*/ 134 w 1533"/>
                <a:gd name="T101" fmla="*/ 1327 h 1646"/>
                <a:gd name="T102" fmla="*/ 68 w 1533"/>
                <a:gd name="T103" fmla="*/ 1203 h 1646"/>
                <a:gd name="T104" fmla="*/ 24 w 1533"/>
                <a:gd name="T105" fmla="*/ 1064 h 1646"/>
                <a:gd name="T106" fmla="*/ 2 w 1533"/>
                <a:gd name="T107" fmla="*/ 914 h 1646"/>
                <a:gd name="T108" fmla="*/ 2 w 1533"/>
                <a:gd name="T109" fmla="*/ 752 h 1646"/>
                <a:gd name="T110" fmla="*/ 27 w 1533"/>
                <a:gd name="T111" fmla="*/ 594 h 1646"/>
                <a:gd name="T112" fmla="*/ 74 w 1533"/>
                <a:gd name="T113" fmla="*/ 450 h 1646"/>
                <a:gd name="T114" fmla="*/ 144 w 1533"/>
                <a:gd name="T115" fmla="*/ 323 h 1646"/>
                <a:gd name="T116" fmla="*/ 235 w 1533"/>
                <a:gd name="T117" fmla="*/ 212 h 1646"/>
                <a:gd name="T118" fmla="*/ 345 w 1533"/>
                <a:gd name="T119" fmla="*/ 123 h 1646"/>
                <a:gd name="T120" fmla="*/ 472 w 1533"/>
                <a:gd name="T121" fmla="*/ 56 h 1646"/>
                <a:gd name="T122" fmla="*/ 617 w 1533"/>
                <a:gd name="T123" fmla="*/ 15 h 1646"/>
                <a:gd name="T124" fmla="*/ 776 w 1533"/>
                <a:gd name="T125" fmla="*/ 0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3" h="1646">
                  <a:moveTo>
                    <a:pt x="766" y="286"/>
                  </a:moveTo>
                  <a:lnTo>
                    <a:pt x="716" y="289"/>
                  </a:lnTo>
                  <a:lnTo>
                    <a:pt x="668" y="299"/>
                  </a:lnTo>
                  <a:lnTo>
                    <a:pt x="624" y="317"/>
                  </a:lnTo>
                  <a:lnTo>
                    <a:pt x="583" y="339"/>
                  </a:lnTo>
                  <a:lnTo>
                    <a:pt x="546" y="368"/>
                  </a:lnTo>
                  <a:lnTo>
                    <a:pt x="511" y="402"/>
                  </a:lnTo>
                  <a:lnTo>
                    <a:pt x="482" y="441"/>
                  </a:lnTo>
                  <a:lnTo>
                    <a:pt x="456" y="483"/>
                  </a:lnTo>
                  <a:lnTo>
                    <a:pt x="432" y="532"/>
                  </a:lnTo>
                  <a:lnTo>
                    <a:pt x="415" y="584"/>
                  </a:lnTo>
                  <a:lnTo>
                    <a:pt x="399" y="641"/>
                  </a:lnTo>
                  <a:lnTo>
                    <a:pt x="388" y="699"/>
                  </a:lnTo>
                  <a:lnTo>
                    <a:pt x="383" y="762"/>
                  </a:lnTo>
                  <a:lnTo>
                    <a:pt x="380" y="828"/>
                  </a:lnTo>
                  <a:lnTo>
                    <a:pt x="383" y="898"/>
                  </a:lnTo>
                  <a:lnTo>
                    <a:pt x="390" y="964"/>
                  </a:lnTo>
                  <a:lnTo>
                    <a:pt x="403" y="1026"/>
                  </a:lnTo>
                  <a:lnTo>
                    <a:pt x="421" y="1085"/>
                  </a:lnTo>
                  <a:lnTo>
                    <a:pt x="443" y="1139"/>
                  </a:lnTo>
                  <a:lnTo>
                    <a:pt x="469" y="1189"/>
                  </a:lnTo>
                  <a:lnTo>
                    <a:pt x="500" y="1231"/>
                  </a:lnTo>
                  <a:lnTo>
                    <a:pt x="535" y="1269"/>
                  </a:lnTo>
                  <a:lnTo>
                    <a:pt x="574" y="1301"/>
                  </a:lnTo>
                  <a:lnTo>
                    <a:pt x="617" y="1326"/>
                  </a:lnTo>
                  <a:lnTo>
                    <a:pt x="663" y="1345"/>
                  </a:lnTo>
                  <a:lnTo>
                    <a:pt x="715" y="1355"/>
                  </a:lnTo>
                  <a:lnTo>
                    <a:pt x="769" y="1359"/>
                  </a:lnTo>
                  <a:lnTo>
                    <a:pt x="820" y="1356"/>
                  </a:lnTo>
                  <a:lnTo>
                    <a:pt x="867" y="1346"/>
                  </a:lnTo>
                  <a:lnTo>
                    <a:pt x="911" y="1329"/>
                  </a:lnTo>
                  <a:lnTo>
                    <a:pt x="951" y="1307"/>
                  </a:lnTo>
                  <a:lnTo>
                    <a:pt x="988" y="1278"/>
                  </a:lnTo>
                  <a:lnTo>
                    <a:pt x="1022" y="1244"/>
                  </a:lnTo>
                  <a:lnTo>
                    <a:pt x="1052" y="1205"/>
                  </a:lnTo>
                  <a:lnTo>
                    <a:pt x="1079" y="1161"/>
                  </a:lnTo>
                  <a:lnTo>
                    <a:pt x="1101" y="1113"/>
                  </a:lnTo>
                  <a:lnTo>
                    <a:pt x="1118" y="1060"/>
                  </a:lnTo>
                  <a:lnTo>
                    <a:pt x="1133" y="1005"/>
                  </a:lnTo>
                  <a:lnTo>
                    <a:pt x="1144" y="945"/>
                  </a:lnTo>
                  <a:lnTo>
                    <a:pt x="1150" y="883"/>
                  </a:lnTo>
                  <a:lnTo>
                    <a:pt x="1152" y="818"/>
                  </a:lnTo>
                  <a:lnTo>
                    <a:pt x="1150" y="758"/>
                  </a:lnTo>
                  <a:lnTo>
                    <a:pt x="1144" y="698"/>
                  </a:lnTo>
                  <a:lnTo>
                    <a:pt x="1134" y="641"/>
                  </a:lnTo>
                  <a:lnTo>
                    <a:pt x="1120" y="587"/>
                  </a:lnTo>
                  <a:lnTo>
                    <a:pt x="1101" y="536"/>
                  </a:lnTo>
                  <a:lnTo>
                    <a:pt x="1079" y="488"/>
                  </a:lnTo>
                  <a:lnTo>
                    <a:pt x="1052" y="444"/>
                  </a:lnTo>
                  <a:lnTo>
                    <a:pt x="1023" y="405"/>
                  </a:lnTo>
                  <a:lnTo>
                    <a:pt x="989" y="371"/>
                  </a:lnTo>
                  <a:lnTo>
                    <a:pt x="951" y="342"/>
                  </a:lnTo>
                  <a:lnTo>
                    <a:pt x="911" y="318"/>
                  </a:lnTo>
                  <a:lnTo>
                    <a:pt x="867" y="301"/>
                  </a:lnTo>
                  <a:lnTo>
                    <a:pt x="818" y="289"/>
                  </a:lnTo>
                  <a:lnTo>
                    <a:pt x="766" y="286"/>
                  </a:lnTo>
                  <a:close/>
                  <a:moveTo>
                    <a:pt x="776" y="0"/>
                  </a:moveTo>
                  <a:lnTo>
                    <a:pt x="855" y="3"/>
                  </a:lnTo>
                  <a:lnTo>
                    <a:pt x="931" y="13"/>
                  </a:lnTo>
                  <a:lnTo>
                    <a:pt x="1003" y="29"/>
                  </a:lnTo>
                  <a:lnTo>
                    <a:pt x="1068" y="51"/>
                  </a:lnTo>
                  <a:lnTo>
                    <a:pt x="1131" y="77"/>
                  </a:lnTo>
                  <a:lnTo>
                    <a:pt x="1190" y="111"/>
                  </a:lnTo>
                  <a:lnTo>
                    <a:pt x="1244" y="149"/>
                  </a:lnTo>
                  <a:lnTo>
                    <a:pt x="1294" y="191"/>
                  </a:lnTo>
                  <a:lnTo>
                    <a:pt x="1339" y="238"/>
                  </a:lnTo>
                  <a:lnTo>
                    <a:pt x="1378" y="289"/>
                  </a:lnTo>
                  <a:lnTo>
                    <a:pt x="1415" y="343"/>
                  </a:lnTo>
                  <a:lnTo>
                    <a:pt x="1446" y="402"/>
                  </a:lnTo>
                  <a:lnTo>
                    <a:pt x="1472" y="463"/>
                  </a:lnTo>
                  <a:lnTo>
                    <a:pt x="1494" y="527"/>
                  </a:lnTo>
                  <a:lnTo>
                    <a:pt x="1512" y="593"/>
                  </a:lnTo>
                  <a:lnTo>
                    <a:pt x="1523" y="663"/>
                  </a:lnTo>
                  <a:lnTo>
                    <a:pt x="1531" y="733"/>
                  </a:lnTo>
                  <a:lnTo>
                    <a:pt x="1533" y="806"/>
                  </a:lnTo>
                  <a:lnTo>
                    <a:pt x="1531" y="897"/>
                  </a:lnTo>
                  <a:lnTo>
                    <a:pt x="1520" y="981"/>
                  </a:lnTo>
                  <a:lnTo>
                    <a:pt x="1506" y="1063"/>
                  </a:lnTo>
                  <a:lnTo>
                    <a:pt x="1484" y="1139"/>
                  </a:lnTo>
                  <a:lnTo>
                    <a:pt x="1456" y="1210"/>
                  </a:lnTo>
                  <a:lnTo>
                    <a:pt x="1422" y="1278"/>
                  </a:lnTo>
                  <a:lnTo>
                    <a:pt x="1384" y="1339"/>
                  </a:lnTo>
                  <a:lnTo>
                    <a:pt x="1340" y="1396"/>
                  </a:lnTo>
                  <a:lnTo>
                    <a:pt x="1292" y="1447"/>
                  </a:lnTo>
                  <a:lnTo>
                    <a:pt x="1238" y="1492"/>
                  </a:lnTo>
                  <a:lnTo>
                    <a:pt x="1181" y="1532"/>
                  </a:lnTo>
                  <a:lnTo>
                    <a:pt x="1118" y="1567"/>
                  </a:lnTo>
                  <a:lnTo>
                    <a:pt x="1052" y="1594"/>
                  </a:lnTo>
                  <a:lnTo>
                    <a:pt x="982" y="1616"/>
                  </a:lnTo>
                  <a:lnTo>
                    <a:pt x="908" y="1632"/>
                  </a:lnTo>
                  <a:lnTo>
                    <a:pt x="830" y="1643"/>
                  </a:lnTo>
                  <a:lnTo>
                    <a:pt x="750" y="1646"/>
                  </a:lnTo>
                  <a:lnTo>
                    <a:pt x="668" y="1641"/>
                  </a:lnTo>
                  <a:lnTo>
                    <a:pt x="590" y="1631"/>
                  </a:lnTo>
                  <a:lnTo>
                    <a:pt x="517" y="1613"/>
                  </a:lnTo>
                  <a:lnTo>
                    <a:pt x="448" y="1590"/>
                  </a:lnTo>
                  <a:lnTo>
                    <a:pt x="384" y="1559"/>
                  </a:lnTo>
                  <a:lnTo>
                    <a:pt x="326" y="1523"/>
                  </a:lnTo>
                  <a:lnTo>
                    <a:pt x="270" y="1482"/>
                  </a:lnTo>
                  <a:lnTo>
                    <a:pt x="220" y="1435"/>
                  </a:lnTo>
                  <a:lnTo>
                    <a:pt x="175" y="1384"/>
                  </a:lnTo>
                  <a:lnTo>
                    <a:pt x="134" y="1327"/>
                  </a:lnTo>
                  <a:lnTo>
                    <a:pt x="99" y="1267"/>
                  </a:lnTo>
                  <a:lnTo>
                    <a:pt x="68" y="1203"/>
                  </a:lnTo>
                  <a:lnTo>
                    <a:pt x="43" y="1136"/>
                  </a:lnTo>
                  <a:lnTo>
                    <a:pt x="24" y="1064"/>
                  </a:lnTo>
                  <a:lnTo>
                    <a:pt x="10" y="990"/>
                  </a:lnTo>
                  <a:lnTo>
                    <a:pt x="2" y="914"/>
                  </a:lnTo>
                  <a:lnTo>
                    <a:pt x="0" y="834"/>
                  </a:lnTo>
                  <a:lnTo>
                    <a:pt x="2" y="752"/>
                  </a:lnTo>
                  <a:lnTo>
                    <a:pt x="11" y="672"/>
                  </a:lnTo>
                  <a:lnTo>
                    <a:pt x="27" y="594"/>
                  </a:lnTo>
                  <a:lnTo>
                    <a:pt x="48" y="520"/>
                  </a:lnTo>
                  <a:lnTo>
                    <a:pt x="74" y="450"/>
                  </a:lnTo>
                  <a:lnTo>
                    <a:pt x="106" y="384"/>
                  </a:lnTo>
                  <a:lnTo>
                    <a:pt x="144" y="323"/>
                  </a:lnTo>
                  <a:lnTo>
                    <a:pt x="187" y="264"/>
                  </a:lnTo>
                  <a:lnTo>
                    <a:pt x="235" y="212"/>
                  </a:lnTo>
                  <a:lnTo>
                    <a:pt x="288" y="165"/>
                  </a:lnTo>
                  <a:lnTo>
                    <a:pt x="345" y="123"/>
                  </a:lnTo>
                  <a:lnTo>
                    <a:pt x="406" y="86"/>
                  </a:lnTo>
                  <a:lnTo>
                    <a:pt x="472" y="56"/>
                  </a:lnTo>
                  <a:lnTo>
                    <a:pt x="542" y="32"/>
                  </a:lnTo>
                  <a:lnTo>
                    <a:pt x="617" y="15"/>
                  </a:lnTo>
                  <a:lnTo>
                    <a:pt x="694" y="3"/>
                  </a:lnTo>
                  <a:lnTo>
                    <a:pt x="776" y="0"/>
                  </a:lnTo>
                  <a:close/>
                </a:path>
              </a:pathLst>
            </a:custGeom>
            <a:solidFill>
              <a:srgbClr val="00B9E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60" name="Freeform 9">
              <a:extLst>
                <a:ext uri="{FF2B5EF4-FFF2-40B4-BE49-F238E27FC236}">
                  <a16:creationId xmlns:a16="http://schemas.microsoft.com/office/drawing/2014/main" id="{2CF3698A-2662-4684-9268-AFD923DE2624}"/>
                </a:ext>
              </a:extLst>
            </p:cNvPr>
            <p:cNvSpPr>
              <a:spLocks/>
            </p:cNvSpPr>
            <p:nvPr/>
          </p:nvSpPr>
          <p:spPr bwMode="auto">
            <a:xfrm>
              <a:off x="2042245" y="3890318"/>
              <a:ext cx="72841" cy="94747"/>
            </a:xfrm>
            <a:custGeom>
              <a:avLst/>
              <a:gdLst>
                <a:gd name="T0" fmla="*/ 0 w 1227"/>
                <a:gd name="T1" fmla="*/ 0 h 1594"/>
                <a:gd name="T2" fmla="*/ 1227 w 1227"/>
                <a:gd name="T3" fmla="*/ 0 h 1594"/>
                <a:gd name="T4" fmla="*/ 1227 w 1227"/>
                <a:gd name="T5" fmla="*/ 304 h 1594"/>
                <a:gd name="T6" fmla="*/ 791 w 1227"/>
                <a:gd name="T7" fmla="*/ 304 h 1594"/>
                <a:gd name="T8" fmla="*/ 791 w 1227"/>
                <a:gd name="T9" fmla="*/ 1594 h 1594"/>
                <a:gd name="T10" fmla="*/ 428 w 1227"/>
                <a:gd name="T11" fmla="*/ 1594 h 1594"/>
                <a:gd name="T12" fmla="*/ 428 w 1227"/>
                <a:gd name="T13" fmla="*/ 304 h 1594"/>
                <a:gd name="T14" fmla="*/ 0 w 1227"/>
                <a:gd name="T15" fmla="*/ 304 h 1594"/>
                <a:gd name="T16" fmla="*/ 0 w 1227"/>
                <a:gd name="T17" fmla="*/ 0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7" h="1594">
                  <a:moveTo>
                    <a:pt x="0" y="0"/>
                  </a:moveTo>
                  <a:lnTo>
                    <a:pt x="1227" y="0"/>
                  </a:lnTo>
                  <a:lnTo>
                    <a:pt x="1227" y="304"/>
                  </a:lnTo>
                  <a:lnTo>
                    <a:pt x="791" y="304"/>
                  </a:lnTo>
                  <a:lnTo>
                    <a:pt x="791" y="1594"/>
                  </a:lnTo>
                  <a:lnTo>
                    <a:pt x="428" y="1594"/>
                  </a:lnTo>
                  <a:lnTo>
                    <a:pt x="428" y="304"/>
                  </a:lnTo>
                  <a:lnTo>
                    <a:pt x="0" y="304"/>
                  </a:lnTo>
                  <a:lnTo>
                    <a:pt x="0" y="0"/>
                  </a:lnTo>
                  <a:close/>
                </a:path>
              </a:pathLst>
            </a:custGeom>
            <a:solidFill>
              <a:srgbClr val="00B9E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61" name="Freeform 6">
              <a:extLst>
                <a:ext uri="{FF2B5EF4-FFF2-40B4-BE49-F238E27FC236}">
                  <a16:creationId xmlns:a16="http://schemas.microsoft.com/office/drawing/2014/main" id="{987B25D1-AB4D-4DB4-8D4C-2F046BA29B5C}"/>
                </a:ext>
              </a:extLst>
            </p:cNvPr>
            <p:cNvSpPr>
              <a:spLocks noEditPoints="1"/>
            </p:cNvSpPr>
            <p:nvPr/>
          </p:nvSpPr>
          <p:spPr bwMode="auto">
            <a:xfrm>
              <a:off x="2178500" y="4015922"/>
              <a:ext cx="285843" cy="239182"/>
            </a:xfrm>
            <a:custGeom>
              <a:avLst/>
              <a:gdLst>
                <a:gd name="T0" fmla="*/ 508 w 4815"/>
                <a:gd name="T1" fmla="*/ 222 h 4030"/>
                <a:gd name="T2" fmla="*/ 406 w 4815"/>
                <a:gd name="T3" fmla="*/ 256 h 4030"/>
                <a:gd name="T4" fmla="*/ 320 w 4815"/>
                <a:gd name="T5" fmla="*/ 319 h 4030"/>
                <a:gd name="T6" fmla="*/ 257 w 4815"/>
                <a:gd name="T7" fmla="*/ 405 h 4030"/>
                <a:gd name="T8" fmla="*/ 222 w 4815"/>
                <a:gd name="T9" fmla="*/ 509 h 4030"/>
                <a:gd name="T10" fmla="*/ 217 w 4815"/>
                <a:gd name="T11" fmla="*/ 2579 h 4030"/>
                <a:gd name="T12" fmla="*/ 235 w 4815"/>
                <a:gd name="T13" fmla="*/ 2688 h 4030"/>
                <a:gd name="T14" fmla="*/ 285 w 4815"/>
                <a:gd name="T15" fmla="*/ 2783 h 4030"/>
                <a:gd name="T16" fmla="*/ 359 w 4815"/>
                <a:gd name="T17" fmla="*/ 2859 h 4030"/>
                <a:gd name="T18" fmla="*/ 456 w 4815"/>
                <a:gd name="T19" fmla="*/ 2909 h 4030"/>
                <a:gd name="T20" fmla="*/ 565 w 4815"/>
                <a:gd name="T21" fmla="*/ 2926 h 4030"/>
                <a:gd name="T22" fmla="*/ 1115 w 4815"/>
                <a:gd name="T23" fmla="*/ 2929 h 4030"/>
                <a:gd name="T24" fmla="*/ 1163 w 4815"/>
                <a:gd name="T25" fmla="*/ 2957 h 4030"/>
                <a:gd name="T26" fmla="*/ 1618 w 4815"/>
                <a:gd name="T27" fmla="*/ 3712 h 4030"/>
                <a:gd name="T28" fmla="*/ 2089 w 4815"/>
                <a:gd name="T29" fmla="*/ 2957 h 4030"/>
                <a:gd name="T30" fmla="*/ 2136 w 4815"/>
                <a:gd name="T31" fmla="*/ 2929 h 4030"/>
                <a:gd name="T32" fmla="*/ 4249 w 4815"/>
                <a:gd name="T33" fmla="*/ 2926 h 4030"/>
                <a:gd name="T34" fmla="*/ 4360 w 4815"/>
                <a:gd name="T35" fmla="*/ 2909 h 4030"/>
                <a:gd name="T36" fmla="*/ 4455 w 4815"/>
                <a:gd name="T37" fmla="*/ 2859 h 4030"/>
                <a:gd name="T38" fmla="*/ 4530 w 4815"/>
                <a:gd name="T39" fmla="*/ 2783 h 4030"/>
                <a:gd name="T40" fmla="*/ 4579 w 4815"/>
                <a:gd name="T41" fmla="*/ 2688 h 4030"/>
                <a:gd name="T42" fmla="*/ 4597 w 4815"/>
                <a:gd name="T43" fmla="*/ 2579 h 4030"/>
                <a:gd name="T44" fmla="*/ 4593 w 4815"/>
                <a:gd name="T45" fmla="*/ 509 h 4030"/>
                <a:gd name="T46" fmla="*/ 4559 w 4815"/>
                <a:gd name="T47" fmla="*/ 405 h 4030"/>
                <a:gd name="T48" fmla="*/ 4496 w 4815"/>
                <a:gd name="T49" fmla="*/ 319 h 4030"/>
                <a:gd name="T50" fmla="*/ 4410 w 4815"/>
                <a:gd name="T51" fmla="*/ 256 h 4030"/>
                <a:gd name="T52" fmla="*/ 4306 w 4815"/>
                <a:gd name="T53" fmla="*/ 222 h 4030"/>
                <a:gd name="T54" fmla="*/ 565 w 4815"/>
                <a:gd name="T55" fmla="*/ 218 h 4030"/>
                <a:gd name="T56" fmla="*/ 4249 w 4815"/>
                <a:gd name="T57" fmla="*/ 0 h 4030"/>
                <a:gd name="T58" fmla="*/ 4389 w 4815"/>
                <a:gd name="T59" fmla="*/ 16 h 4030"/>
                <a:gd name="T60" fmla="*/ 4515 w 4815"/>
                <a:gd name="T61" fmla="*/ 66 h 4030"/>
                <a:gd name="T62" fmla="*/ 4625 w 4815"/>
                <a:gd name="T63" fmla="*/ 142 h 4030"/>
                <a:gd name="T64" fmla="*/ 4714 w 4815"/>
                <a:gd name="T65" fmla="*/ 243 h 4030"/>
                <a:gd name="T66" fmla="*/ 4777 w 4815"/>
                <a:gd name="T67" fmla="*/ 361 h 4030"/>
                <a:gd name="T68" fmla="*/ 4810 w 4815"/>
                <a:gd name="T69" fmla="*/ 494 h 4030"/>
                <a:gd name="T70" fmla="*/ 4815 w 4815"/>
                <a:gd name="T71" fmla="*/ 2579 h 4030"/>
                <a:gd name="T72" fmla="*/ 4797 w 4815"/>
                <a:gd name="T73" fmla="*/ 2717 h 4030"/>
                <a:gd name="T74" fmla="*/ 4749 w 4815"/>
                <a:gd name="T75" fmla="*/ 2844 h 4030"/>
                <a:gd name="T76" fmla="*/ 4673 w 4815"/>
                <a:gd name="T77" fmla="*/ 2954 h 4030"/>
                <a:gd name="T78" fmla="*/ 4572 w 4815"/>
                <a:gd name="T79" fmla="*/ 3043 h 4030"/>
                <a:gd name="T80" fmla="*/ 4454 w 4815"/>
                <a:gd name="T81" fmla="*/ 3106 h 4030"/>
                <a:gd name="T82" fmla="*/ 4321 w 4815"/>
                <a:gd name="T83" fmla="*/ 3139 h 4030"/>
                <a:gd name="T84" fmla="*/ 2225 w 4815"/>
                <a:gd name="T85" fmla="*/ 3144 h 4030"/>
                <a:gd name="T86" fmla="*/ 1693 w 4815"/>
                <a:gd name="T87" fmla="*/ 4001 h 4030"/>
                <a:gd name="T88" fmla="*/ 1645 w 4815"/>
                <a:gd name="T89" fmla="*/ 4027 h 4030"/>
                <a:gd name="T90" fmla="*/ 1617 w 4815"/>
                <a:gd name="T91" fmla="*/ 4030 h 4030"/>
                <a:gd name="T92" fmla="*/ 1563 w 4815"/>
                <a:gd name="T93" fmla="*/ 4015 h 4030"/>
                <a:gd name="T94" fmla="*/ 1523 w 4815"/>
                <a:gd name="T95" fmla="*/ 3977 h 4030"/>
                <a:gd name="T96" fmla="*/ 565 w 4815"/>
                <a:gd name="T97" fmla="*/ 3144 h 4030"/>
                <a:gd name="T98" fmla="*/ 427 w 4815"/>
                <a:gd name="T99" fmla="*/ 3126 h 4030"/>
                <a:gd name="T100" fmla="*/ 299 w 4815"/>
                <a:gd name="T101" fmla="*/ 3078 h 4030"/>
                <a:gd name="T102" fmla="*/ 190 w 4815"/>
                <a:gd name="T103" fmla="*/ 3001 h 4030"/>
                <a:gd name="T104" fmla="*/ 100 w 4815"/>
                <a:gd name="T105" fmla="*/ 2901 h 4030"/>
                <a:gd name="T106" fmla="*/ 38 w 4815"/>
                <a:gd name="T107" fmla="*/ 2783 h 4030"/>
                <a:gd name="T108" fmla="*/ 4 w 4815"/>
                <a:gd name="T109" fmla="*/ 2650 h 4030"/>
                <a:gd name="T110" fmla="*/ 0 w 4815"/>
                <a:gd name="T111" fmla="*/ 564 h 4030"/>
                <a:gd name="T112" fmla="*/ 17 w 4815"/>
                <a:gd name="T113" fmla="*/ 425 h 4030"/>
                <a:gd name="T114" fmla="*/ 65 w 4815"/>
                <a:gd name="T115" fmla="*/ 300 h 4030"/>
                <a:gd name="T116" fmla="*/ 143 w 4815"/>
                <a:gd name="T117" fmla="*/ 190 h 4030"/>
                <a:gd name="T118" fmla="*/ 242 w 4815"/>
                <a:gd name="T119" fmla="*/ 101 h 4030"/>
                <a:gd name="T120" fmla="*/ 361 w 4815"/>
                <a:gd name="T121" fmla="*/ 38 h 4030"/>
                <a:gd name="T122" fmla="*/ 494 w 4815"/>
                <a:gd name="T123" fmla="*/ 5 h 4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15" h="4030">
                  <a:moveTo>
                    <a:pt x="565" y="218"/>
                  </a:moveTo>
                  <a:lnTo>
                    <a:pt x="508" y="222"/>
                  </a:lnTo>
                  <a:lnTo>
                    <a:pt x="456" y="235"/>
                  </a:lnTo>
                  <a:lnTo>
                    <a:pt x="406" y="256"/>
                  </a:lnTo>
                  <a:lnTo>
                    <a:pt x="359" y="285"/>
                  </a:lnTo>
                  <a:lnTo>
                    <a:pt x="320" y="319"/>
                  </a:lnTo>
                  <a:lnTo>
                    <a:pt x="285" y="360"/>
                  </a:lnTo>
                  <a:lnTo>
                    <a:pt x="257" y="405"/>
                  </a:lnTo>
                  <a:lnTo>
                    <a:pt x="235" y="454"/>
                  </a:lnTo>
                  <a:lnTo>
                    <a:pt x="222" y="509"/>
                  </a:lnTo>
                  <a:lnTo>
                    <a:pt x="217" y="564"/>
                  </a:lnTo>
                  <a:lnTo>
                    <a:pt x="217" y="2579"/>
                  </a:lnTo>
                  <a:lnTo>
                    <a:pt x="222" y="2636"/>
                  </a:lnTo>
                  <a:lnTo>
                    <a:pt x="235" y="2688"/>
                  </a:lnTo>
                  <a:lnTo>
                    <a:pt x="257" y="2738"/>
                  </a:lnTo>
                  <a:lnTo>
                    <a:pt x="285" y="2783"/>
                  </a:lnTo>
                  <a:lnTo>
                    <a:pt x="320" y="2824"/>
                  </a:lnTo>
                  <a:lnTo>
                    <a:pt x="359" y="2859"/>
                  </a:lnTo>
                  <a:lnTo>
                    <a:pt x="406" y="2887"/>
                  </a:lnTo>
                  <a:lnTo>
                    <a:pt x="456" y="2909"/>
                  </a:lnTo>
                  <a:lnTo>
                    <a:pt x="508" y="2922"/>
                  </a:lnTo>
                  <a:lnTo>
                    <a:pt x="565" y="2926"/>
                  </a:lnTo>
                  <a:lnTo>
                    <a:pt x="1087" y="2926"/>
                  </a:lnTo>
                  <a:lnTo>
                    <a:pt x="1115" y="2929"/>
                  </a:lnTo>
                  <a:lnTo>
                    <a:pt x="1142" y="2941"/>
                  </a:lnTo>
                  <a:lnTo>
                    <a:pt x="1163" y="2957"/>
                  </a:lnTo>
                  <a:lnTo>
                    <a:pt x="1181" y="2979"/>
                  </a:lnTo>
                  <a:lnTo>
                    <a:pt x="1618" y="3712"/>
                  </a:lnTo>
                  <a:lnTo>
                    <a:pt x="2072" y="2977"/>
                  </a:lnTo>
                  <a:lnTo>
                    <a:pt x="2089" y="2957"/>
                  </a:lnTo>
                  <a:lnTo>
                    <a:pt x="2111" y="2939"/>
                  </a:lnTo>
                  <a:lnTo>
                    <a:pt x="2136" y="2929"/>
                  </a:lnTo>
                  <a:lnTo>
                    <a:pt x="2164" y="2926"/>
                  </a:lnTo>
                  <a:lnTo>
                    <a:pt x="4249" y="2926"/>
                  </a:lnTo>
                  <a:lnTo>
                    <a:pt x="4306" y="2922"/>
                  </a:lnTo>
                  <a:lnTo>
                    <a:pt x="4360" y="2909"/>
                  </a:lnTo>
                  <a:lnTo>
                    <a:pt x="4410" y="2887"/>
                  </a:lnTo>
                  <a:lnTo>
                    <a:pt x="4455" y="2859"/>
                  </a:lnTo>
                  <a:lnTo>
                    <a:pt x="4496" y="2824"/>
                  </a:lnTo>
                  <a:lnTo>
                    <a:pt x="4530" y="2783"/>
                  </a:lnTo>
                  <a:lnTo>
                    <a:pt x="4559" y="2738"/>
                  </a:lnTo>
                  <a:lnTo>
                    <a:pt x="4579" y="2688"/>
                  </a:lnTo>
                  <a:lnTo>
                    <a:pt x="4593" y="2636"/>
                  </a:lnTo>
                  <a:lnTo>
                    <a:pt x="4597" y="2579"/>
                  </a:lnTo>
                  <a:lnTo>
                    <a:pt x="4597" y="564"/>
                  </a:lnTo>
                  <a:lnTo>
                    <a:pt x="4593" y="509"/>
                  </a:lnTo>
                  <a:lnTo>
                    <a:pt x="4579" y="454"/>
                  </a:lnTo>
                  <a:lnTo>
                    <a:pt x="4559" y="405"/>
                  </a:lnTo>
                  <a:lnTo>
                    <a:pt x="4530" y="360"/>
                  </a:lnTo>
                  <a:lnTo>
                    <a:pt x="4496" y="319"/>
                  </a:lnTo>
                  <a:lnTo>
                    <a:pt x="4455" y="285"/>
                  </a:lnTo>
                  <a:lnTo>
                    <a:pt x="4410" y="256"/>
                  </a:lnTo>
                  <a:lnTo>
                    <a:pt x="4360" y="235"/>
                  </a:lnTo>
                  <a:lnTo>
                    <a:pt x="4306" y="222"/>
                  </a:lnTo>
                  <a:lnTo>
                    <a:pt x="4249" y="218"/>
                  </a:lnTo>
                  <a:lnTo>
                    <a:pt x="565" y="218"/>
                  </a:lnTo>
                  <a:close/>
                  <a:moveTo>
                    <a:pt x="565" y="0"/>
                  </a:moveTo>
                  <a:lnTo>
                    <a:pt x="4249" y="0"/>
                  </a:lnTo>
                  <a:lnTo>
                    <a:pt x="4321" y="5"/>
                  </a:lnTo>
                  <a:lnTo>
                    <a:pt x="4389" y="16"/>
                  </a:lnTo>
                  <a:lnTo>
                    <a:pt x="4454" y="38"/>
                  </a:lnTo>
                  <a:lnTo>
                    <a:pt x="4515" y="66"/>
                  </a:lnTo>
                  <a:lnTo>
                    <a:pt x="4572" y="101"/>
                  </a:lnTo>
                  <a:lnTo>
                    <a:pt x="4625" y="142"/>
                  </a:lnTo>
                  <a:lnTo>
                    <a:pt x="4673" y="190"/>
                  </a:lnTo>
                  <a:lnTo>
                    <a:pt x="4714" y="243"/>
                  </a:lnTo>
                  <a:lnTo>
                    <a:pt x="4749" y="300"/>
                  </a:lnTo>
                  <a:lnTo>
                    <a:pt x="4777" y="361"/>
                  </a:lnTo>
                  <a:lnTo>
                    <a:pt x="4797" y="425"/>
                  </a:lnTo>
                  <a:lnTo>
                    <a:pt x="4810" y="494"/>
                  </a:lnTo>
                  <a:lnTo>
                    <a:pt x="4815" y="564"/>
                  </a:lnTo>
                  <a:lnTo>
                    <a:pt x="4815" y="2579"/>
                  </a:lnTo>
                  <a:lnTo>
                    <a:pt x="4810" y="2650"/>
                  </a:lnTo>
                  <a:lnTo>
                    <a:pt x="4797" y="2717"/>
                  </a:lnTo>
                  <a:lnTo>
                    <a:pt x="4777" y="2783"/>
                  </a:lnTo>
                  <a:lnTo>
                    <a:pt x="4749" y="2844"/>
                  </a:lnTo>
                  <a:lnTo>
                    <a:pt x="4714" y="2901"/>
                  </a:lnTo>
                  <a:lnTo>
                    <a:pt x="4673" y="2954"/>
                  </a:lnTo>
                  <a:lnTo>
                    <a:pt x="4625" y="3001"/>
                  </a:lnTo>
                  <a:lnTo>
                    <a:pt x="4572" y="3043"/>
                  </a:lnTo>
                  <a:lnTo>
                    <a:pt x="4515" y="3078"/>
                  </a:lnTo>
                  <a:lnTo>
                    <a:pt x="4454" y="3106"/>
                  </a:lnTo>
                  <a:lnTo>
                    <a:pt x="4389" y="3126"/>
                  </a:lnTo>
                  <a:lnTo>
                    <a:pt x="4321" y="3139"/>
                  </a:lnTo>
                  <a:lnTo>
                    <a:pt x="4249" y="3144"/>
                  </a:lnTo>
                  <a:lnTo>
                    <a:pt x="2225" y="3144"/>
                  </a:lnTo>
                  <a:lnTo>
                    <a:pt x="1710" y="3979"/>
                  </a:lnTo>
                  <a:lnTo>
                    <a:pt x="1693" y="4001"/>
                  </a:lnTo>
                  <a:lnTo>
                    <a:pt x="1671" y="4017"/>
                  </a:lnTo>
                  <a:lnTo>
                    <a:pt x="1645" y="4027"/>
                  </a:lnTo>
                  <a:lnTo>
                    <a:pt x="1617" y="4030"/>
                  </a:lnTo>
                  <a:lnTo>
                    <a:pt x="1617" y="4030"/>
                  </a:lnTo>
                  <a:lnTo>
                    <a:pt x="1589" y="4027"/>
                  </a:lnTo>
                  <a:lnTo>
                    <a:pt x="1563" y="4015"/>
                  </a:lnTo>
                  <a:lnTo>
                    <a:pt x="1541" y="3999"/>
                  </a:lnTo>
                  <a:lnTo>
                    <a:pt x="1523" y="3977"/>
                  </a:lnTo>
                  <a:lnTo>
                    <a:pt x="1026" y="3144"/>
                  </a:lnTo>
                  <a:lnTo>
                    <a:pt x="565" y="3144"/>
                  </a:lnTo>
                  <a:lnTo>
                    <a:pt x="494" y="3139"/>
                  </a:lnTo>
                  <a:lnTo>
                    <a:pt x="427" y="3126"/>
                  </a:lnTo>
                  <a:lnTo>
                    <a:pt x="361" y="3106"/>
                  </a:lnTo>
                  <a:lnTo>
                    <a:pt x="299" y="3078"/>
                  </a:lnTo>
                  <a:lnTo>
                    <a:pt x="242" y="3043"/>
                  </a:lnTo>
                  <a:lnTo>
                    <a:pt x="190" y="3001"/>
                  </a:lnTo>
                  <a:lnTo>
                    <a:pt x="143" y="2954"/>
                  </a:lnTo>
                  <a:lnTo>
                    <a:pt x="100" y="2901"/>
                  </a:lnTo>
                  <a:lnTo>
                    <a:pt x="65" y="2844"/>
                  </a:lnTo>
                  <a:lnTo>
                    <a:pt x="38" y="2783"/>
                  </a:lnTo>
                  <a:lnTo>
                    <a:pt x="17" y="2717"/>
                  </a:lnTo>
                  <a:lnTo>
                    <a:pt x="4" y="2650"/>
                  </a:lnTo>
                  <a:lnTo>
                    <a:pt x="0" y="2579"/>
                  </a:lnTo>
                  <a:lnTo>
                    <a:pt x="0" y="564"/>
                  </a:lnTo>
                  <a:lnTo>
                    <a:pt x="4" y="494"/>
                  </a:lnTo>
                  <a:lnTo>
                    <a:pt x="17" y="425"/>
                  </a:lnTo>
                  <a:lnTo>
                    <a:pt x="38" y="361"/>
                  </a:lnTo>
                  <a:lnTo>
                    <a:pt x="65" y="300"/>
                  </a:lnTo>
                  <a:lnTo>
                    <a:pt x="100" y="243"/>
                  </a:lnTo>
                  <a:lnTo>
                    <a:pt x="143" y="190"/>
                  </a:lnTo>
                  <a:lnTo>
                    <a:pt x="190" y="142"/>
                  </a:lnTo>
                  <a:lnTo>
                    <a:pt x="242" y="101"/>
                  </a:lnTo>
                  <a:lnTo>
                    <a:pt x="299" y="66"/>
                  </a:lnTo>
                  <a:lnTo>
                    <a:pt x="361" y="38"/>
                  </a:lnTo>
                  <a:lnTo>
                    <a:pt x="427" y="16"/>
                  </a:lnTo>
                  <a:lnTo>
                    <a:pt x="494" y="5"/>
                  </a:lnTo>
                  <a:lnTo>
                    <a:pt x="565"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62" name="Rectangle 7">
              <a:extLst>
                <a:ext uri="{FF2B5EF4-FFF2-40B4-BE49-F238E27FC236}">
                  <a16:creationId xmlns:a16="http://schemas.microsoft.com/office/drawing/2014/main" id="{66FF09A5-E288-48A0-AD52-A0EE89520C89}"/>
                </a:ext>
              </a:extLst>
            </p:cNvPr>
            <p:cNvSpPr>
              <a:spLocks noChangeArrowheads="1"/>
            </p:cNvSpPr>
            <p:nvPr/>
          </p:nvSpPr>
          <p:spPr bwMode="auto">
            <a:xfrm>
              <a:off x="2214118" y="4061336"/>
              <a:ext cx="21549" cy="94747"/>
            </a:xfrm>
            <a:prstGeom prst="rect">
              <a:avLst/>
            </a:prstGeom>
            <a:solidFill>
              <a:schemeClr val="accent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fr-BE"/>
            </a:p>
          </p:txBody>
        </p:sp>
        <p:sp>
          <p:nvSpPr>
            <p:cNvPr id="63" name="Freeform 8">
              <a:extLst>
                <a:ext uri="{FF2B5EF4-FFF2-40B4-BE49-F238E27FC236}">
                  <a16:creationId xmlns:a16="http://schemas.microsoft.com/office/drawing/2014/main" id="{9CA1438E-37FA-4162-B404-C17E6FC0E016}"/>
                </a:ext>
              </a:extLst>
            </p:cNvPr>
            <p:cNvSpPr>
              <a:spLocks noEditPoints="1"/>
            </p:cNvSpPr>
            <p:nvPr/>
          </p:nvSpPr>
          <p:spPr bwMode="auto">
            <a:xfrm>
              <a:off x="2261314" y="4059912"/>
              <a:ext cx="91007" cy="97775"/>
            </a:xfrm>
            <a:custGeom>
              <a:avLst/>
              <a:gdLst>
                <a:gd name="T0" fmla="*/ 716 w 1533"/>
                <a:gd name="T1" fmla="*/ 289 h 1646"/>
                <a:gd name="T2" fmla="*/ 624 w 1533"/>
                <a:gd name="T3" fmla="*/ 317 h 1646"/>
                <a:gd name="T4" fmla="*/ 546 w 1533"/>
                <a:gd name="T5" fmla="*/ 368 h 1646"/>
                <a:gd name="T6" fmla="*/ 482 w 1533"/>
                <a:gd name="T7" fmla="*/ 441 h 1646"/>
                <a:gd name="T8" fmla="*/ 432 w 1533"/>
                <a:gd name="T9" fmla="*/ 532 h 1646"/>
                <a:gd name="T10" fmla="*/ 399 w 1533"/>
                <a:gd name="T11" fmla="*/ 641 h 1646"/>
                <a:gd name="T12" fmla="*/ 383 w 1533"/>
                <a:gd name="T13" fmla="*/ 762 h 1646"/>
                <a:gd name="T14" fmla="*/ 383 w 1533"/>
                <a:gd name="T15" fmla="*/ 898 h 1646"/>
                <a:gd name="T16" fmla="*/ 403 w 1533"/>
                <a:gd name="T17" fmla="*/ 1026 h 1646"/>
                <a:gd name="T18" fmla="*/ 443 w 1533"/>
                <a:gd name="T19" fmla="*/ 1139 h 1646"/>
                <a:gd name="T20" fmla="*/ 500 w 1533"/>
                <a:gd name="T21" fmla="*/ 1231 h 1646"/>
                <a:gd name="T22" fmla="*/ 574 w 1533"/>
                <a:gd name="T23" fmla="*/ 1301 h 1646"/>
                <a:gd name="T24" fmla="*/ 663 w 1533"/>
                <a:gd name="T25" fmla="*/ 1345 h 1646"/>
                <a:gd name="T26" fmla="*/ 769 w 1533"/>
                <a:gd name="T27" fmla="*/ 1359 h 1646"/>
                <a:gd name="T28" fmla="*/ 867 w 1533"/>
                <a:gd name="T29" fmla="*/ 1346 h 1646"/>
                <a:gd name="T30" fmla="*/ 951 w 1533"/>
                <a:gd name="T31" fmla="*/ 1307 h 1646"/>
                <a:gd name="T32" fmla="*/ 1022 w 1533"/>
                <a:gd name="T33" fmla="*/ 1244 h 1646"/>
                <a:gd name="T34" fmla="*/ 1079 w 1533"/>
                <a:gd name="T35" fmla="*/ 1161 h 1646"/>
                <a:gd name="T36" fmla="*/ 1118 w 1533"/>
                <a:gd name="T37" fmla="*/ 1060 h 1646"/>
                <a:gd name="T38" fmla="*/ 1144 w 1533"/>
                <a:gd name="T39" fmla="*/ 945 h 1646"/>
                <a:gd name="T40" fmla="*/ 1152 w 1533"/>
                <a:gd name="T41" fmla="*/ 818 h 1646"/>
                <a:gd name="T42" fmla="*/ 1144 w 1533"/>
                <a:gd name="T43" fmla="*/ 698 h 1646"/>
                <a:gd name="T44" fmla="*/ 1120 w 1533"/>
                <a:gd name="T45" fmla="*/ 587 h 1646"/>
                <a:gd name="T46" fmla="*/ 1079 w 1533"/>
                <a:gd name="T47" fmla="*/ 488 h 1646"/>
                <a:gd name="T48" fmla="*/ 1023 w 1533"/>
                <a:gd name="T49" fmla="*/ 405 h 1646"/>
                <a:gd name="T50" fmla="*/ 951 w 1533"/>
                <a:gd name="T51" fmla="*/ 342 h 1646"/>
                <a:gd name="T52" fmla="*/ 867 w 1533"/>
                <a:gd name="T53" fmla="*/ 301 h 1646"/>
                <a:gd name="T54" fmla="*/ 766 w 1533"/>
                <a:gd name="T55" fmla="*/ 286 h 1646"/>
                <a:gd name="T56" fmla="*/ 855 w 1533"/>
                <a:gd name="T57" fmla="*/ 3 h 1646"/>
                <a:gd name="T58" fmla="*/ 1003 w 1533"/>
                <a:gd name="T59" fmla="*/ 29 h 1646"/>
                <a:gd name="T60" fmla="*/ 1131 w 1533"/>
                <a:gd name="T61" fmla="*/ 77 h 1646"/>
                <a:gd name="T62" fmla="*/ 1244 w 1533"/>
                <a:gd name="T63" fmla="*/ 149 h 1646"/>
                <a:gd name="T64" fmla="*/ 1339 w 1533"/>
                <a:gd name="T65" fmla="*/ 238 h 1646"/>
                <a:gd name="T66" fmla="*/ 1415 w 1533"/>
                <a:gd name="T67" fmla="*/ 343 h 1646"/>
                <a:gd name="T68" fmla="*/ 1472 w 1533"/>
                <a:gd name="T69" fmla="*/ 463 h 1646"/>
                <a:gd name="T70" fmla="*/ 1512 w 1533"/>
                <a:gd name="T71" fmla="*/ 593 h 1646"/>
                <a:gd name="T72" fmla="*/ 1531 w 1533"/>
                <a:gd name="T73" fmla="*/ 733 h 1646"/>
                <a:gd name="T74" fmla="*/ 1531 w 1533"/>
                <a:gd name="T75" fmla="*/ 897 h 1646"/>
                <a:gd name="T76" fmla="*/ 1506 w 1533"/>
                <a:gd name="T77" fmla="*/ 1063 h 1646"/>
                <a:gd name="T78" fmla="*/ 1456 w 1533"/>
                <a:gd name="T79" fmla="*/ 1210 h 1646"/>
                <a:gd name="T80" fmla="*/ 1384 w 1533"/>
                <a:gd name="T81" fmla="*/ 1339 h 1646"/>
                <a:gd name="T82" fmla="*/ 1292 w 1533"/>
                <a:gd name="T83" fmla="*/ 1447 h 1646"/>
                <a:gd name="T84" fmla="*/ 1181 w 1533"/>
                <a:gd name="T85" fmla="*/ 1532 h 1646"/>
                <a:gd name="T86" fmla="*/ 1052 w 1533"/>
                <a:gd name="T87" fmla="*/ 1594 h 1646"/>
                <a:gd name="T88" fmla="*/ 908 w 1533"/>
                <a:gd name="T89" fmla="*/ 1632 h 1646"/>
                <a:gd name="T90" fmla="*/ 750 w 1533"/>
                <a:gd name="T91" fmla="*/ 1646 h 1646"/>
                <a:gd name="T92" fmla="*/ 590 w 1533"/>
                <a:gd name="T93" fmla="*/ 1631 h 1646"/>
                <a:gd name="T94" fmla="*/ 448 w 1533"/>
                <a:gd name="T95" fmla="*/ 1590 h 1646"/>
                <a:gd name="T96" fmla="*/ 326 w 1533"/>
                <a:gd name="T97" fmla="*/ 1523 h 1646"/>
                <a:gd name="T98" fmla="*/ 220 w 1533"/>
                <a:gd name="T99" fmla="*/ 1435 h 1646"/>
                <a:gd name="T100" fmla="*/ 134 w 1533"/>
                <a:gd name="T101" fmla="*/ 1327 h 1646"/>
                <a:gd name="T102" fmla="*/ 68 w 1533"/>
                <a:gd name="T103" fmla="*/ 1203 h 1646"/>
                <a:gd name="T104" fmla="*/ 24 w 1533"/>
                <a:gd name="T105" fmla="*/ 1064 h 1646"/>
                <a:gd name="T106" fmla="*/ 2 w 1533"/>
                <a:gd name="T107" fmla="*/ 914 h 1646"/>
                <a:gd name="T108" fmla="*/ 2 w 1533"/>
                <a:gd name="T109" fmla="*/ 752 h 1646"/>
                <a:gd name="T110" fmla="*/ 27 w 1533"/>
                <a:gd name="T111" fmla="*/ 594 h 1646"/>
                <a:gd name="T112" fmla="*/ 74 w 1533"/>
                <a:gd name="T113" fmla="*/ 450 h 1646"/>
                <a:gd name="T114" fmla="*/ 144 w 1533"/>
                <a:gd name="T115" fmla="*/ 323 h 1646"/>
                <a:gd name="T116" fmla="*/ 235 w 1533"/>
                <a:gd name="T117" fmla="*/ 212 h 1646"/>
                <a:gd name="T118" fmla="*/ 345 w 1533"/>
                <a:gd name="T119" fmla="*/ 123 h 1646"/>
                <a:gd name="T120" fmla="*/ 472 w 1533"/>
                <a:gd name="T121" fmla="*/ 56 h 1646"/>
                <a:gd name="T122" fmla="*/ 617 w 1533"/>
                <a:gd name="T123" fmla="*/ 15 h 1646"/>
                <a:gd name="T124" fmla="*/ 776 w 1533"/>
                <a:gd name="T125" fmla="*/ 0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3" h="1646">
                  <a:moveTo>
                    <a:pt x="766" y="286"/>
                  </a:moveTo>
                  <a:lnTo>
                    <a:pt x="716" y="289"/>
                  </a:lnTo>
                  <a:lnTo>
                    <a:pt x="668" y="299"/>
                  </a:lnTo>
                  <a:lnTo>
                    <a:pt x="624" y="317"/>
                  </a:lnTo>
                  <a:lnTo>
                    <a:pt x="583" y="339"/>
                  </a:lnTo>
                  <a:lnTo>
                    <a:pt x="546" y="368"/>
                  </a:lnTo>
                  <a:lnTo>
                    <a:pt x="511" y="402"/>
                  </a:lnTo>
                  <a:lnTo>
                    <a:pt x="482" y="441"/>
                  </a:lnTo>
                  <a:lnTo>
                    <a:pt x="456" y="483"/>
                  </a:lnTo>
                  <a:lnTo>
                    <a:pt x="432" y="532"/>
                  </a:lnTo>
                  <a:lnTo>
                    <a:pt x="415" y="584"/>
                  </a:lnTo>
                  <a:lnTo>
                    <a:pt x="399" y="641"/>
                  </a:lnTo>
                  <a:lnTo>
                    <a:pt x="388" y="699"/>
                  </a:lnTo>
                  <a:lnTo>
                    <a:pt x="383" y="762"/>
                  </a:lnTo>
                  <a:lnTo>
                    <a:pt x="380" y="828"/>
                  </a:lnTo>
                  <a:lnTo>
                    <a:pt x="383" y="898"/>
                  </a:lnTo>
                  <a:lnTo>
                    <a:pt x="390" y="964"/>
                  </a:lnTo>
                  <a:lnTo>
                    <a:pt x="403" y="1026"/>
                  </a:lnTo>
                  <a:lnTo>
                    <a:pt x="421" y="1085"/>
                  </a:lnTo>
                  <a:lnTo>
                    <a:pt x="443" y="1139"/>
                  </a:lnTo>
                  <a:lnTo>
                    <a:pt x="469" y="1189"/>
                  </a:lnTo>
                  <a:lnTo>
                    <a:pt x="500" y="1231"/>
                  </a:lnTo>
                  <a:lnTo>
                    <a:pt x="535" y="1269"/>
                  </a:lnTo>
                  <a:lnTo>
                    <a:pt x="574" y="1301"/>
                  </a:lnTo>
                  <a:lnTo>
                    <a:pt x="617" y="1326"/>
                  </a:lnTo>
                  <a:lnTo>
                    <a:pt x="663" y="1345"/>
                  </a:lnTo>
                  <a:lnTo>
                    <a:pt x="715" y="1355"/>
                  </a:lnTo>
                  <a:lnTo>
                    <a:pt x="769" y="1359"/>
                  </a:lnTo>
                  <a:lnTo>
                    <a:pt x="820" y="1356"/>
                  </a:lnTo>
                  <a:lnTo>
                    <a:pt x="867" y="1346"/>
                  </a:lnTo>
                  <a:lnTo>
                    <a:pt x="911" y="1329"/>
                  </a:lnTo>
                  <a:lnTo>
                    <a:pt x="951" y="1307"/>
                  </a:lnTo>
                  <a:lnTo>
                    <a:pt x="988" y="1278"/>
                  </a:lnTo>
                  <a:lnTo>
                    <a:pt x="1022" y="1244"/>
                  </a:lnTo>
                  <a:lnTo>
                    <a:pt x="1052" y="1205"/>
                  </a:lnTo>
                  <a:lnTo>
                    <a:pt x="1079" y="1161"/>
                  </a:lnTo>
                  <a:lnTo>
                    <a:pt x="1101" y="1113"/>
                  </a:lnTo>
                  <a:lnTo>
                    <a:pt x="1118" y="1060"/>
                  </a:lnTo>
                  <a:lnTo>
                    <a:pt x="1133" y="1005"/>
                  </a:lnTo>
                  <a:lnTo>
                    <a:pt x="1144" y="945"/>
                  </a:lnTo>
                  <a:lnTo>
                    <a:pt x="1150" y="883"/>
                  </a:lnTo>
                  <a:lnTo>
                    <a:pt x="1152" y="818"/>
                  </a:lnTo>
                  <a:lnTo>
                    <a:pt x="1150" y="758"/>
                  </a:lnTo>
                  <a:lnTo>
                    <a:pt x="1144" y="698"/>
                  </a:lnTo>
                  <a:lnTo>
                    <a:pt x="1134" y="641"/>
                  </a:lnTo>
                  <a:lnTo>
                    <a:pt x="1120" y="587"/>
                  </a:lnTo>
                  <a:lnTo>
                    <a:pt x="1101" y="536"/>
                  </a:lnTo>
                  <a:lnTo>
                    <a:pt x="1079" y="488"/>
                  </a:lnTo>
                  <a:lnTo>
                    <a:pt x="1052" y="444"/>
                  </a:lnTo>
                  <a:lnTo>
                    <a:pt x="1023" y="405"/>
                  </a:lnTo>
                  <a:lnTo>
                    <a:pt x="989" y="371"/>
                  </a:lnTo>
                  <a:lnTo>
                    <a:pt x="951" y="342"/>
                  </a:lnTo>
                  <a:lnTo>
                    <a:pt x="911" y="318"/>
                  </a:lnTo>
                  <a:lnTo>
                    <a:pt x="867" y="301"/>
                  </a:lnTo>
                  <a:lnTo>
                    <a:pt x="818" y="289"/>
                  </a:lnTo>
                  <a:lnTo>
                    <a:pt x="766" y="286"/>
                  </a:lnTo>
                  <a:close/>
                  <a:moveTo>
                    <a:pt x="776" y="0"/>
                  </a:moveTo>
                  <a:lnTo>
                    <a:pt x="855" y="3"/>
                  </a:lnTo>
                  <a:lnTo>
                    <a:pt x="931" y="13"/>
                  </a:lnTo>
                  <a:lnTo>
                    <a:pt x="1003" y="29"/>
                  </a:lnTo>
                  <a:lnTo>
                    <a:pt x="1068" y="51"/>
                  </a:lnTo>
                  <a:lnTo>
                    <a:pt x="1131" y="77"/>
                  </a:lnTo>
                  <a:lnTo>
                    <a:pt x="1190" y="111"/>
                  </a:lnTo>
                  <a:lnTo>
                    <a:pt x="1244" y="149"/>
                  </a:lnTo>
                  <a:lnTo>
                    <a:pt x="1294" y="191"/>
                  </a:lnTo>
                  <a:lnTo>
                    <a:pt x="1339" y="238"/>
                  </a:lnTo>
                  <a:lnTo>
                    <a:pt x="1378" y="289"/>
                  </a:lnTo>
                  <a:lnTo>
                    <a:pt x="1415" y="343"/>
                  </a:lnTo>
                  <a:lnTo>
                    <a:pt x="1446" y="402"/>
                  </a:lnTo>
                  <a:lnTo>
                    <a:pt x="1472" y="463"/>
                  </a:lnTo>
                  <a:lnTo>
                    <a:pt x="1494" y="527"/>
                  </a:lnTo>
                  <a:lnTo>
                    <a:pt x="1512" y="593"/>
                  </a:lnTo>
                  <a:lnTo>
                    <a:pt x="1523" y="663"/>
                  </a:lnTo>
                  <a:lnTo>
                    <a:pt x="1531" y="733"/>
                  </a:lnTo>
                  <a:lnTo>
                    <a:pt x="1533" y="806"/>
                  </a:lnTo>
                  <a:lnTo>
                    <a:pt x="1531" y="897"/>
                  </a:lnTo>
                  <a:lnTo>
                    <a:pt x="1520" y="981"/>
                  </a:lnTo>
                  <a:lnTo>
                    <a:pt x="1506" y="1063"/>
                  </a:lnTo>
                  <a:lnTo>
                    <a:pt x="1484" y="1139"/>
                  </a:lnTo>
                  <a:lnTo>
                    <a:pt x="1456" y="1210"/>
                  </a:lnTo>
                  <a:lnTo>
                    <a:pt x="1422" y="1278"/>
                  </a:lnTo>
                  <a:lnTo>
                    <a:pt x="1384" y="1339"/>
                  </a:lnTo>
                  <a:lnTo>
                    <a:pt x="1340" y="1396"/>
                  </a:lnTo>
                  <a:lnTo>
                    <a:pt x="1292" y="1447"/>
                  </a:lnTo>
                  <a:lnTo>
                    <a:pt x="1238" y="1492"/>
                  </a:lnTo>
                  <a:lnTo>
                    <a:pt x="1181" y="1532"/>
                  </a:lnTo>
                  <a:lnTo>
                    <a:pt x="1118" y="1567"/>
                  </a:lnTo>
                  <a:lnTo>
                    <a:pt x="1052" y="1594"/>
                  </a:lnTo>
                  <a:lnTo>
                    <a:pt x="982" y="1616"/>
                  </a:lnTo>
                  <a:lnTo>
                    <a:pt x="908" y="1632"/>
                  </a:lnTo>
                  <a:lnTo>
                    <a:pt x="830" y="1643"/>
                  </a:lnTo>
                  <a:lnTo>
                    <a:pt x="750" y="1646"/>
                  </a:lnTo>
                  <a:lnTo>
                    <a:pt x="668" y="1641"/>
                  </a:lnTo>
                  <a:lnTo>
                    <a:pt x="590" y="1631"/>
                  </a:lnTo>
                  <a:lnTo>
                    <a:pt x="517" y="1613"/>
                  </a:lnTo>
                  <a:lnTo>
                    <a:pt x="448" y="1590"/>
                  </a:lnTo>
                  <a:lnTo>
                    <a:pt x="384" y="1559"/>
                  </a:lnTo>
                  <a:lnTo>
                    <a:pt x="326" y="1523"/>
                  </a:lnTo>
                  <a:lnTo>
                    <a:pt x="270" y="1482"/>
                  </a:lnTo>
                  <a:lnTo>
                    <a:pt x="220" y="1435"/>
                  </a:lnTo>
                  <a:lnTo>
                    <a:pt x="175" y="1384"/>
                  </a:lnTo>
                  <a:lnTo>
                    <a:pt x="134" y="1327"/>
                  </a:lnTo>
                  <a:lnTo>
                    <a:pt x="99" y="1267"/>
                  </a:lnTo>
                  <a:lnTo>
                    <a:pt x="68" y="1203"/>
                  </a:lnTo>
                  <a:lnTo>
                    <a:pt x="43" y="1136"/>
                  </a:lnTo>
                  <a:lnTo>
                    <a:pt x="24" y="1064"/>
                  </a:lnTo>
                  <a:lnTo>
                    <a:pt x="10" y="990"/>
                  </a:lnTo>
                  <a:lnTo>
                    <a:pt x="2" y="914"/>
                  </a:lnTo>
                  <a:lnTo>
                    <a:pt x="0" y="834"/>
                  </a:lnTo>
                  <a:lnTo>
                    <a:pt x="2" y="752"/>
                  </a:lnTo>
                  <a:lnTo>
                    <a:pt x="11" y="672"/>
                  </a:lnTo>
                  <a:lnTo>
                    <a:pt x="27" y="594"/>
                  </a:lnTo>
                  <a:lnTo>
                    <a:pt x="48" y="520"/>
                  </a:lnTo>
                  <a:lnTo>
                    <a:pt x="74" y="450"/>
                  </a:lnTo>
                  <a:lnTo>
                    <a:pt x="106" y="384"/>
                  </a:lnTo>
                  <a:lnTo>
                    <a:pt x="144" y="323"/>
                  </a:lnTo>
                  <a:lnTo>
                    <a:pt x="187" y="264"/>
                  </a:lnTo>
                  <a:lnTo>
                    <a:pt x="235" y="212"/>
                  </a:lnTo>
                  <a:lnTo>
                    <a:pt x="288" y="165"/>
                  </a:lnTo>
                  <a:lnTo>
                    <a:pt x="345" y="123"/>
                  </a:lnTo>
                  <a:lnTo>
                    <a:pt x="406" y="86"/>
                  </a:lnTo>
                  <a:lnTo>
                    <a:pt x="472" y="56"/>
                  </a:lnTo>
                  <a:lnTo>
                    <a:pt x="542" y="32"/>
                  </a:lnTo>
                  <a:lnTo>
                    <a:pt x="617" y="15"/>
                  </a:lnTo>
                  <a:lnTo>
                    <a:pt x="694" y="3"/>
                  </a:lnTo>
                  <a:lnTo>
                    <a:pt x="776"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64" name="Freeform 9">
              <a:extLst>
                <a:ext uri="{FF2B5EF4-FFF2-40B4-BE49-F238E27FC236}">
                  <a16:creationId xmlns:a16="http://schemas.microsoft.com/office/drawing/2014/main" id="{F5318B76-9482-4F01-A73F-4ACB648D06A4}"/>
                </a:ext>
              </a:extLst>
            </p:cNvPr>
            <p:cNvSpPr>
              <a:spLocks/>
            </p:cNvSpPr>
            <p:nvPr/>
          </p:nvSpPr>
          <p:spPr bwMode="auto">
            <a:xfrm>
              <a:off x="2366569" y="4061336"/>
              <a:ext cx="72841" cy="94747"/>
            </a:xfrm>
            <a:custGeom>
              <a:avLst/>
              <a:gdLst>
                <a:gd name="T0" fmla="*/ 0 w 1227"/>
                <a:gd name="T1" fmla="*/ 0 h 1594"/>
                <a:gd name="T2" fmla="*/ 1227 w 1227"/>
                <a:gd name="T3" fmla="*/ 0 h 1594"/>
                <a:gd name="T4" fmla="*/ 1227 w 1227"/>
                <a:gd name="T5" fmla="*/ 304 h 1594"/>
                <a:gd name="T6" fmla="*/ 791 w 1227"/>
                <a:gd name="T7" fmla="*/ 304 h 1594"/>
                <a:gd name="T8" fmla="*/ 791 w 1227"/>
                <a:gd name="T9" fmla="*/ 1594 h 1594"/>
                <a:gd name="T10" fmla="*/ 428 w 1227"/>
                <a:gd name="T11" fmla="*/ 1594 h 1594"/>
                <a:gd name="T12" fmla="*/ 428 w 1227"/>
                <a:gd name="T13" fmla="*/ 304 h 1594"/>
                <a:gd name="T14" fmla="*/ 0 w 1227"/>
                <a:gd name="T15" fmla="*/ 304 h 1594"/>
                <a:gd name="T16" fmla="*/ 0 w 1227"/>
                <a:gd name="T17" fmla="*/ 0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7" h="1594">
                  <a:moveTo>
                    <a:pt x="0" y="0"/>
                  </a:moveTo>
                  <a:lnTo>
                    <a:pt x="1227" y="0"/>
                  </a:lnTo>
                  <a:lnTo>
                    <a:pt x="1227" y="304"/>
                  </a:lnTo>
                  <a:lnTo>
                    <a:pt x="791" y="304"/>
                  </a:lnTo>
                  <a:lnTo>
                    <a:pt x="791" y="1594"/>
                  </a:lnTo>
                  <a:lnTo>
                    <a:pt x="428" y="1594"/>
                  </a:lnTo>
                  <a:lnTo>
                    <a:pt x="428" y="304"/>
                  </a:lnTo>
                  <a:lnTo>
                    <a:pt x="0" y="304"/>
                  </a:lnTo>
                  <a:lnTo>
                    <a:pt x="0" y="0"/>
                  </a:lnTo>
                  <a:close/>
                </a:path>
              </a:pathLst>
            </a:custGeom>
            <a:solidFill>
              <a:schemeClr val="accent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65" name="Freeform 6">
              <a:extLst>
                <a:ext uri="{FF2B5EF4-FFF2-40B4-BE49-F238E27FC236}">
                  <a16:creationId xmlns:a16="http://schemas.microsoft.com/office/drawing/2014/main" id="{D6A6E4C5-E79A-4AEC-ACB7-5647A67C749A}"/>
                </a:ext>
              </a:extLst>
            </p:cNvPr>
            <p:cNvSpPr>
              <a:spLocks noEditPoints="1"/>
            </p:cNvSpPr>
            <p:nvPr/>
          </p:nvSpPr>
          <p:spPr bwMode="auto">
            <a:xfrm>
              <a:off x="1895943" y="4205326"/>
              <a:ext cx="285843" cy="239181"/>
            </a:xfrm>
            <a:custGeom>
              <a:avLst/>
              <a:gdLst>
                <a:gd name="T0" fmla="*/ 508 w 4815"/>
                <a:gd name="T1" fmla="*/ 222 h 4030"/>
                <a:gd name="T2" fmla="*/ 406 w 4815"/>
                <a:gd name="T3" fmla="*/ 256 h 4030"/>
                <a:gd name="T4" fmla="*/ 320 w 4815"/>
                <a:gd name="T5" fmla="*/ 319 h 4030"/>
                <a:gd name="T6" fmla="*/ 257 w 4815"/>
                <a:gd name="T7" fmla="*/ 405 h 4030"/>
                <a:gd name="T8" fmla="*/ 222 w 4815"/>
                <a:gd name="T9" fmla="*/ 509 h 4030"/>
                <a:gd name="T10" fmla="*/ 217 w 4815"/>
                <a:gd name="T11" fmla="*/ 2579 h 4030"/>
                <a:gd name="T12" fmla="*/ 235 w 4815"/>
                <a:gd name="T13" fmla="*/ 2688 h 4030"/>
                <a:gd name="T14" fmla="*/ 285 w 4815"/>
                <a:gd name="T15" fmla="*/ 2783 h 4030"/>
                <a:gd name="T16" fmla="*/ 359 w 4815"/>
                <a:gd name="T17" fmla="*/ 2859 h 4030"/>
                <a:gd name="T18" fmla="*/ 456 w 4815"/>
                <a:gd name="T19" fmla="*/ 2909 h 4030"/>
                <a:gd name="T20" fmla="*/ 565 w 4815"/>
                <a:gd name="T21" fmla="*/ 2926 h 4030"/>
                <a:gd name="T22" fmla="*/ 1115 w 4815"/>
                <a:gd name="T23" fmla="*/ 2929 h 4030"/>
                <a:gd name="T24" fmla="*/ 1163 w 4815"/>
                <a:gd name="T25" fmla="*/ 2957 h 4030"/>
                <a:gd name="T26" fmla="*/ 1618 w 4815"/>
                <a:gd name="T27" fmla="*/ 3712 h 4030"/>
                <a:gd name="T28" fmla="*/ 2089 w 4815"/>
                <a:gd name="T29" fmla="*/ 2957 h 4030"/>
                <a:gd name="T30" fmla="*/ 2136 w 4815"/>
                <a:gd name="T31" fmla="*/ 2929 h 4030"/>
                <a:gd name="T32" fmla="*/ 4249 w 4815"/>
                <a:gd name="T33" fmla="*/ 2926 h 4030"/>
                <a:gd name="T34" fmla="*/ 4360 w 4815"/>
                <a:gd name="T35" fmla="*/ 2909 h 4030"/>
                <a:gd name="T36" fmla="*/ 4455 w 4815"/>
                <a:gd name="T37" fmla="*/ 2859 h 4030"/>
                <a:gd name="T38" fmla="*/ 4530 w 4815"/>
                <a:gd name="T39" fmla="*/ 2783 h 4030"/>
                <a:gd name="T40" fmla="*/ 4579 w 4815"/>
                <a:gd name="T41" fmla="*/ 2688 h 4030"/>
                <a:gd name="T42" fmla="*/ 4597 w 4815"/>
                <a:gd name="T43" fmla="*/ 2579 h 4030"/>
                <a:gd name="T44" fmla="*/ 4593 w 4815"/>
                <a:gd name="T45" fmla="*/ 509 h 4030"/>
                <a:gd name="T46" fmla="*/ 4559 w 4815"/>
                <a:gd name="T47" fmla="*/ 405 h 4030"/>
                <a:gd name="T48" fmla="*/ 4496 w 4815"/>
                <a:gd name="T49" fmla="*/ 319 h 4030"/>
                <a:gd name="T50" fmla="*/ 4410 w 4815"/>
                <a:gd name="T51" fmla="*/ 256 h 4030"/>
                <a:gd name="T52" fmla="*/ 4306 w 4815"/>
                <a:gd name="T53" fmla="*/ 222 h 4030"/>
                <a:gd name="T54" fmla="*/ 565 w 4815"/>
                <a:gd name="T55" fmla="*/ 218 h 4030"/>
                <a:gd name="T56" fmla="*/ 4249 w 4815"/>
                <a:gd name="T57" fmla="*/ 0 h 4030"/>
                <a:gd name="T58" fmla="*/ 4389 w 4815"/>
                <a:gd name="T59" fmla="*/ 16 h 4030"/>
                <a:gd name="T60" fmla="*/ 4515 w 4815"/>
                <a:gd name="T61" fmla="*/ 66 h 4030"/>
                <a:gd name="T62" fmla="*/ 4625 w 4815"/>
                <a:gd name="T63" fmla="*/ 142 h 4030"/>
                <a:gd name="T64" fmla="*/ 4714 w 4815"/>
                <a:gd name="T65" fmla="*/ 243 h 4030"/>
                <a:gd name="T66" fmla="*/ 4777 w 4815"/>
                <a:gd name="T67" fmla="*/ 361 h 4030"/>
                <a:gd name="T68" fmla="*/ 4810 w 4815"/>
                <a:gd name="T69" fmla="*/ 494 h 4030"/>
                <a:gd name="T70" fmla="*/ 4815 w 4815"/>
                <a:gd name="T71" fmla="*/ 2579 h 4030"/>
                <a:gd name="T72" fmla="*/ 4797 w 4815"/>
                <a:gd name="T73" fmla="*/ 2717 h 4030"/>
                <a:gd name="T74" fmla="*/ 4749 w 4815"/>
                <a:gd name="T75" fmla="*/ 2844 h 4030"/>
                <a:gd name="T76" fmla="*/ 4673 w 4815"/>
                <a:gd name="T77" fmla="*/ 2954 h 4030"/>
                <a:gd name="T78" fmla="*/ 4572 w 4815"/>
                <a:gd name="T79" fmla="*/ 3043 h 4030"/>
                <a:gd name="T80" fmla="*/ 4454 w 4815"/>
                <a:gd name="T81" fmla="*/ 3106 h 4030"/>
                <a:gd name="T82" fmla="*/ 4321 w 4815"/>
                <a:gd name="T83" fmla="*/ 3139 h 4030"/>
                <a:gd name="T84" fmla="*/ 2225 w 4815"/>
                <a:gd name="T85" fmla="*/ 3144 h 4030"/>
                <a:gd name="T86" fmla="*/ 1693 w 4815"/>
                <a:gd name="T87" fmla="*/ 4001 h 4030"/>
                <a:gd name="T88" fmla="*/ 1645 w 4815"/>
                <a:gd name="T89" fmla="*/ 4027 h 4030"/>
                <a:gd name="T90" fmla="*/ 1617 w 4815"/>
                <a:gd name="T91" fmla="*/ 4030 h 4030"/>
                <a:gd name="T92" fmla="*/ 1563 w 4815"/>
                <a:gd name="T93" fmla="*/ 4015 h 4030"/>
                <a:gd name="T94" fmla="*/ 1523 w 4815"/>
                <a:gd name="T95" fmla="*/ 3977 h 4030"/>
                <a:gd name="T96" fmla="*/ 565 w 4815"/>
                <a:gd name="T97" fmla="*/ 3144 h 4030"/>
                <a:gd name="T98" fmla="*/ 427 w 4815"/>
                <a:gd name="T99" fmla="*/ 3126 h 4030"/>
                <a:gd name="T100" fmla="*/ 299 w 4815"/>
                <a:gd name="T101" fmla="*/ 3078 h 4030"/>
                <a:gd name="T102" fmla="*/ 190 w 4815"/>
                <a:gd name="T103" fmla="*/ 3001 h 4030"/>
                <a:gd name="T104" fmla="*/ 100 w 4815"/>
                <a:gd name="T105" fmla="*/ 2901 h 4030"/>
                <a:gd name="T106" fmla="*/ 38 w 4815"/>
                <a:gd name="T107" fmla="*/ 2783 h 4030"/>
                <a:gd name="T108" fmla="*/ 4 w 4815"/>
                <a:gd name="T109" fmla="*/ 2650 h 4030"/>
                <a:gd name="T110" fmla="*/ 0 w 4815"/>
                <a:gd name="T111" fmla="*/ 564 h 4030"/>
                <a:gd name="T112" fmla="*/ 17 w 4815"/>
                <a:gd name="T113" fmla="*/ 425 h 4030"/>
                <a:gd name="T114" fmla="*/ 65 w 4815"/>
                <a:gd name="T115" fmla="*/ 300 h 4030"/>
                <a:gd name="T116" fmla="*/ 143 w 4815"/>
                <a:gd name="T117" fmla="*/ 190 h 4030"/>
                <a:gd name="T118" fmla="*/ 242 w 4815"/>
                <a:gd name="T119" fmla="*/ 101 h 4030"/>
                <a:gd name="T120" fmla="*/ 361 w 4815"/>
                <a:gd name="T121" fmla="*/ 38 h 4030"/>
                <a:gd name="T122" fmla="*/ 494 w 4815"/>
                <a:gd name="T123" fmla="*/ 5 h 4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15" h="4030">
                  <a:moveTo>
                    <a:pt x="565" y="218"/>
                  </a:moveTo>
                  <a:lnTo>
                    <a:pt x="508" y="222"/>
                  </a:lnTo>
                  <a:lnTo>
                    <a:pt x="456" y="235"/>
                  </a:lnTo>
                  <a:lnTo>
                    <a:pt x="406" y="256"/>
                  </a:lnTo>
                  <a:lnTo>
                    <a:pt x="359" y="285"/>
                  </a:lnTo>
                  <a:lnTo>
                    <a:pt x="320" y="319"/>
                  </a:lnTo>
                  <a:lnTo>
                    <a:pt x="285" y="360"/>
                  </a:lnTo>
                  <a:lnTo>
                    <a:pt x="257" y="405"/>
                  </a:lnTo>
                  <a:lnTo>
                    <a:pt x="235" y="454"/>
                  </a:lnTo>
                  <a:lnTo>
                    <a:pt x="222" y="509"/>
                  </a:lnTo>
                  <a:lnTo>
                    <a:pt x="217" y="564"/>
                  </a:lnTo>
                  <a:lnTo>
                    <a:pt x="217" y="2579"/>
                  </a:lnTo>
                  <a:lnTo>
                    <a:pt x="222" y="2636"/>
                  </a:lnTo>
                  <a:lnTo>
                    <a:pt x="235" y="2688"/>
                  </a:lnTo>
                  <a:lnTo>
                    <a:pt x="257" y="2738"/>
                  </a:lnTo>
                  <a:lnTo>
                    <a:pt x="285" y="2783"/>
                  </a:lnTo>
                  <a:lnTo>
                    <a:pt x="320" y="2824"/>
                  </a:lnTo>
                  <a:lnTo>
                    <a:pt x="359" y="2859"/>
                  </a:lnTo>
                  <a:lnTo>
                    <a:pt x="406" y="2887"/>
                  </a:lnTo>
                  <a:lnTo>
                    <a:pt x="456" y="2909"/>
                  </a:lnTo>
                  <a:lnTo>
                    <a:pt x="508" y="2922"/>
                  </a:lnTo>
                  <a:lnTo>
                    <a:pt x="565" y="2926"/>
                  </a:lnTo>
                  <a:lnTo>
                    <a:pt x="1087" y="2926"/>
                  </a:lnTo>
                  <a:lnTo>
                    <a:pt x="1115" y="2929"/>
                  </a:lnTo>
                  <a:lnTo>
                    <a:pt x="1142" y="2941"/>
                  </a:lnTo>
                  <a:lnTo>
                    <a:pt x="1163" y="2957"/>
                  </a:lnTo>
                  <a:lnTo>
                    <a:pt x="1181" y="2979"/>
                  </a:lnTo>
                  <a:lnTo>
                    <a:pt x="1618" y="3712"/>
                  </a:lnTo>
                  <a:lnTo>
                    <a:pt x="2072" y="2977"/>
                  </a:lnTo>
                  <a:lnTo>
                    <a:pt x="2089" y="2957"/>
                  </a:lnTo>
                  <a:lnTo>
                    <a:pt x="2111" y="2939"/>
                  </a:lnTo>
                  <a:lnTo>
                    <a:pt x="2136" y="2929"/>
                  </a:lnTo>
                  <a:lnTo>
                    <a:pt x="2164" y="2926"/>
                  </a:lnTo>
                  <a:lnTo>
                    <a:pt x="4249" y="2926"/>
                  </a:lnTo>
                  <a:lnTo>
                    <a:pt x="4306" y="2922"/>
                  </a:lnTo>
                  <a:lnTo>
                    <a:pt x="4360" y="2909"/>
                  </a:lnTo>
                  <a:lnTo>
                    <a:pt x="4410" y="2887"/>
                  </a:lnTo>
                  <a:lnTo>
                    <a:pt x="4455" y="2859"/>
                  </a:lnTo>
                  <a:lnTo>
                    <a:pt x="4496" y="2824"/>
                  </a:lnTo>
                  <a:lnTo>
                    <a:pt x="4530" y="2783"/>
                  </a:lnTo>
                  <a:lnTo>
                    <a:pt x="4559" y="2738"/>
                  </a:lnTo>
                  <a:lnTo>
                    <a:pt x="4579" y="2688"/>
                  </a:lnTo>
                  <a:lnTo>
                    <a:pt x="4593" y="2636"/>
                  </a:lnTo>
                  <a:lnTo>
                    <a:pt x="4597" y="2579"/>
                  </a:lnTo>
                  <a:lnTo>
                    <a:pt x="4597" y="564"/>
                  </a:lnTo>
                  <a:lnTo>
                    <a:pt x="4593" y="509"/>
                  </a:lnTo>
                  <a:lnTo>
                    <a:pt x="4579" y="454"/>
                  </a:lnTo>
                  <a:lnTo>
                    <a:pt x="4559" y="405"/>
                  </a:lnTo>
                  <a:lnTo>
                    <a:pt x="4530" y="360"/>
                  </a:lnTo>
                  <a:lnTo>
                    <a:pt x="4496" y="319"/>
                  </a:lnTo>
                  <a:lnTo>
                    <a:pt x="4455" y="285"/>
                  </a:lnTo>
                  <a:lnTo>
                    <a:pt x="4410" y="256"/>
                  </a:lnTo>
                  <a:lnTo>
                    <a:pt x="4360" y="235"/>
                  </a:lnTo>
                  <a:lnTo>
                    <a:pt x="4306" y="222"/>
                  </a:lnTo>
                  <a:lnTo>
                    <a:pt x="4249" y="218"/>
                  </a:lnTo>
                  <a:lnTo>
                    <a:pt x="565" y="218"/>
                  </a:lnTo>
                  <a:close/>
                  <a:moveTo>
                    <a:pt x="565" y="0"/>
                  </a:moveTo>
                  <a:lnTo>
                    <a:pt x="4249" y="0"/>
                  </a:lnTo>
                  <a:lnTo>
                    <a:pt x="4321" y="5"/>
                  </a:lnTo>
                  <a:lnTo>
                    <a:pt x="4389" y="16"/>
                  </a:lnTo>
                  <a:lnTo>
                    <a:pt x="4454" y="38"/>
                  </a:lnTo>
                  <a:lnTo>
                    <a:pt x="4515" y="66"/>
                  </a:lnTo>
                  <a:lnTo>
                    <a:pt x="4572" y="101"/>
                  </a:lnTo>
                  <a:lnTo>
                    <a:pt x="4625" y="142"/>
                  </a:lnTo>
                  <a:lnTo>
                    <a:pt x="4673" y="190"/>
                  </a:lnTo>
                  <a:lnTo>
                    <a:pt x="4714" y="243"/>
                  </a:lnTo>
                  <a:lnTo>
                    <a:pt x="4749" y="300"/>
                  </a:lnTo>
                  <a:lnTo>
                    <a:pt x="4777" y="361"/>
                  </a:lnTo>
                  <a:lnTo>
                    <a:pt x="4797" y="425"/>
                  </a:lnTo>
                  <a:lnTo>
                    <a:pt x="4810" y="494"/>
                  </a:lnTo>
                  <a:lnTo>
                    <a:pt x="4815" y="564"/>
                  </a:lnTo>
                  <a:lnTo>
                    <a:pt x="4815" y="2579"/>
                  </a:lnTo>
                  <a:lnTo>
                    <a:pt x="4810" y="2650"/>
                  </a:lnTo>
                  <a:lnTo>
                    <a:pt x="4797" y="2717"/>
                  </a:lnTo>
                  <a:lnTo>
                    <a:pt x="4777" y="2783"/>
                  </a:lnTo>
                  <a:lnTo>
                    <a:pt x="4749" y="2844"/>
                  </a:lnTo>
                  <a:lnTo>
                    <a:pt x="4714" y="2901"/>
                  </a:lnTo>
                  <a:lnTo>
                    <a:pt x="4673" y="2954"/>
                  </a:lnTo>
                  <a:lnTo>
                    <a:pt x="4625" y="3001"/>
                  </a:lnTo>
                  <a:lnTo>
                    <a:pt x="4572" y="3043"/>
                  </a:lnTo>
                  <a:lnTo>
                    <a:pt x="4515" y="3078"/>
                  </a:lnTo>
                  <a:lnTo>
                    <a:pt x="4454" y="3106"/>
                  </a:lnTo>
                  <a:lnTo>
                    <a:pt x="4389" y="3126"/>
                  </a:lnTo>
                  <a:lnTo>
                    <a:pt x="4321" y="3139"/>
                  </a:lnTo>
                  <a:lnTo>
                    <a:pt x="4249" y="3144"/>
                  </a:lnTo>
                  <a:lnTo>
                    <a:pt x="2225" y="3144"/>
                  </a:lnTo>
                  <a:lnTo>
                    <a:pt x="1710" y="3979"/>
                  </a:lnTo>
                  <a:lnTo>
                    <a:pt x="1693" y="4001"/>
                  </a:lnTo>
                  <a:lnTo>
                    <a:pt x="1671" y="4017"/>
                  </a:lnTo>
                  <a:lnTo>
                    <a:pt x="1645" y="4027"/>
                  </a:lnTo>
                  <a:lnTo>
                    <a:pt x="1617" y="4030"/>
                  </a:lnTo>
                  <a:lnTo>
                    <a:pt x="1617" y="4030"/>
                  </a:lnTo>
                  <a:lnTo>
                    <a:pt x="1589" y="4027"/>
                  </a:lnTo>
                  <a:lnTo>
                    <a:pt x="1563" y="4015"/>
                  </a:lnTo>
                  <a:lnTo>
                    <a:pt x="1541" y="3999"/>
                  </a:lnTo>
                  <a:lnTo>
                    <a:pt x="1523" y="3977"/>
                  </a:lnTo>
                  <a:lnTo>
                    <a:pt x="1026" y="3144"/>
                  </a:lnTo>
                  <a:lnTo>
                    <a:pt x="565" y="3144"/>
                  </a:lnTo>
                  <a:lnTo>
                    <a:pt x="494" y="3139"/>
                  </a:lnTo>
                  <a:lnTo>
                    <a:pt x="427" y="3126"/>
                  </a:lnTo>
                  <a:lnTo>
                    <a:pt x="361" y="3106"/>
                  </a:lnTo>
                  <a:lnTo>
                    <a:pt x="299" y="3078"/>
                  </a:lnTo>
                  <a:lnTo>
                    <a:pt x="242" y="3043"/>
                  </a:lnTo>
                  <a:lnTo>
                    <a:pt x="190" y="3001"/>
                  </a:lnTo>
                  <a:lnTo>
                    <a:pt x="143" y="2954"/>
                  </a:lnTo>
                  <a:lnTo>
                    <a:pt x="100" y="2901"/>
                  </a:lnTo>
                  <a:lnTo>
                    <a:pt x="65" y="2844"/>
                  </a:lnTo>
                  <a:lnTo>
                    <a:pt x="38" y="2783"/>
                  </a:lnTo>
                  <a:lnTo>
                    <a:pt x="17" y="2717"/>
                  </a:lnTo>
                  <a:lnTo>
                    <a:pt x="4" y="2650"/>
                  </a:lnTo>
                  <a:lnTo>
                    <a:pt x="0" y="2579"/>
                  </a:lnTo>
                  <a:lnTo>
                    <a:pt x="0" y="564"/>
                  </a:lnTo>
                  <a:lnTo>
                    <a:pt x="4" y="494"/>
                  </a:lnTo>
                  <a:lnTo>
                    <a:pt x="17" y="425"/>
                  </a:lnTo>
                  <a:lnTo>
                    <a:pt x="38" y="361"/>
                  </a:lnTo>
                  <a:lnTo>
                    <a:pt x="65" y="300"/>
                  </a:lnTo>
                  <a:lnTo>
                    <a:pt x="100" y="243"/>
                  </a:lnTo>
                  <a:lnTo>
                    <a:pt x="143" y="190"/>
                  </a:lnTo>
                  <a:lnTo>
                    <a:pt x="190" y="142"/>
                  </a:lnTo>
                  <a:lnTo>
                    <a:pt x="242" y="101"/>
                  </a:lnTo>
                  <a:lnTo>
                    <a:pt x="299" y="66"/>
                  </a:lnTo>
                  <a:lnTo>
                    <a:pt x="361" y="38"/>
                  </a:lnTo>
                  <a:lnTo>
                    <a:pt x="427" y="16"/>
                  </a:lnTo>
                  <a:lnTo>
                    <a:pt x="494" y="5"/>
                  </a:lnTo>
                  <a:lnTo>
                    <a:pt x="565"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66" name="Rectangle 7">
              <a:extLst>
                <a:ext uri="{FF2B5EF4-FFF2-40B4-BE49-F238E27FC236}">
                  <a16:creationId xmlns:a16="http://schemas.microsoft.com/office/drawing/2014/main" id="{39181450-B640-4FD1-B8D4-7AACC9F765BD}"/>
                </a:ext>
              </a:extLst>
            </p:cNvPr>
            <p:cNvSpPr>
              <a:spLocks noChangeArrowheads="1"/>
            </p:cNvSpPr>
            <p:nvPr/>
          </p:nvSpPr>
          <p:spPr bwMode="auto">
            <a:xfrm>
              <a:off x="1931562" y="4245575"/>
              <a:ext cx="21549" cy="94747"/>
            </a:xfrm>
            <a:prstGeom prst="rect">
              <a:avLst/>
            </a:prstGeom>
            <a:solidFill>
              <a:schemeClr val="bg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fr-BE"/>
            </a:p>
          </p:txBody>
        </p:sp>
        <p:sp>
          <p:nvSpPr>
            <p:cNvPr id="67" name="Freeform 8">
              <a:extLst>
                <a:ext uri="{FF2B5EF4-FFF2-40B4-BE49-F238E27FC236}">
                  <a16:creationId xmlns:a16="http://schemas.microsoft.com/office/drawing/2014/main" id="{D62057FE-68AD-4E2A-85A2-FA3663FB5CCE}"/>
                </a:ext>
              </a:extLst>
            </p:cNvPr>
            <p:cNvSpPr>
              <a:spLocks noEditPoints="1"/>
            </p:cNvSpPr>
            <p:nvPr/>
          </p:nvSpPr>
          <p:spPr bwMode="auto">
            <a:xfrm>
              <a:off x="1978757" y="4244151"/>
              <a:ext cx="91007" cy="97774"/>
            </a:xfrm>
            <a:custGeom>
              <a:avLst/>
              <a:gdLst>
                <a:gd name="T0" fmla="*/ 716 w 1533"/>
                <a:gd name="T1" fmla="*/ 289 h 1646"/>
                <a:gd name="T2" fmla="*/ 624 w 1533"/>
                <a:gd name="T3" fmla="*/ 317 h 1646"/>
                <a:gd name="T4" fmla="*/ 546 w 1533"/>
                <a:gd name="T5" fmla="*/ 368 h 1646"/>
                <a:gd name="T6" fmla="*/ 482 w 1533"/>
                <a:gd name="T7" fmla="*/ 441 h 1646"/>
                <a:gd name="T8" fmla="*/ 432 w 1533"/>
                <a:gd name="T9" fmla="*/ 532 h 1646"/>
                <a:gd name="T10" fmla="*/ 399 w 1533"/>
                <a:gd name="T11" fmla="*/ 641 h 1646"/>
                <a:gd name="T12" fmla="*/ 383 w 1533"/>
                <a:gd name="T13" fmla="*/ 762 h 1646"/>
                <a:gd name="T14" fmla="*/ 383 w 1533"/>
                <a:gd name="T15" fmla="*/ 898 h 1646"/>
                <a:gd name="T16" fmla="*/ 403 w 1533"/>
                <a:gd name="T17" fmla="*/ 1026 h 1646"/>
                <a:gd name="T18" fmla="*/ 443 w 1533"/>
                <a:gd name="T19" fmla="*/ 1139 h 1646"/>
                <a:gd name="T20" fmla="*/ 500 w 1533"/>
                <a:gd name="T21" fmla="*/ 1231 h 1646"/>
                <a:gd name="T22" fmla="*/ 574 w 1533"/>
                <a:gd name="T23" fmla="*/ 1301 h 1646"/>
                <a:gd name="T24" fmla="*/ 663 w 1533"/>
                <a:gd name="T25" fmla="*/ 1345 h 1646"/>
                <a:gd name="T26" fmla="*/ 769 w 1533"/>
                <a:gd name="T27" fmla="*/ 1359 h 1646"/>
                <a:gd name="T28" fmla="*/ 867 w 1533"/>
                <a:gd name="T29" fmla="*/ 1346 h 1646"/>
                <a:gd name="T30" fmla="*/ 951 w 1533"/>
                <a:gd name="T31" fmla="*/ 1307 h 1646"/>
                <a:gd name="T32" fmla="*/ 1022 w 1533"/>
                <a:gd name="T33" fmla="*/ 1244 h 1646"/>
                <a:gd name="T34" fmla="*/ 1079 w 1533"/>
                <a:gd name="T35" fmla="*/ 1161 h 1646"/>
                <a:gd name="T36" fmla="*/ 1118 w 1533"/>
                <a:gd name="T37" fmla="*/ 1060 h 1646"/>
                <a:gd name="T38" fmla="*/ 1144 w 1533"/>
                <a:gd name="T39" fmla="*/ 945 h 1646"/>
                <a:gd name="T40" fmla="*/ 1152 w 1533"/>
                <a:gd name="T41" fmla="*/ 818 h 1646"/>
                <a:gd name="T42" fmla="*/ 1144 w 1533"/>
                <a:gd name="T43" fmla="*/ 698 h 1646"/>
                <a:gd name="T44" fmla="*/ 1120 w 1533"/>
                <a:gd name="T45" fmla="*/ 587 h 1646"/>
                <a:gd name="T46" fmla="*/ 1079 w 1533"/>
                <a:gd name="T47" fmla="*/ 488 h 1646"/>
                <a:gd name="T48" fmla="*/ 1023 w 1533"/>
                <a:gd name="T49" fmla="*/ 405 h 1646"/>
                <a:gd name="T50" fmla="*/ 951 w 1533"/>
                <a:gd name="T51" fmla="*/ 342 h 1646"/>
                <a:gd name="T52" fmla="*/ 867 w 1533"/>
                <a:gd name="T53" fmla="*/ 301 h 1646"/>
                <a:gd name="T54" fmla="*/ 766 w 1533"/>
                <a:gd name="T55" fmla="*/ 286 h 1646"/>
                <a:gd name="T56" fmla="*/ 855 w 1533"/>
                <a:gd name="T57" fmla="*/ 3 h 1646"/>
                <a:gd name="T58" fmla="*/ 1003 w 1533"/>
                <a:gd name="T59" fmla="*/ 29 h 1646"/>
                <a:gd name="T60" fmla="*/ 1131 w 1533"/>
                <a:gd name="T61" fmla="*/ 77 h 1646"/>
                <a:gd name="T62" fmla="*/ 1244 w 1533"/>
                <a:gd name="T63" fmla="*/ 149 h 1646"/>
                <a:gd name="T64" fmla="*/ 1339 w 1533"/>
                <a:gd name="T65" fmla="*/ 238 h 1646"/>
                <a:gd name="T66" fmla="*/ 1415 w 1533"/>
                <a:gd name="T67" fmla="*/ 343 h 1646"/>
                <a:gd name="T68" fmla="*/ 1472 w 1533"/>
                <a:gd name="T69" fmla="*/ 463 h 1646"/>
                <a:gd name="T70" fmla="*/ 1512 w 1533"/>
                <a:gd name="T71" fmla="*/ 593 h 1646"/>
                <a:gd name="T72" fmla="*/ 1531 w 1533"/>
                <a:gd name="T73" fmla="*/ 733 h 1646"/>
                <a:gd name="T74" fmla="*/ 1531 w 1533"/>
                <a:gd name="T75" fmla="*/ 897 h 1646"/>
                <a:gd name="T76" fmla="*/ 1506 w 1533"/>
                <a:gd name="T77" fmla="*/ 1063 h 1646"/>
                <a:gd name="T78" fmla="*/ 1456 w 1533"/>
                <a:gd name="T79" fmla="*/ 1210 h 1646"/>
                <a:gd name="T80" fmla="*/ 1384 w 1533"/>
                <a:gd name="T81" fmla="*/ 1339 h 1646"/>
                <a:gd name="T82" fmla="*/ 1292 w 1533"/>
                <a:gd name="T83" fmla="*/ 1447 h 1646"/>
                <a:gd name="T84" fmla="*/ 1181 w 1533"/>
                <a:gd name="T85" fmla="*/ 1532 h 1646"/>
                <a:gd name="T86" fmla="*/ 1052 w 1533"/>
                <a:gd name="T87" fmla="*/ 1594 h 1646"/>
                <a:gd name="T88" fmla="*/ 908 w 1533"/>
                <a:gd name="T89" fmla="*/ 1632 h 1646"/>
                <a:gd name="T90" fmla="*/ 750 w 1533"/>
                <a:gd name="T91" fmla="*/ 1646 h 1646"/>
                <a:gd name="T92" fmla="*/ 590 w 1533"/>
                <a:gd name="T93" fmla="*/ 1631 h 1646"/>
                <a:gd name="T94" fmla="*/ 448 w 1533"/>
                <a:gd name="T95" fmla="*/ 1590 h 1646"/>
                <a:gd name="T96" fmla="*/ 326 w 1533"/>
                <a:gd name="T97" fmla="*/ 1523 h 1646"/>
                <a:gd name="T98" fmla="*/ 220 w 1533"/>
                <a:gd name="T99" fmla="*/ 1435 h 1646"/>
                <a:gd name="T100" fmla="*/ 134 w 1533"/>
                <a:gd name="T101" fmla="*/ 1327 h 1646"/>
                <a:gd name="T102" fmla="*/ 68 w 1533"/>
                <a:gd name="T103" fmla="*/ 1203 h 1646"/>
                <a:gd name="T104" fmla="*/ 24 w 1533"/>
                <a:gd name="T105" fmla="*/ 1064 h 1646"/>
                <a:gd name="T106" fmla="*/ 2 w 1533"/>
                <a:gd name="T107" fmla="*/ 914 h 1646"/>
                <a:gd name="T108" fmla="*/ 2 w 1533"/>
                <a:gd name="T109" fmla="*/ 752 h 1646"/>
                <a:gd name="T110" fmla="*/ 27 w 1533"/>
                <a:gd name="T111" fmla="*/ 594 h 1646"/>
                <a:gd name="T112" fmla="*/ 74 w 1533"/>
                <a:gd name="T113" fmla="*/ 450 h 1646"/>
                <a:gd name="T114" fmla="*/ 144 w 1533"/>
                <a:gd name="T115" fmla="*/ 323 h 1646"/>
                <a:gd name="T116" fmla="*/ 235 w 1533"/>
                <a:gd name="T117" fmla="*/ 212 h 1646"/>
                <a:gd name="T118" fmla="*/ 345 w 1533"/>
                <a:gd name="T119" fmla="*/ 123 h 1646"/>
                <a:gd name="T120" fmla="*/ 472 w 1533"/>
                <a:gd name="T121" fmla="*/ 56 h 1646"/>
                <a:gd name="T122" fmla="*/ 617 w 1533"/>
                <a:gd name="T123" fmla="*/ 15 h 1646"/>
                <a:gd name="T124" fmla="*/ 776 w 1533"/>
                <a:gd name="T125" fmla="*/ 0 h 1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3" h="1646">
                  <a:moveTo>
                    <a:pt x="766" y="286"/>
                  </a:moveTo>
                  <a:lnTo>
                    <a:pt x="716" y="289"/>
                  </a:lnTo>
                  <a:lnTo>
                    <a:pt x="668" y="299"/>
                  </a:lnTo>
                  <a:lnTo>
                    <a:pt x="624" y="317"/>
                  </a:lnTo>
                  <a:lnTo>
                    <a:pt x="583" y="339"/>
                  </a:lnTo>
                  <a:lnTo>
                    <a:pt x="546" y="368"/>
                  </a:lnTo>
                  <a:lnTo>
                    <a:pt x="511" y="402"/>
                  </a:lnTo>
                  <a:lnTo>
                    <a:pt x="482" y="441"/>
                  </a:lnTo>
                  <a:lnTo>
                    <a:pt x="456" y="483"/>
                  </a:lnTo>
                  <a:lnTo>
                    <a:pt x="432" y="532"/>
                  </a:lnTo>
                  <a:lnTo>
                    <a:pt x="415" y="584"/>
                  </a:lnTo>
                  <a:lnTo>
                    <a:pt x="399" y="641"/>
                  </a:lnTo>
                  <a:lnTo>
                    <a:pt x="388" y="699"/>
                  </a:lnTo>
                  <a:lnTo>
                    <a:pt x="383" y="762"/>
                  </a:lnTo>
                  <a:lnTo>
                    <a:pt x="380" y="828"/>
                  </a:lnTo>
                  <a:lnTo>
                    <a:pt x="383" y="898"/>
                  </a:lnTo>
                  <a:lnTo>
                    <a:pt x="390" y="964"/>
                  </a:lnTo>
                  <a:lnTo>
                    <a:pt x="403" y="1026"/>
                  </a:lnTo>
                  <a:lnTo>
                    <a:pt x="421" y="1085"/>
                  </a:lnTo>
                  <a:lnTo>
                    <a:pt x="443" y="1139"/>
                  </a:lnTo>
                  <a:lnTo>
                    <a:pt x="469" y="1189"/>
                  </a:lnTo>
                  <a:lnTo>
                    <a:pt x="500" y="1231"/>
                  </a:lnTo>
                  <a:lnTo>
                    <a:pt x="535" y="1269"/>
                  </a:lnTo>
                  <a:lnTo>
                    <a:pt x="574" y="1301"/>
                  </a:lnTo>
                  <a:lnTo>
                    <a:pt x="617" y="1326"/>
                  </a:lnTo>
                  <a:lnTo>
                    <a:pt x="663" y="1345"/>
                  </a:lnTo>
                  <a:lnTo>
                    <a:pt x="715" y="1355"/>
                  </a:lnTo>
                  <a:lnTo>
                    <a:pt x="769" y="1359"/>
                  </a:lnTo>
                  <a:lnTo>
                    <a:pt x="820" y="1356"/>
                  </a:lnTo>
                  <a:lnTo>
                    <a:pt x="867" y="1346"/>
                  </a:lnTo>
                  <a:lnTo>
                    <a:pt x="911" y="1329"/>
                  </a:lnTo>
                  <a:lnTo>
                    <a:pt x="951" y="1307"/>
                  </a:lnTo>
                  <a:lnTo>
                    <a:pt x="988" y="1278"/>
                  </a:lnTo>
                  <a:lnTo>
                    <a:pt x="1022" y="1244"/>
                  </a:lnTo>
                  <a:lnTo>
                    <a:pt x="1052" y="1205"/>
                  </a:lnTo>
                  <a:lnTo>
                    <a:pt x="1079" y="1161"/>
                  </a:lnTo>
                  <a:lnTo>
                    <a:pt x="1101" y="1113"/>
                  </a:lnTo>
                  <a:lnTo>
                    <a:pt x="1118" y="1060"/>
                  </a:lnTo>
                  <a:lnTo>
                    <a:pt x="1133" y="1005"/>
                  </a:lnTo>
                  <a:lnTo>
                    <a:pt x="1144" y="945"/>
                  </a:lnTo>
                  <a:lnTo>
                    <a:pt x="1150" y="883"/>
                  </a:lnTo>
                  <a:lnTo>
                    <a:pt x="1152" y="818"/>
                  </a:lnTo>
                  <a:lnTo>
                    <a:pt x="1150" y="758"/>
                  </a:lnTo>
                  <a:lnTo>
                    <a:pt x="1144" y="698"/>
                  </a:lnTo>
                  <a:lnTo>
                    <a:pt x="1134" y="641"/>
                  </a:lnTo>
                  <a:lnTo>
                    <a:pt x="1120" y="587"/>
                  </a:lnTo>
                  <a:lnTo>
                    <a:pt x="1101" y="536"/>
                  </a:lnTo>
                  <a:lnTo>
                    <a:pt x="1079" y="488"/>
                  </a:lnTo>
                  <a:lnTo>
                    <a:pt x="1052" y="444"/>
                  </a:lnTo>
                  <a:lnTo>
                    <a:pt x="1023" y="405"/>
                  </a:lnTo>
                  <a:lnTo>
                    <a:pt x="989" y="371"/>
                  </a:lnTo>
                  <a:lnTo>
                    <a:pt x="951" y="342"/>
                  </a:lnTo>
                  <a:lnTo>
                    <a:pt x="911" y="318"/>
                  </a:lnTo>
                  <a:lnTo>
                    <a:pt x="867" y="301"/>
                  </a:lnTo>
                  <a:lnTo>
                    <a:pt x="818" y="289"/>
                  </a:lnTo>
                  <a:lnTo>
                    <a:pt x="766" y="286"/>
                  </a:lnTo>
                  <a:close/>
                  <a:moveTo>
                    <a:pt x="776" y="0"/>
                  </a:moveTo>
                  <a:lnTo>
                    <a:pt x="855" y="3"/>
                  </a:lnTo>
                  <a:lnTo>
                    <a:pt x="931" y="13"/>
                  </a:lnTo>
                  <a:lnTo>
                    <a:pt x="1003" y="29"/>
                  </a:lnTo>
                  <a:lnTo>
                    <a:pt x="1068" y="51"/>
                  </a:lnTo>
                  <a:lnTo>
                    <a:pt x="1131" y="77"/>
                  </a:lnTo>
                  <a:lnTo>
                    <a:pt x="1190" y="111"/>
                  </a:lnTo>
                  <a:lnTo>
                    <a:pt x="1244" y="149"/>
                  </a:lnTo>
                  <a:lnTo>
                    <a:pt x="1294" y="191"/>
                  </a:lnTo>
                  <a:lnTo>
                    <a:pt x="1339" y="238"/>
                  </a:lnTo>
                  <a:lnTo>
                    <a:pt x="1378" y="289"/>
                  </a:lnTo>
                  <a:lnTo>
                    <a:pt x="1415" y="343"/>
                  </a:lnTo>
                  <a:lnTo>
                    <a:pt x="1446" y="402"/>
                  </a:lnTo>
                  <a:lnTo>
                    <a:pt x="1472" y="463"/>
                  </a:lnTo>
                  <a:lnTo>
                    <a:pt x="1494" y="527"/>
                  </a:lnTo>
                  <a:lnTo>
                    <a:pt x="1512" y="593"/>
                  </a:lnTo>
                  <a:lnTo>
                    <a:pt x="1523" y="663"/>
                  </a:lnTo>
                  <a:lnTo>
                    <a:pt x="1531" y="733"/>
                  </a:lnTo>
                  <a:lnTo>
                    <a:pt x="1533" y="806"/>
                  </a:lnTo>
                  <a:lnTo>
                    <a:pt x="1531" y="897"/>
                  </a:lnTo>
                  <a:lnTo>
                    <a:pt x="1520" y="981"/>
                  </a:lnTo>
                  <a:lnTo>
                    <a:pt x="1506" y="1063"/>
                  </a:lnTo>
                  <a:lnTo>
                    <a:pt x="1484" y="1139"/>
                  </a:lnTo>
                  <a:lnTo>
                    <a:pt x="1456" y="1210"/>
                  </a:lnTo>
                  <a:lnTo>
                    <a:pt x="1422" y="1278"/>
                  </a:lnTo>
                  <a:lnTo>
                    <a:pt x="1384" y="1339"/>
                  </a:lnTo>
                  <a:lnTo>
                    <a:pt x="1340" y="1396"/>
                  </a:lnTo>
                  <a:lnTo>
                    <a:pt x="1292" y="1447"/>
                  </a:lnTo>
                  <a:lnTo>
                    <a:pt x="1238" y="1492"/>
                  </a:lnTo>
                  <a:lnTo>
                    <a:pt x="1181" y="1532"/>
                  </a:lnTo>
                  <a:lnTo>
                    <a:pt x="1118" y="1567"/>
                  </a:lnTo>
                  <a:lnTo>
                    <a:pt x="1052" y="1594"/>
                  </a:lnTo>
                  <a:lnTo>
                    <a:pt x="982" y="1616"/>
                  </a:lnTo>
                  <a:lnTo>
                    <a:pt x="908" y="1632"/>
                  </a:lnTo>
                  <a:lnTo>
                    <a:pt x="830" y="1643"/>
                  </a:lnTo>
                  <a:lnTo>
                    <a:pt x="750" y="1646"/>
                  </a:lnTo>
                  <a:lnTo>
                    <a:pt x="668" y="1641"/>
                  </a:lnTo>
                  <a:lnTo>
                    <a:pt x="590" y="1631"/>
                  </a:lnTo>
                  <a:lnTo>
                    <a:pt x="517" y="1613"/>
                  </a:lnTo>
                  <a:lnTo>
                    <a:pt x="448" y="1590"/>
                  </a:lnTo>
                  <a:lnTo>
                    <a:pt x="384" y="1559"/>
                  </a:lnTo>
                  <a:lnTo>
                    <a:pt x="326" y="1523"/>
                  </a:lnTo>
                  <a:lnTo>
                    <a:pt x="270" y="1482"/>
                  </a:lnTo>
                  <a:lnTo>
                    <a:pt x="220" y="1435"/>
                  </a:lnTo>
                  <a:lnTo>
                    <a:pt x="175" y="1384"/>
                  </a:lnTo>
                  <a:lnTo>
                    <a:pt x="134" y="1327"/>
                  </a:lnTo>
                  <a:lnTo>
                    <a:pt x="99" y="1267"/>
                  </a:lnTo>
                  <a:lnTo>
                    <a:pt x="68" y="1203"/>
                  </a:lnTo>
                  <a:lnTo>
                    <a:pt x="43" y="1136"/>
                  </a:lnTo>
                  <a:lnTo>
                    <a:pt x="24" y="1064"/>
                  </a:lnTo>
                  <a:lnTo>
                    <a:pt x="10" y="990"/>
                  </a:lnTo>
                  <a:lnTo>
                    <a:pt x="2" y="914"/>
                  </a:lnTo>
                  <a:lnTo>
                    <a:pt x="0" y="834"/>
                  </a:lnTo>
                  <a:lnTo>
                    <a:pt x="2" y="752"/>
                  </a:lnTo>
                  <a:lnTo>
                    <a:pt x="11" y="672"/>
                  </a:lnTo>
                  <a:lnTo>
                    <a:pt x="27" y="594"/>
                  </a:lnTo>
                  <a:lnTo>
                    <a:pt x="48" y="520"/>
                  </a:lnTo>
                  <a:lnTo>
                    <a:pt x="74" y="450"/>
                  </a:lnTo>
                  <a:lnTo>
                    <a:pt x="106" y="384"/>
                  </a:lnTo>
                  <a:lnTo>
                    <a:pt x="144" y="323"/>
                  </a:lnTo>
                  <a:lnTo>
                    <a:pt x="187" y="264"/>
                  </a:lnTo>
                  <a:lnTo>
                    <a:pt x="235" y="212"/>
                  </a:lnTo>
                  <a:lnTo>
                    <a:pt x="288" y="165"/>
                  </a:lnTo>
                  <a:lnTo>
                    <a:pt x="345" y="123"/>
                  </a:lnTo>
                  <a:lnTo>
                    <a:pt x="406" y="86"/>
                  </a:lnTo>
                  <a:lnTo>
                    <a:pt x="472" y="56"/>
                  </a:lnTo>
                  <a:lnTo>
                    <a:pt x="542" y="32"/>
                  </a:lnTo>
                  <a:lnTo>
                    <a:pt x="617" y="15"/>
                  </a:lnTo>
                  <a:lnTo>
                    <a:pt x="694" y="3"/>
                  </a:lnTo>
                  <a:lnTo>
                    <a:pt x="77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sp>
          <p:nvSpPr>
            <p:cNvPr id="68" name="Freeform 9">
              <a:extLst>
                <a:ext uri="{FF2B5EF4-FFF2-40B4-BE49-F238E27FC236}">
                  <a16:creationId xmlns:a16="http://schemas.microsoft.com/office/drawing/2014/main" id="{0D65A380-D26D-4A42-BE59-2761BAE511F2}"/>
                </a:ext>
              </a:extLst>
            </p:cNvPr>
            <p:cNvSpPr>
              <a:spLocks/>
            </p:cNvSpPr>
            <p:nvPr/>
          </p:nvSpPr>
          <p:spPr bwMode="auto">
            <a:xfrm>
              <a:off x="2084012" y="4245575"/>
              <a:ext cx="72841" cy="94747"/>
            </a:xfrm>
            <a:custGeom>
              <a:avLst/>
              <a:gdLst>
                <a:gd name="T0" fmla="*/ 0 w 1227"/>
                <a:gd name="T1" fmla="*/ 0 h 1594"/>
                <a:gd name="T2" fmla="*/ 1227 w 1227"/>
                <a:gd name="T3" fmla="*/ 0 h 1594"/>
                <a:gd name="T4" fmla="*/ 1227 w 1227"/>
                <a:gd name="T5" fmla="*/ 304 h 1594"/>
                <a:gd name="T6" fmla="*/ 791 w 1227"/>
                <a:gd name="T7" fmla="*/ 304 h 1594"/>
                <a:gd name="T8" fmla="*/ 791 w 1227"/>
                <a:gd name="T9" fmla="*/ 1594 h 1594"/>
                <a:gd name="T10" fmla="*/ 428 w 1227"/>
                <a:gd name="T11" fmla="*/ 1594 h 1594"/>
                <a:gd name="T12" fmla="*/ 428 w 1227"/>
                <a:gd name="T13" fmla="*/ 304 h 1594"/>
                <a:gd name="T14" fmla="*/ 0 w 1227"/>
                <a:gd name="T15" fmla="*/ 304 h 1594"/>
                <a:gd name="T16" fmla="*/ 0 w 1227"/>
                <a:gd name="T17" fmla="*/ 0 h 1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7" h="1594">
                  <a:moveTo>
                    <a:pt x="0" y="0"/>
                  </a:moveTo>
                  <a:lnTo>
                    <a:pt x="1227" y="0"/>
                  </a:lnTo>
                  <a:lnTo>
                    <a:pt x="1227" y="304"/>
                  </a:lnTo>
                  <a:lnTo>
                    <a:pt x="791" y="304"/>
                  </a:lnTo>
                  <a:lnTo>
                    <a:pt x="791" y="1594"/>
                  </a:lnTo>
                  <a:lnTo>
                    <a:pt x="428" y="1594"/>
                  </a:lnTo>
                  <a:lnTo>
                    <a:pt x="428" y="304"/>
                  </a:lnTo>
                  <a:lnTo>
                    <a:pt x="0" y="304"/>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BE"/>
            </a:p>
          </p:txBody>
        </p:sp>
      </p:grpSp>
      <p:grpSp>
        <p:nvGrpSpPr>
          <p:cNvPr id="70" name="Groupe 69">
            <a:extLst>
              <a:ext uri="{FF2B5EF4-FFF2-40B4-BE49-F238E27FC236}">
                <a16:creationId xmlns:a16="http://schemas.microsoft.com/office/drawing/2014/main" id="{E68646BC-8E6C-467F-AF62-FD080F17BECA}"/>
              </a:ext>
            </a:extLst>
          </p:cNvPr>
          <p:cNvGrpSpPr/>
          <p:nvPr/>
        </p:nvGrpSpPr>
        <p:grpSpPr>
          <a:xfrm>
            <a:off x="4336153" y="3891596"/>
            <a:ext cx="399432" cy="219547"/>
            <a:chOff x="7296927" y="672351"/>
            <a:chExt cx="1419200" cy="716528"/>
          </a:xfrm>
        </p:grpSpPr>
        <p:sp>
          <p:nvSpPr>
            <p:cNvPr id="81" name="Rectangle 80">
              <a:extLst>
                <a:ext uri="{FF2B5EF4-FFF2-40B4-BE49-F238E27FC236}">
                  <a16:creationId xmlns:a16="http://schemas.microsoft.com/office/drawing/2014/main" id="{1A8F928E-D70B-404C-8337-428ABC1299A9}"/>
                </a:ext>
              </a:extLst>
            </p:cNvPr>
            <p:cNvSpPr/>
            <p:nvPr/>
          </p:nvSpPr>
          <p:spPr>
            <a:xfrm>
              <a:off x="7296927" y="672351"/>
              <a:ext cx="1416607" cy="716528"/>
            </a:xfrm>
            <a:prstGeom prst="rect">
              <a:avLst/>
            </a:prstGeom>
            <a:solidFill>
              <a:schemeClr val="bg1"/>
            </a:solidFill>
            <a:ln>
              <a:noFill/>
            </a:ln>
          </p:spPr>
          <p:txBody>
            <a:bodyPr rot="0" spcFirstLastPara="0" vertOverflow="overflow" horzOverflow="overflow" vert="horz" wrap="square" lIns="88658" tIns="44329" rIns="88658" bIns="44329" numCol="1" spcCol="0" rtlCol="0" fromWordArt="0" anchor="ctr" anchorCtr="0" forceAA="0" compatLnSpc="1">
              <a:prstTxWarp prst="textNoShape">
                <a:avLst/>
              </a:prstTxWarp>
              <a:noAutofit/>
            </a:bodyPr>
            <a:lstStyle/>
            <a:p>
              <a:pPr algn="ctr"/>
              <a:endParaRPr lang="fr-FR" sz="1745">
                <a:latin typeface="Trebuchet MS"/>
                <a:cs typeface="Trebuchet MS"/>
              </a:endParaRPr>
            </a:p>
          </p:txBody>
        </p:sp>
        <p:pic>
          <p:nvPicPr>
            <p:cNvPr id="82" name="Picture 6">
              <a:extLst>
                <a:ext uri="{FF2B5EF4-FFF2-40B4-BE49-F238E27FC236}">
                  <a16:creationId xmlns:a16="http://schemas.microsoft.com/office/drawing/2014/main" id="{AABE3B09-9FD9-4667-A0B0-B49AEA7D281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96928" y="672351"/>
              <a:ext cx="1419199" cy="693136"/>
            </a:xfrm>
            <a:prstGeom prst="rect">
              <a:avLst/>
            </a:prstGeom>
          </p:spPr>
        </p:pic>
      </p:grpSp>
      <p:sp>
        <p:nvSpPr>
          <p:cNvPr id="4" name="ZoneTexte 3">
            <a:extLst>
              <a:ext uri="{FF2B5EF4-FFF2-40B4-BE49-F238E27FC236}">
                <a16:creationId xmlns:a16="http://schemas.microsoft.com/office/drawing/2014/main" id="{0E088F25-C89C-4B3D-9240-ADE434AD1845}"/>
              </a:ext>
            </a:extLst>
          </p:cNvPr>
          <p:cNvSpPr txBox="1"/>
          <p:nvPr/>
        </p:nvSpPr>
        <p:spPr>
          <a:xfrm>
            <a:off x="5691817" y="2644272"/>
            <a:ext cx="324420" cy="1077218"/>
          </a:xfrm>
          <a:prstGeom prst="rect">
            <a:avLst/>
          </a:prstGeom>
          <a:noFill/>
        </p:spPr>
        <p:txBody>
          <a:bodyPr wrap="square" rtlCol="0">
            <a:spAutoFit/>
          </a:bodyPr>
          <a:lstStyle/>
          <a:p>
            <a:r>
              <a:rPr lang="fr-FR" sz="1600" dirty="0">
                <a:solidFill>
                  <a:schemeClr val="bg1"/>
                </a:solidFill>
                <a:latin typeface="+mj-lt"/>
                <a:cs typeface="Segoe UI" panose="020B0502040204020203" pitchFamily="34" charset="0"/>
              </a:rPr>
              <a:t>APIS</a:t>
            </a:r>
          </a:p>
        </p:txBody>
      </p:sp>
      <p:sp>
        <p:nvSpPr>
          <p:cNvPr id="83" name="ZoneTexte 82">
            <a:extLst>
              <a:ext uri="{FF2B5EF4-FFF2-40B4-BE49-F238E27FC236}">
                <a16:creationId xmlns:a16="http://schemas.microsoft.com/office/drawing/2014/main" id="{887F4468-9725-4CE2-AB44-D23B82682F88}"/>
              </a:ext>
            </a:extLst>
          </p:cNvPr>
          <p:cNvSpPr txBox="1"/>
          <p:nvPr/>
        </p:nvSpPr>
        <p:spPr>
          <a:xfrm>
            <a:off x="3515768" y="2046665"/>
            <a:ext cx="324420" cy="1815882"/>
          </a:xfrm>
          <a:prstGeom prst="rect">
            <a:avLst/>
          </a:prstGeom>
          <a:noFill/>
        </p:spPr>
        <p:txBody>
          <a:bodyPr wrap="square" rtlCol="0">
            <a:spAutoFit/>
          </a:bodyPr>
          <a:lstStyle/>
          <a:p>
            <a:r>
              <a:rPr lang="fr-FR" sz="1600" dirty="0">
                <a:solidFill>
                  <a:schemeClr val="bg1"/>
                </a:solidFill>
                <a:latin typeface="+mj-lt"/>
                <a:cs typeface="Segoe UI" panose="020B0502040204020203" pitchFamily="34" charset="0"/>
              </a:rPr>
              <a:t>GATEWAY</a:t>
            </a:r>
          </a:p>
        </p:txBody>
      </p:sp>
      <p:sp>
        <p:nvSpPr>
          <p:cNvPr id="5" name="Rectangle : coins arrondis 4">
            <a:extLst>
              <a:ext uri="{FF2B5EF4-FFF2-40B4-BE49-F238E27FC236}">
                <a16:creationId xmlns:a16="http://schemas.microsoft.com/office/drawing/2014/main" id="{1AF15A1F-6AF2-4A79-A2E1-620381700BCE}"/>
              </a:ext>
            </a:extLst>
          </p:cNvPr>
          <p:cNvSpPr/>
          <p:nvPr/>
        </p:nvSpPr>
        <p:spPr>
          <a:xfrm>
            <a:off x="3474289" y="1236520"/>
            <a:ext cx="2658882" cy="3565172"/>
          </a:xfrm>
          <a:prstGeom prst="roundRect">
            <a:avLst/>
          </a:prstGeom>
          <a:noFill/>
          <a:ln>
            <a:solidFill>
              <a:schemeClr val="bg1"/>
            </a:solidFill>
            <a:prstDash val="dash"/>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fr-FR">
              <a:latin typeface="Trebuchet MS"/>
              <a:cs typeface="Trebuchet MS"/>
            </a:endParaRPr>
          </a:p>
        </p:txBody>
      </p:sp>
    </p:spTree>
    <p:extLst>
      <p:ext uri="{BB962C8B-B14F-4D97-AF65-F5344CB8AC3E}">
        <p14:creationId xmlns:p14="http://schemas.microsoft.com/office/powerpoint/2010/main" val="949187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lgunos</a:t>
            </a:r>
            <a:r>
              <a:rPr lang="en-US" dirty="0"/>
              <a:t> </a:t>
            </a:r>
            <a:r>
              <a:rPr lang="en-US" dirty="0" err="1"/>
              <a:t>puntos</a:t>
            </a:r>
            <a:r>
              <a:rPr lang="en-US" dirty="0"/>
              <a:t> a </a:t>
            </a:r>
            <a:r>
              <a:rPr lang="en-US" dirty="0" err="1"/>
              <a:t>considerar</a:t>
            </a:r>
            <a:endParaRPr lang="en-US" b="0" dirty="0"/>
          </a:p>
        </p:txBody>
      </p:sp>
      <p:sp>
        <p:nvSpPr>
          <p:cNvPr id="46082" name="AutoShape 2" descr="Image result for network world"/>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a:off x="34382" y="1240794"/>
            <a:ext cx="2613662" cy="2621878"/>
            <a:chOff x="34382" y="1240794"/>
            <a:chExt cx="2613662" cy="2621878"/>
          </a:xfrm>
        </p:grpSpPr>
        <p:sp>
          <p:nvSpPr>
            <p:cNvPr id="83" name="Rectangle 82"/>
            <p:cNvSpPr/>
            <p:nvPr/>
          </p:nvSpPr>
          <p:spPr>
            <a:xfrm>
              <a:off x="34382" y="1240794"/>
              <a:ext cx="2613662" cy="1046440"/>
            </a:xfrm>
            <a:prstGeom prst="rect">
              <a:avLst/>
            </a:prstGeom>
          </p:spPr>
          <p:txBody>
            <a:bodyPr wrap="square">
              <a:spAutoFit/>
            </a:bodyPr>
            <a:lstStyle/>
            <a:p>
              <a:pPr lvl="0" eaLnBrk="0" hangingPunct="0">
                <a:defRPr/>
              </a:pPr>
              <a:r>
                <a:rPr lang="en-US" sz="1600" b="1" kern="0" dirty="0" err="1">
                  <a:solidFill>
                    <a:srgbClr val="0070C0"/>
                  </a:solidFill>
                  <a:latin typeface="Trebuchet MS" pitchFamily="34" charset="0"/>
                </a:rPr>
                <a:t>Terminales</a:t>
              </a:r>
              <a:r>
                <a:rPr lang="en-US" sz="1600" b="1" kern="0" dirty="0">
                  <a:solidFill>
                    <a:srgbClr val="0070C0"/>
                  </a:solidFill>
                  <a:latin typeface="Trebuchet MS" pitchFamily="34" charset="0"/>
                </a:rPr>
                <a:t> IoT </a:t>
              </a:r>
              <a:r>
                <a:rPr lang="en-US" sz="1600" b="1" kern="0" dirty="0" err="1">
                  <a:solidFill>
                    <a:srgbClr val="0070C0"/>
                  </a:solidFill>
                  <a:latin typeface="Trebuchet MS" pitchFamily="34" charset="0"/>
                </a:rPr>
                <a:t>aumentarán</a:t>
              </a:r>
              <a:r>
                <a:rPr lang="en-US" sz="1600" b="1" kern="0" dirty="0">
                  <a:solidFill>
                    <a:srgbClr val="0070C0"/>
                  </a:solidFill>
                  <a:latin typeface="Trebuchet MS" pitchFamily="34" charset="0"/>
                </a:rPr>
                <a:t> a 20.8B </a:t>
              </a:r>
              <a:r>
                <a:rPr lang="en-US" sz="1600" b="1" kern="0" dirty="0" err="1">
                  <a:solidFill>
                    <a:srgbClr val="0070C0"/>
                  </a:solidFill>
                  <a:latin typeface="Trebuchet MS" pitchFamily="34" charset="0"/>
                </a:rPr>
                <a:t>unidades</a:t>
              </a:r>
              <a:r>
                <a:rPr lang="en-US" sz="1600" b="1" kern="0" dirty="0">
                  <a:solidFill>
                    <a:srgbClr val="0070C0"/>
                  </a:solidFill>
                  <a:latin typeface="Trebuchet MS" pitchFamily="34" charset="0"/>
                </a:rPr>
                <a:t> </a:t>
              </a:r>
              <a:r>
                <a:rPr lang="en-US" sz="1400" b="1" kern="0" dirty="0" err="1">
                  <a:solidFill>
                    <a:schemeClr val="tx2">
                      <a:lumMod val="50000"/>
                    </a:schemeClr>
                  </a:solidFill>
                  <a:ea typeface="+mj-ea"/>
                  <a:cs typeface="+mj-cs"/>
                </a:rPr>
                <a:t>e</a:t>
              </a:r>
              <a:r>
                <a:rPr lang="en-US" sz="1400" kern="0" dirty="0" err="1">
                  <a:solidFill>
                    <a:schemeClr val="tx2">
                      <a:lumMod val="50000"/>
                    </a:schemeClr>
                  </a:solidFill>
                  <a:latin typeface="Trebuchet MS" pitchFamily="34" charset="0"/>
                  <a:ea typeface="+mj-ea"/>
                  <a:cs typeface="+mj-cs"/>
                </a:rPr>
                <a:t>n</a:t>
              </a:r>
              <a:r>
                <a:rPr lang="en-US" sz="1400" kern="0" dirty="0">
                  <a:solidFill>
                    <a:schemeClr val="tx2">
                      <a:lumMod val="50000"/>
                    </a:schemeClr>
                  </a:solidFill>
                  <a:latin typeface="Trebuchet MS" pitchFamily="34" charset="0"/>
                  <a:ea typeface="+mj-ea"/>
                  <a:cs typeface="+mj-cs"/>
                </a:rPr>
                <a:t> 2020 </a:t>
              </a:r>
              <a:r>
                <a:rPr lang="en-US" sz="1400" kern="0" dirty="0" err="1">
                  <a:solidFill>
                    <a:schemeClr val="tx2">
                      <a:lumMod val="50000"/>
                    </a:schemeClr>
                  </a:solidFill>
                  <a:latin typeface="Trebuchet MS" pitchFamily="34" charset="0"/>
                  <a:ea typeface="+mj-ea"/>
                  <a:cs typeface="+mj-cs"/>
                </a:rPr>
                <a:t>según</a:t>
              </a:r>
              <a:r>
                <a:rPr lang="en-US" sz="1400" kern="0" dirty="0">
                  <a:solidFill>
                    <a:schemeClr val="tx2">
                      <a:lumMod val="50000"/>
                    </a:schemeClr>
                  </a:solidFill>
                  <a:latin typeface="Trebuchet MS" pitchFamily="34" charset="0"/>
                  <a:ea typeface="+mj-ea"/>
                  <a:cs typeface="+mj-cs"/>
                </a:rPr>
                <a:t> Gartner</a:t>
              </a:r>
              <a:endParaRPr lang="en-US" sz="700" kern="0" dirty="0">
                <a:solidFill>
                  <a:schemeClr val="tx2">
                    <a:lumMod val="50000"/>
                  </a:schemeClr>
                </a:solidFill>
                <a:latin typeface="Trebuchet MS" pitchFamily="34" charset="0"/>
                <a:ea typeface="+mj-ea"/>
                <a:cs typeface="+mj-cs"/>
              </a:endParaRPr>
            </a:p>
          </p:txBody>
        </p:sp>
        <p:pic>
          <p:nvPicPr>
            <p:cNvPr id="14" name="Picture 2"/>
            <p:cNvPicPr>
              <a:picLocks noChangeAspect="1" noChangeArrowheads="1"/>
            </p:cNvPicPr>
            <p:nvPr/>
          </p:nvPicPr>
          <p:blipFill>
            <a:blip r:embed="rId3" cstate="print"/>
            <a:srcRect/>
            <a:stretch>
              <a:fillRect/>
            </a:stretch>
          </p:blipFill>
          <p:spPr bwMode="auto">
            <a:xfrm>
              <a:off x="169018" y="2240157"/>
              <a:ext cx="2307045" cy="1622515"/>
            </a:xfrm>
            <a:prstGeom prst="rect">
              <a:avLst/>
            </a:prstGeom>
            <a:noFill/>
            <a:ln w="9525">
              <a:noFill/>
              <a:miter lim="800000"/>
              <a:headEnd/>
              <a:tailEnd/>
            </a:ln>
            <a:effectLst/>
          </p:spPr>
        </p:pic>
      </p:grpSp>
      <p:grpSp>
        <p:nvGrpSpPr>
          <p:cNvPr id="4" name="Group 3"/>
          <p:cNvGrpSpPr/>
          <p:nvPr/>
        </p:nvGrpSpPr>
        <p:grpSpPr>
          <a:xfrm>
            <a:off x="6071191" y="723014"/>
            <a:ext cx="3016719" cy="3883335"/>
            <a:chOff x="6464411" y="1030957"/>
            <a:chExt cx="2623499" cy="3575392"/>
          </a:xfrm>
        </p:grpSpPr>
        <p:pic>
          <p:nvPicPr>
            <p:cNvPr id="24" name="Picture 23">
              <a:extLst/>
            </p:cNvPr>
            <p:cNvPicPr>
              <a:picLocks noChangeAspect="1"/>
            </p:cNvPicPr>
            <p:nvPr/>
          </p:nvPicPr>
          <p:blipFill rotWithShape="1">
            <a:blip r:embed="rId4">
              <a:extLst>
                <a:ext uri="{28A0092B-C50C-407E-A947-70E740481C1C}">
                  <a14:useLocalDpi xmlns:a14="http://schemas.microsoft.com/office/drawing/2010/main" val="0"/>
                </a:ext>
              </a:extLst>
            </a:blip>
            <a:srcRect b="47440"/>
            <a:stretch/>
          </p:blipFill>
          <p:spPr>
            <a:xfrm>
              <a:off x="6464411" y="1030957"/>
              <a:ext cx="2623499" cy="3575392"/>
            </a:xfrm>
            <a:prstGeom prst="rect">
              <a:avLst/>
            </a:prstGeom>
          </p:spPr>
        </p:pic>
        <p:sp>
          <p:nvSpPr>
            <p:cNvPr id="3" name="Rectangle 2"/>
            <p:cNvSpPr/>
            <p:nvPr/>
          </p:nvSpPr>
          <p:spPr>
            <a:xfrm>
              <a:off x="6722403" y="1783762"/>
              <a:ext cx="1475391" cy="259723"/>
            </a:xfrm>
            <a:prstGeom prst="rect">
              <a:avLst/>
            </a:prstGeom>
            <a:noFill/>
            <a:ln w="28575">
              <a:solidFill>
                <a:schemeClr val="accent5">
                  <a:lumMod val="75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5" name="Rectangle 24"/>
            <p:cNvSpPr/>
            <p:nvPr/>
          </p:nvSpPr>
          <p:spPr>
            <a:xfrm>
              <a:off x="6532898" y="2351797"/>
              <a:ext cx="1020842" cy="259723"/>
            </a:xfrm>
            <a:prstGeom prst="rect">
              <a:avLst/>
            </a:prstGeom>
            <a:noFill/>
            <a:ln w="28575">
              <a:solidFill>
                <a:schemeClr val="accent5">
                  <a:lumMod val="75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26" name="Rectangle 25"/>
            <p:cNvSpPr/>
            <p:nvPr/>
          </p:nvSpPr>
          <p:spPr>
            <a:xfrm>
              <a:off x="7916425" y="3660050"/>
              <a:ext cx="1092404" cy="259723"/>
            </a:xfrm>
            <a:prstGeom prst="rect">
              <a:avLst/>
            </a:prstGeom>
            <a:noFill/>
            <a:ln w="28575">
              <a:solidFill>
                <a:schemeClr val="accent5">
                  <a:lumMod val="75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pSp>
      <p:grpSp>
        <p:nvGrpSpPr>
          <p:cNvPr id="7" name="Group 6"/>
          <p:cNvGrpSpPr/>
          <p:nvPr/>
        </p:nvGrpSpPr>
        <p:grpSpPr>
          <a:xfrm>
            <a:off x="3009718" y="1625514"/>
            <a:ext cx="3075937" cy="1832825"/>
            <a:chOff x="3084149" y="1625514"/>
            <a:chExt cx="3075937" cy="1832825"/>
          </a:xfrm>
        </p:grpSpPr>
        <p:pic>
          <p:nvPicPr>
            <p:cNvPr id="23" name="Picture 22"/>
            <p:cNvPicPr>
              <a:picLocks noChangeAspect="1"/>
            </p:cNvPicPr>
            <p:nvPr/>
          </p:nvPicPr>
          <p:blipFill>
            <a:blip r:embed="rId5" cstate="screen"/>
            <a:srcRect/>
            <a:stretch>
              <a:fillRect/>
            </a:stretch>
          </p:blipFill>
          <p:spPr>
            <a:xfrm>
              <a:off x="3084149" y="2644489"/>
              <a:ext cx="2772175" cy="813850"/>
            </a:xfrm>
            <a:prstGeom prst="rect">
              <a:avLst/>
            </a:prstGeom>
          </p:spPr>
        </p:pic>
        <p:sp>
          <p:nvSpPr>
            <p:cNvPr id="15" name="TextBox 14"/>
            <p:cNvSpPr txBox="1"/>
            <p:nvPr/>
          </p:nvSpPr>
          <p:spPr>
            <a:xfrm>
              <a:off x="3084149" y="1625514"/>
              <a:ext cx="3075937" cy="830997"/>
            </a:xfrm>
            <a:prstGeom prst="rect">
              <a:avLst/>
            </a:prstGeom>
            <a:noFill/>
          </p:spPr>
          <p:txBody>
            <a:bodyPr wrap="square" rtlCol="0">
              <a:spAutoFit/>
            </a:bodyPr>
            <a:lstStyle/>
            <a:p>
              <a:r>
                <a:rPr lang="en-US" sz="1600" dirty="0">
                  <a:solidFill>
                    <a:srgbClr val="0070C0"/>
                  </a:solidFill>
                  <a:latin typeface="Trebuchet MS"/>
                  <a:cs typeface="Trebuchet MS" panose="020B0502040204020203" pitchFamily="34" charset="0"/>
                </a:rPr>
                <a:t>“Los </a:t>
              </a:r>
              <a:r>
                <a:rPr lang="en-US" sz="1600" dirty="0" err="1">
                  <a:solidFill>
                    <a:srgbClr val="0070C0"/>
                  </a:solidFill>
                  <a:latin typeface="Trebuchet MS"/>
                  <a:cs typeface="Trebuchet MS" panose="020B0502040204020203" pitchFamily="34" charset="0"/>
                </a:rPr>
                <a:t>Estudiantes</a:t>
              </a:r>
              <a:r>
                <a:rPr lang="en-US" sz="1600" dirty="0">
                  <a:solidFill>
                    <a:srgbClr val="0070C0"/>
                  </a:solidFill>
                  <a:latin typeface="Trebuchet MS"/>
                  <a:cs typeface="Trebuchet MS" panose="020B0502040204020203" pitchFamily="34" charset="0"/>
                </a:rPr>
                <a:t> </a:t>
              </a:r>
              <a:r>
                <a:rPr lang="en-US" sz="1600" dirty="0" err="1">
                  <a:solidFill>
                    <a:srgbClr val="0070C0"/>
                  </a:solidFill>
                  <a:latin typeface="Trebuchet MS"/>
                  <a:cs typeface="Trebuchet MS" panose="020B0502040204020203" pitchFamily="34" charset="0"/>
                </a:rPr>
                <a:t>quisieran</a:t>
              </a:r>
              <a:r>
                <a:rPr lang="en-US" sz="1600" dirty="0">
                  <a:solidFill>
                    <a:srgbClr val="0070C0"/>
                  </a:solidFill>
                  <a:latin typeface="Trebuchet MS"/>
                  <a:cs typeface="Trebuchet MS" panose="020B0502040204020203" pitchFamily="34" charset="0"/>
                </a:rPr>
                <a:t> que </a:t>
              </a:r>
              <a:r>
                <a:rPr lang="en-US" sz="1600" dirty="0" err="1">
                  <a:solidFill>
                    <a:srgbClr val="0070C0"/>
                  </a:solidFill>
                  <a:latin typeface="Trebuchet MS"/>
                  <a:cs typeface="Trebuchet MS" panose="020B0502040204020203" pitchFamily="34" charset="0"/>
                </a:rPr>
                <a:t>sus</a:t>
              </a:r>
              <a:r>
                <a:rPr lang="en-US" sz="1600" dirty="0">
                  <a:solidFill>
                    <a:srgbClr val="0070C0"/>
                  </a:solidFill>
                  <a:latin typeface="Trebuchet MS"/>
                  <a:cs typeface="Trebuchet MS" panose="020B0502040204020203" pitchFamily="34" charset="0"/>
                </a:rPr>
                <a:t> </a:t>
              </a:r>
              <a:r>
                <a:rPr lang="en-US" sz="1600" dirty="0" err="1">
                  <a:solidFill>
                    <a:srgbClr val="0070C0"/>
                  </a:solidFill>
                  <a:latin typeface="Trebuchet MS"/>
                  <a:cs typeface="Trebuchet MS" panose="020B0502040204020203" pitchFamily="34" charset="0"/>
                </a:rPr>
                <a:t>instructores</a:t>
              </a:r>
              <a:r>
                <a:rPr lang="en-US" sz="1600" dirty="0">
                  <a:solidFill>
                    <a:srgbClr val="0070C0"/>
                  </a:solidFill>
                  <a:latin typeface="Trebuchet MS"/>
                  <a:cs typeface="Trebuchet MS" panose="020B0502040204020203" pitchFamily="34" charset="0"/>
                </a:rPr>
                <a:t> </a:t>
              </a:r>
              <a:r>
                <a:rPr lang="en-US" sz="1600" dirty="0" err="1">
                  <a:solidFill>
                    <a:srgbClr val="0070C0"/>
                  </a:solidFill>
                  <a:latin typeface="Trebuchet MS"/>
                  <a:cs typeface="Trebuchet MS" panose="020B0502040204020203" pitchFamily="34" charset="0"/>
                </a:rPr>
                <a:t>usen</a:t>
              </a:r>
              <a:r>
                <a:rPr lang="en-US" sz="1600" dirty="0">
                  <a:solidFill>
                    <a:srgbClr val="0070C0"/>
                  </a:solidFill>
                  <a:latin typeface="Trebuchet MS"/>
                  <a:cs typeface="Trebuchet MS" panose="020B0502040204020203" pitchFamily="34" charset="0"/>
                </a:rPr>
                <a:t> </a:t>
              </a:r>
              <a:r>
                <a:rPr lang="en-US" sz="1600" dirty="0" err="1">
                  <a:solidFill>
                    <a:srgbClr val="0070C0"/>
                  </a:solidFill>
                  <a:latin typeface="Trebuchet MS"/>
                  <a:cs typeface="Trebuchet MS" panose="020B0502040204020203" pitchFamily="34" charset="0"/>
                </a:rPr>
                <a:t>más</a:t>
              </a:r>
              <a:r>
                <a:rPr lang="en-US" sz="1600" dirty="0">
                  <a:solidFill>
                    <a:srgbClr val="0070C0"/>
                  </a:solidFill>
                  <a:latin typeface="Trebuchet MS"/>
                  <a:cs typeface="Trebuchet MS" panose="020B0502040204020203" pitchFamily="34" charset="0"/>
                </a:rPr>
                <a:t> </a:t>
              </a:r>
              <a:r>
                <a:rPr lang="en-US" sz="1600" dirty="0" err="1">
                  <a:solidFill>
                    <a:srgbClr val="0070C0"/>
                  </a:solidFill>
                  <a:latin typeface="Trebuchet MS"/>
                  <a:cs typeface="Trebuchet MS" panose="020B0502040204020203" pitchFamily="34" charset="0"/>
                </a:rPr>
                <a:t>tecnología</a:t>
              </a:r>
              <a:r>
                <a:rPr lang="en-US" sz="1600" dirty="0">
                  <a:solidFill>
                    <a:srgbClr val="0070C0"/>
                  </a:solidFill>
                  <a:latin typeface="Trebuchet MS"/>
                  <a:cs typeface="Trebuchet MS" panose="020B0502040204020203" pitchFamily="34" charset="0"/>
                </a:rPr>
                <a:t> </a:t>
              </a:r>
              <a:r>
                <a:rPr lang="en-US" sz="1600" dirty="0" err="1">
                  <a:solidFill>
                    <a:srgbClr val="0070C0"/>
                  </a:solidFill>
                  <a:latin typeface="Trebuchet MS"/>
                  <a:cs typeface="Trebuchet MS" panose="020B0502040204020203" pitchFamily="34" charset="0"/>
                </a:rPr>
                <a:t>en</a:t>
              </a:r>
              <a:r>
                <a:rPr lang="en-US" sz="1600" dirty="0">
                  <a:solidFill>
                    <a:srgbClr val="0070C0"/>
                  </a:solidFill>
                  <a:latin typeface="Trebuchet MS"/>
                  <a:cs typeface="Trebuchet MS" panose="020B0502040204020203" pitchFamily="34" charset="0"/>
                </a:rPr>
                <a:t> las </a:t>
              </a:r>
              <a:r>
                <a:rPr lang="en-US" sz="1600" dirty="0" err="1">
                  <a:solidFill>
                    <a:srgbClr val="0070C0"/>
                  </a:solidFill>
                  <a:latin typeface="Trebuchet MS"/>
                  <a:cs typeface="Trebuchet MS" panose="020B0502040204020203" pitchFamily="34" charset="0"/>
                </a:rPr>
                <a:t>clases</a:t>
              </a:r>
              <a:r>
                <a:rPr lang="en-US" sz="1600" dirty="0">
                  <a:solidFill>
                    <a:srgbClr val="0070C0"/>
                  </a:solidFill>
                  <a:latin typeface="Trebuchet MS"/>
                  <a:cs typeface="Trebuchet MS" panose="020B0502040204020203" pitchFamily="34" charset="0"/>
                </a:rPr>
                <a:t>.”</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nodeType="clickEffect">
                                  <p:stCondLst>
                                    <p:cond delay="0"/>
                                  </p:stCondLst>
                                  <p:childTnLst>
                                    <p:animScale>
                                      <p:cBhvr>
                                        <p:cTn id="10" dur="500" fill="hold"/>
                                        <p:tgtEl>
                                          <p:spTgt spid="5"/>
                                        </p:tgtEl>
                                      </p:cBhvr>
                                      <p:by x="50000" y="50000"/>
                                    </p:animScale>
                                  </p:childTnLst>
                                </p:cTn>
                              </p:par>
                            </p:childTnLst>
                          </p:cTn>
                        </p:par>
                        <p:par>
                          <p:cTn id="11" fill="hold">
                            <p:stCondLst>
                              <p:cond delay="500"/>
                            </p:stCondLst>
                            <p:childTnLst>
                              <p:par>
                                <p:cTn id="12" presetID="1" presetClass="entr" presetSubtype="0" fill="hold" nodeType="afterEffect">
                                  <p:stCondLst>
                                    <p:cond delay="0"/>
                                  </p:stCondLst>
                                  <p:childTnLst>
                                    <p:set>
                                      <p:cBhvr>
                                        <p:cTn id="13" dur="1" fill="hold">
                                          <p:stCondLst>
                                            <p:cond delay="0"/>
                                          </p:stCondLst>
                                        </p:cTn>
                                        <p:tgtEl>
                                          <p:spTgt spid="7"/>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6" presetClass="emph" presetSubtype="0" fill="hold" nodeType="clickEffect">
                                  <p:stCondLst>
                                    <p:cond delay="0"/>
                                  </p:stCondLst>
                                  <p:childTnLst>
                                    <p:animScale>
                                      <p:cBhvr>
                                        <p:cTn id="17" dur="500" fill="hold"/>
                                        <p:tgtEl>
                                          <p:spTgt spid="7"/>
                                        </p:tgtEl>
                                      </p:cBhvr>
                                      <p:by x="50000" y="50000"/>
                                    </p:animScale>
                                  </p:childTnLst>
                                </p:cTn>
                              </p:par>
                              <p:par>
                                <p:cTn id="18" presetID="1" presetClass="entr" presetSubtype="0" fill="hold" nodeType="withEffect">
                                  <p:stCondLst>
                                    <p:cond delay="0"/>
                                  </p:stCondLst>
                                  <p:childTnLst>
                                    <p:set>
                                      <p:cBhvr>
                                        <p:cTn id="19"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err="1"/>
              <a:t>Conclusión</a:t>
            </a:r>
            <a:endParaRPr lang="en-US" dirty="0"/>
          </a:p>
        </p:txBody>
      </p:sp>
      <p:sp>
        <p:nvSpPr>
          <p:cNvPr id="4" name="Subtitle 3"/>
          <p:cNvSpPr>
            <a:spLocks noGrp="1"/>
          </p:cNvSpPr>
          <p:nvPr>
            <p:ph type="subTitle" idx="1"/>
          </p:nvPr>
        </p:nvSpPr>
        <p:spPr/>
        <p:txBody>
          <a:bodyPr/>
          <a:lstStyle/>
          <a:p>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 name="Picture 22"/>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 y="0"/>
            <a:ext cx="9144000" cy="5143500"/>
          </a:xfrm>
          <a:prstGeom prst="rect">
            <a:avLst/>
          </a:prstGeom>
        </p:spPr>
      </p:pic>
      <p:sp>
        <p:nvSpPr>
          <p:cNvPr id="54" name="Rectangle 53"/>
          <p:cNvSpPr/>
          <p:nvPr>
            <p:custDataLst>
              <p:tags r:id="rId2"/>
            </p:custDataLst>
          </p:nvPr>
        </p:nvSpPr>
        <p:spPr>
          <a:xfrm>
            <a:off x="0" y="0"/>
            <a:ext cx="9143999" cy="5153026"/>
          </a:xfrm>
          <a:prstGeom prst="rect">
            <a:avLst/>
          </a:prstGeom>
          <a:gradFill>
            <a:gsLst>
              <a:gs pos="81000">
                <a:schemeClr val="accent1"/>
              </a:gs>
              <a:gs pos="0">
                <a:schemeClr val="accent1">
                  <a:lumMod val="75000"/>
                  <a:alpha val="5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sp>
        <p:nvSpPr>
          <p:cNvPr id="2" name="Title 1"/>
          <p:cNvSpPr>
            <a:spLocks noGrp="1"/>
          </p:cNvSpPr>
          <p:nvPr>
            <p:ph type="title"/>
          </p:nvPr>
        </p:nvSpPr>
        <p:spPr/>
        <p:txBody>
          <a:bodyPr anchor="t"/>
          <a:lstStyle/>
          <a:p>
            <a:r>
              <a:rPr lang="en-US" dirty="0" err="1">
                <a:solidFill>
                  <a:schemeClr val="bg1"/>
                </a:solidFill>
              </a:rPr>
              <a:t>Construir</a:t>
            </a:r>
            <a:r>
              <a:rPr lang="en-US" dirty="0">
                <a:solidFill>
                  <a:schemeClr val="bg1"/>
                </a:solidFill>
              </a:rPr>
              <a:t> el </a:t>
            </a:r>
            <a:r>
              <a:rPr lang="en-US" dirty="0" err="1">
                <a:solidFill>
                  <a:schemeClr val="bg1"/>
                </a:solidFill>
              </a:rPr>
              <a:t>fundamento</a:t>
            </a:r>
            <a:r>
              <a:rPr lang="en-US" dirty="0">
                <a:solidFill>
                  <a:schemeClr val="bg1"/>
                </a:solidFill>
              </a:rPr>
              <a:t> para </a:t>
            </a:r>
            <a:r>
              <a:rPr lang="en-US" dirty="0" err="1">
                <a:solidFill>
                  <a:schemeClr val="bg1"/>
                </a:solidFill>
              </a:rPr>
              <a:t>su</a:t>
            </a:r>
            <a:r>
              <a:rPr lang="en-US" dirty="0">
                <a:solidFill>
                  <a:schemeClr val="bg1"/>
                </a:solidFill>
              </a:rPr>
              <a:t> </a:t>
            </a:r>
            <a:r>
              <a:rPr lang="en-US" dirty="0" err="1">
                <a:solidFill>
                  <a:schemeClr val="bg1"/>
                </a:solidFill>
              </a:rPr>
              <a:t>evolución</a:t>
            </a:r>
            <a:r>
              <a:rPr lang="en-US" dirty="0">
                <a:solidFill>
                  <a:schemeClr val="bg1"/>
                </a:solidFill>
              </a:rPr>
              <a:t> digital</a:t>
            </a:r>
          </a:p>
        </p:txBody>
      </p:sp>
      <p:sp>
        <p:nvSpPr>
          <p:cNvPr id="44" name="Rectangle 43"/>
          <p:cNvSpPr/>
          <p:nvPr/>
        </p:nvSpPr>
        <p:spPr bwMode="auto">
          <a:xfrm>
            <a:off x="566" y="2"/>
            <a:ext cx="79200" cy="5143498"/>
          </a:xfrm>
          <a:prstGeom prst="rect">
            <a:avLst/>
          </a:prstGeom>
          <a:solidFill>
            <a:schemeClr val="accent1"/>
          </a:solidFill>
          <a:ln w="9525" cap="flat" cmpd="sng" algn="ctr">
            <a:noFill/>
            <a:prstDash val="solid"/>
            <a:round/>
            <a:headEnd type="none" w="med" len="med"/>
            <a:tailEnd type="none" w="med" len="med"/>
          </a:ln>
          <a:effectLst/>
        </p:spPr>
        <p:txBody>
          <a:bodyPr vert="horz" wrap="square" lIns="69686" tIns="34843" rIns="69686" bIns="34843" numCol="1" rtlCol="0" anchor="ctr" anchorCtr="0" compatLnSpc="1">
            <a:prstTxWarp prst="textNoShape">
              <a:avLst/>
            </a:prstTxWarp>
            <a:normAutofit/>
          </a:bodyPr>
          <a:lstStyle/>
          <a:p>
            <a:pPr defTabSz="914286"/>
            <a:endParaRPr lang="en-GB" dirty="0">
              <a:solidFill>
                <a:schemeClr val="bg1"/>
              </a:solidFill>
              <a:latin typeface="Trebuchet MS" panose="020B0603020202020204" pitchFamily="34" charset="0"/>
            </a:endParaRPr>
          </a:p>
        </p:txBody>
      </p:sp>
      <p:cxnSp>
        <p:nvCxnSpPr>
          <p:cNvPr id="41" name="Straight Connector 112"/>
          <p:cNvCxnSpPr/>
          <p:nvPr/>
        </p:nvCxnSpPr>
        <p:spPr>
          <a:xfrm flipH="1">
            <a:off x="206372" y="4913643"/>
            <a:ext cx="1004835" cy="0"/>
          </a:xfrm>
          <a:prstGeom prst="line">
            <a:avLst/>
          </a:prstGeom>
          <a:ln w="9525">
            <a:solidFill>
              <a:schemeClr val="bg1">
                <a:lumMod val="95000"/>
                <a:alpha val="50000"/>
              </a:schemeClr>
            </a:solidFill>
          </a:ln>
        </p:spPr>
        <p:style>
          <a:lnRef idx="1">
            <a:schemeClr val="accent1"/>
          </a:lnRef>
          <a:fillRef idx="0">
            <a:schemeClr val="accent1"/>
          </a:fillRef>
          <a:effectRef idx="0">
            <a:schemeClr val="accent1"/>
          </a:effectRef>
          <a:fontRef idx="minor">
            <a:schemeClr val="tx1"/>
          </a:fontRef>
        </p:style>
      </p:cxnSp>
      <p:sp>
        <p:nvSpPr>
          <p:cNvPr id="147" name="TextBox 146"/>
          <p:cNvSpPr txBox="1"/>
          <p:nvPr/>
        </p:nvSpPr>
        <p:spPr>
          <a:xfrm>
            <a:off x="2033471" y="2289152"/>
            <a:ext cx="1058729" cy="461665"/>
          </a:xfrm>
          <a:prstGeom prst="rect">
            <a:avLst/>
          </a:prstGeom>
          <a:noFill/>
        </p:spPr>
        <p:txBody>
          <a:bodyPr wrap="square" rtlCol="0">
            <a:spAutoFit/>
          </a:bodyPr>
          <a:lstStyle/>
          <a:p>
            <a:pPr algn="ctr"/>
            <a:r>
              <a:rPr lang="en-US" sz="1200" i="1" dirty="0" err="1">
                <a:solidFill>
                  <a:schemeClr val="bg1"/>
                </a:solidFill>
                <a:latin typeface="Trebuchet MS"/>
                <a:cs typeface="Trebuchet MS" panose="020B0502040204020203" pitchFamily="34" charset="0"/>
              </a:rPr>
              <a:t>Mejor</a:t>
            </a:r>
            <a:r>
              <a:rPr lang="en-US" sz="1200" i="1" dirty="0">
                <a:solidFill>
                  <a:schemeClr val="bg1"/>
                </a:solidFill>
                <a:latin typeface="Trebuchet MS"/>
                <a:cs typeface="Trebuchet MS" panose="020B0502040204020203" pitchFamily="34" charset="0"/>
              </a:rPr>
              <a:t> </a:t>
            </a:r>
            <a:r>
              <a:rPr lang="en-US" sz="1200" i="1" dirty="0" err="1">
                <a:solidFill>
                  <a:schemeClr val="bg1"/>
                </a:solidFill>
                <a:latin typeface="Trebuchet MS"/>
                <a:cs typeface="Trebuchet MS" panose="020B0502040204020203" pitchFamily="34" charset="0"/>
              </a:rPr>
              <a:t>educación</a:t>
            </a:r>
            <a:endParaRPr lang="en-US" sz="1200" i="1" dirty="0">
              <a:solidFill>
                <a:schemeClr val="bg1"/>
              </a:solidFill>
              <a:latin typeface="Trebuchet MS"/>
              <a:cs typeface="Trebuchet MS" panose="020B0502040204020203" pitchFamily="34" charset="0"/>
            </a:endParaRPr>
          </a:p>
        </p:txBody>
      </p:sp>
      <p:sp>
        <p:nvSpPr>
          <p:cNvPr id="148" name="TextBox 147"/>
          <p:cNvSpPr txBox="1"/>
          <p:nvPr/>
        </p:nvSpPr>
        <p:spPr>
          <a:xfrm>
            <a:off x="4875806" y="2289152"/>
            <a:ext cx="1591098" cy="646331"/>
          </a:xfrm>
          <a:prstGeom prst="rect">
            <a:avLst/>
          </a:prstGeom>
          <a:noFill/>
        </p:spPr>
        <p:txBody>
          <a:bodyPr wrap="square" rtlCol="0">
            <a:spAutoFit/>
          </a:bodyPr>
          <a:lstStyle/>
          <a:p>
            <a:pPr algn="ctr"/>
            <a:r>
              <a:rPr lang="en-US" sz="1200" i="1" dirty="0" err="1">
                <a:solidFill>
                  <a:schemeClr val="bg1"/>
                </a:solidFill>
                <a:latin typeface="Trebuchet MS"/>
                <a:cs typeface="Trebuchet MS" panose="020B0502040204020203" pitchFamily="34" charset="0"/>
              </a:rPr>
              <a:t>Operaciones</a:t>
            </a:r>
            <a:r>
              <a:rPr lang="en-US" sz="1200" i="1" dirty="0">
                <a:solidFill>
                  <a:schemeClr val="bg1"/>
                </a:solidFill>
                <a:latin typeface="Trebuchet MS"/>
                <a:cs typeface="Trebuchet MS" panose="020B0502040204020203" pitchFamily="34" charset="0"/>
              </a:rPr>
              <a:t> </a:t>
            </a:r>
            <a:r>
              <a:rPr lang="en-US" sz="1200" i="1" dirty="0" err="1">
                <a:solidFill>
                  <a:schemeClr val="bg1"/>
                </a:solidFill>
                <a:latin typeface="Trebuchet MS"/>
                <a:cs typeface="Trebuchet MS" panose="020B0502040204020203" pitchFamily="34" charset="0"/>
              </a:rPr>
              <a:t>eficientes</a:t>
            </a:r>
            <a:r>
              <a:rPr lang="en-US" sz="1200" i="1" dirty="0">
                <a:solidFill>
                  <a:schemeClr val="bg1"/>
                </a:solidFill>
                <a:latin typeface="Trebuchet MS"/>
                <a:cs typeface="Trebuchet MS" panose="020B0502040204020203" pitchFamily="34" charset="0"/>
              </a:rPr>
              <a:t> y </a:t>
            </a:r>
            <a:r>
              <a:rPr lang="en-US" sz="1200" i="1" dirty="0" err="1">
                <a:solidFill>
                  <a:schemeClr val="bg1"/>
                </a:solidFill>
                <a:latin typeface="Trebuchet MS"/>
                <a:cs typeface="Trebuchet MS" panose="020B0502040204020203" pitchFamily="34" charset="0"/>
              </a:rPr>
              <a:t>Seguriodad</a:t>
            </a:r>
            <a:endParaRPr lang="en-US" sz="1200" i="1" dirty="0">
              <a:solidFill>
                <a:schemeClr val="bg1"/>
              </a:solidFill>
              <a:latin typeface="Trebuchet MS"/>
              <a:cs typeface="Trebuchet MS" panose="020B0502040204020203" pitchFamily="34" charset="0"/>
            </a:endParaRPr>
          </a:p>
        </p:txBody>
      </p:sp>
      <p:sp>
        <p:nvSpPr>
          <p:cNvPr id="168" name="Footer Placeholder 2"/>
          <p:cNvSpPr txBox="1">
            <a:spLocks/>
          </p:cNvSpPr>
          <p:nvPr/>
        </p:nvSpPr>
        <p:spPr>
          <a:xfrm>
            <a:off x="215900" y="4734098"/>
            <a:ext cx="372452" cy="179784"/>
          </a:xfrm>
          <a:prstGeom prst="rect">
            <a:avLst/>
          </a:prstGeom>
        </p:spPr>
        <p:txBody>
          <a:bodyPr lIns="69677" tIns="34839" rIns="69677" bIns="34839" anchor="b"/>
          <a:lstStyle>
            <a:defPPr>
              <a:defRPr lang="en-GB"/>
            </a:defPPr>
            <a:lvl1pPr>
              <a:defRPr sz="800">
                <a:solidFill>
                  <a:schemeClr val="bg1">
                    <a:lumMod val="50000"/>
                  </a:schemeClr>
                </a:solidFill>
                <a:latin typeface="Tahoma" pitchFamily="34" charset="0"/>
              </a:defRPr>
            </a:lvl1pPr>
          </a:lstStyle>
          <a:p>
            <a:pPr algn="ctr">
              <a:spcBef>
                <a:spcPct val="0"/>
              </a:spcBef>
              <a:defRPr/>
            </a:pPr>
            <a:fld id="{1D43DDA3-B8F5-4355-8795-A0F7A61B9EB2}" type="slidenum">
              <a:rPr lang="en-US" sz="1000" noProof="0" smtClean="0">
                <a:solidFill>
                  <a:schemeClr val="bg1"/>
                </a:solidFill>
                <a:latin typeface="Trebuchet MS" panose="020B0603020202020204" pitchFamily="34" charset="0"/>
                <a:cs typeface="Arial" pitchFamily="34" charset="0"/>
              </a:rPr>
              <a:pPr algn="ctr">
                <a:spcBef>
                  <a:spcPct val="0"/>
                </a:spcBef>
                <a:defRPr/>
              </a:pPr>
              <a:t>21</a:t>
            </a:fld>
            <a:endParaRPr lang="en-US" sz="1000" noProof="0" dirty="0">
              <a:solidFill>
                <a:schemeClr val="bg1"/>
              </a:solidFill>
              <a:latin typeface="Trebuchet MS" panose="020B0603020202020204" pitchFamily="34" charset="0"/>
              <a:cs typeface="Arial" pitchFamily="34" charset="0"/>
            </a:endParaRPr>
          </a:p>
        </p:txBody>
      </p:sp>
      <p:cxnSp>
        <p:nvCxnSpPr>
          <p:cNvPr id="30" name="Line2"/>
          <p:cNvCxnSpPr/>
          <p:nvPr/>
        </p:nvCxnSpPr>
        <p:spPr>
          <a:xfrm>
            <a:off x="536556" y="1725782"/>
            <a:ext cx="7571858" cy="0"/>
          </a:xfrm>
          <a:prstGeom prst="line">
            <a:avLst/>
          </a:prstGeom>
          <a:ln>
            <a:solidFill>
              <a:schemeClr val="bg1"/>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897267" y="1356450"/>
            <a:ext cx="1228028" cy="369332"/>
          </a:xfrm>
          <a:prstGeom prst="rect">
            <a:avLst/>
          </a:prstGeom>
          <a:noFill/>
        </p:spPr>
        <p:txBody>
          <a:bodyPr wrap="none" rtlCol="0">
            <a:spAutoFit/>
          </a:bodyPr>
          <a:lstStyle/>
          <a:p>
            <a:r>
              <a:rPr lang="en-US" b="1" dirty="0">
                <a:solidFill>
                  <a:schemeClr val="bg1"/>
                </a:solidFill>
                <a:latin typeface="Trebuchet MS"/>
                <a:cs typeface="Trebuchet MS" panose="020B0502040204020203" pitchFamily="34" charset="0"/>
              </a:rPr>
              <a:t>IoT para…</a:t>
            </a:r>
          </a:p>
        </p:txBody>
      </p:sp>
      <p:grpSp>
        <p:nvGrpSpPr>
          <p:cNvPr id="7" name="Group 6"/>
          <p:cNvGrpSpPr/>
          <p:nvPr/>
        </p:nvGrpSpPr>
        <p:grpSpPr>
          <a:xfrm>
            <a:off x="2233768" y="2993832"/>
            <a:ext cx="6539962" cy="1850393"/>
            <a:chOff x="2233768" y="2993832"/>
            <a:chExt cx="6539962" cy="1850393"/>
          </a:xfrm>
        </p:grpSpPr>
        <p:grpSp>
          <p:nvGrpSpPr>
            <p:cNvPr id="3" name="Group 2"/>
            <p:cNvGrpSpPr/>
            <p:nvPr/>
          </p:nvGrpSpPr>
          <p:grpSpPr>
            <a:xfrm>
              <a:off x="2233768" y="2993832"/>
              <a:ext cx="6539962" cy="1850393"/>
              <a:chOff x="2233768" y="2993832"/>
              <a:chExt cx="6539962" cy="1850393"/>
            </a:xfrm>
          </p:grpSpPr>
          <p:sp>
            <p:nvSpPr>
              <p:cNvPr id="102" name="TextBox 101"/>
              <p:cNvSpPr txBox="1"/>
              <p:nvPr/>
            </p:nvSpPr>
            <p:spPr>
              <a:xfrm>
                <a:off x="6489131" y="2993832"/>
                <a:ext cx="1686680" cy="338554"/>
              </a:xfrm>
              <a:prstGeom prst="rect">
                <a:avLst/>
              </a:prstGeom>
              <a:noFill/>
            </p:spPr>
            <p:txBody>
              <a:bodyPr wrap="none" rtlCol="0">
                <a:spAutoFit/>
              </a:bodyPr>
              <a:lstStyle/>
              <a:p>
                <a:r>
                  <a:rPr lang="en-US" sz="1600" dirty="0" err="1">
                    <a:solidFill>
                      <a:schemeClr val="bg1"/>
                    </a:solidFill>
                    <a:latin typeface="Trebuchet MS"/>
                    <a:cs typeface="Trebuchet MS" panose="020B0502040204020203" pitchFamily="34" charset="0"/>
                  </a:rPr>
                  <a:t>Fácil</a:t>
                </a:r>
                <a:r>
                  <a:rPr lang="en-US" sz="1600" dirty="0">
                    <a:solidFill>
                      <a:schemeClr val="bg1"/>
                    </a:solidFill>
                    <a:latin typeface="Trebuchet MS"/>
                    <a:cs typeface="Trebuchet MS" panose="020B0502040204020203" pitchFamily="34" charset="0"/>
                  </a:rPr>
                  <a:t> </a:t>
                </a:r>
                <a:r>
                  <a:rPr lang="en-US" sz="1600" dirty="0" err="1">
                    <a:solidFill>
                      <a:schemeClr val="bg1"/>
                    </a:solidFill>
                    <a:latin typeface="Trebuchet MS"/>
                    <a:cs typeface="Trebuchet MS" panose="020B0502040204020203" pitchFamily="34" charset="0"/>
                  </a:rPr>
                  <a:t>activación</a:t>
                </a:r>
                <a:endParaRPr lang="en-US" sz="1600" dirty="0">
                  <a:solidFill>
                    <a:schemeClr val="bg1"/>
                  </a:solidFill>
                  <a:latin typeface="Trebuchet MS"/>
                  <a:cs typeface="Trebuchet MS" panose="020B0502040204020203" pitchFamily="34" charset="0"/>
                </a:endParaRPr>
              </a:p>
            </p:txBody>
          </p:sp>
          <p:sp>
            <p:nvSpPr>
              <p:cNvPr id="103" name="TextBox 102"/>
              <p:cNvSpPr txBox="1"/>
              <p:nvPr/>
            </p:nvSpPr>
            <p:spPr>
              <a:xfrm>
                <a:off x="6489130" y="3591827"/>
                <a:ext cx="2284600" cy="338554"/>
              </a:xfrm>
              <a:prstGeom prst="rect">
                <a:avLst/>
              </a:prstGeom>
              <a:noFill/>
            </p:spPr>
            <p:txBody>
              <a:bodyPr wrap="none" rtlCol="0">
                <a:spAutoFit/>
              </a:bodyPr>
              <a:lstStyle/>
              <a:p>
                <a:r>
                  <a:rPr lang="en-US" sz="1600" dirty="0" err="1">
                    <a:solidFill>
                      <a:schemeClr val="bg1"/>
                    </a:solidFill>
                    <a:latin typeface="Trebuchet MS"/>
                    <a:cs typeface="Trebuchet MS" panose="020B0502040204020203" pitchFamily="34" charset="0"/>
                  </a:rPr>
                  <a:t>Operaciones</a:t>
                </a:r>
                <a:r>
                  <a:rPr lang="en-US" sz="1600" dirty="0">
                    <a:solidFill>
                      <a:schemeClr val="bg1"/>
                    </a:solidFill>
                    <a:latin typeface="Trebuchet MS"/>
                    <a:cs typeface="Trebuchet MS" panose="020B0502040204020203" pitchFamily="34" charset="0"/>
                  </a:rPr>
                  <a:t> </a:t>
                </a:r>
                <a:r>
                  <a:rPr lang="en-US" sz="1600" dirty="0" err="1">
                    <a:solidFill>
                      <a:schemeClr val="bg1"/>
                    </a:solidFill>
                    <a:latin typeface="Trebuchet MS"/>
                    <a:cs typeface="Trebuchet MS" panose="020B0502040204020203" pitchFamily="34" charset="0"/>
                  </a:rPr>
                  <a:t>Eficientes</a:t>
                </a:r>
                <a:endParaRPr lang="en-US" sz="1600" dirty="0">
                  <a:solidFill>
                    <a:schemeClr val="bg1"/>
                  </a:solidFill>
                  <a:latin typeface="Trebuchet MS"/>
                  <a:cs typeface="Trebuchet MS" panose="020B0502040204020203" pitchFamily="34" charset="0"/>
                </a:endParaRPr>
              </a:p>
            </p:txBody>
          </p:sp>
          <p:sp>
            <p:nvSpPr>
              <p:cNvPr id="104" name="TextBox 103"/>
              <p:cNvSpPr txBox="1"/>
              <p:nvPr/>
            </p:nvSpPr>
            <p:spPr>
              <a:xfrm>
                <a:off x="6489130" y="4225687"/>
                <a:ext cx="1693092" cy="338554"/>
              </a:xfrm>
              <a:prstGeom prst="rect">
                <a:avLst/>
              </a:prstGeom>
              <a:noFill/>
            </p:spPr>
            <p:txBody>
              <a:bodyPr wrap="none" rtlCol="0">
                <a:spAutoFit/>
              </a:bodyPr>
              <a:lstStyle/>
              <a:p>
                <a:r>
                  <a:rPr lang="en-US" sz="1600" dirty="0">
                    <a:solidFill>
                      <a:schemeClr val="bg1"/>
                    </a:solidFill>
                    <a:latin typeface="Trebuchet MS"/>
                    <a:cs typeface="Trebuchet MS" panose="020B0502040204020203" pitchFamily="34" charset="0"/>
                  </a:rPr>
                  <a:t>Mayor Seguridad</a:t>
                </a:r>
              </a:p>
            </p:txBody>
          </p:sp>
          <p:cxnSp>
            <p:nvCxnSpPr>
              <p:cNvPr id="112" name="Straight Connector 111"/>
              <p:cNvCxnSpPr>
                <a:stCxn id="102" idx="1"/>
              </p:cNvCxnSpPr>
              <p:nvPr/>
            </p:nvCxnSpPr>
            <p:spPr bwMode="auto">
              <a:xfrm flipH="1">
                <a:off x="5659783" y="3163109"/>
                <a:ext cx="829348" cy="338724"/>
              </a:xfrm>
              <a:prstGeom prst="line">
                <a:avLst/>
              </a:prstGeom>
              <a:noFill/>
              <a:ln w="12700" cap="flat" cmpd="sng" algn="ctr">
                <a:solidFill>
                  <a:schemeClr val="bg1"/>
                </a:solidFill>
                <a:prstDash val="solid"/>
                <a:round/>
                <a:headEnd type="none" w="med" len="med"/>
                <a:tailEnd type="none"/>
              </a:ln>
              <a:effectLst/>
            </p:spPr>
          </p:cxnSp>
          <p:cxnSp>
            <p:nvCxnSpPr>
              <p:cNvPr id="113" name="Straight Connector 112"/>
              <p:cNvCxnSpPr>
                <a:stCxn id="104" idx="1"/>
              </p:cNvCxnSpPr>
              <p:nvPr/>
            </p:nvCxnSpPr>
            <p:spPr bwMode="auto">
              <a:xfrm flipH="1" flipV="1">
                <a:off x="5695202" y="4064540"/>
                <a:ext cx="793928" cy="330424"/>
              </a:xfrm>
              <a:prstGeom prst="line">
                <a:avLst/>
              </a:prstGeom>
              <a:noFill/>
              <a:ln w="12700" cap="flat" cmpd="sng" algn="ctr">
                <a:solidFill>
                  <a:schemeClr val="bg1"/>
                </a:solidFill>
                <a:prstDash val="solid"/>
                <a:round/>
                <a:headEnd type="none" w="med" len="med"/>
                <a:tailEnd type="none"/>
              </a:ln>
              <a:effectLst/>
            </p:spPr>
          </p:cxnSp>
          <p:cxnSp>
            <p:nvCxnSpPr>
              <p:cNvPr id="114" name="Straight Connector 113"/>
              <p:cNvCxnSpPr>
                <a:stCxn id="103" idx="1"/>
              </p:cNvCxnSpPr>
              <p:nvPr/>
            </p:nvCxnSpPr>
            <p:spPr bwMode="auto">
              <a:xfrm flipH="1">
                <a:off x="5730622" y="3761104"/>
                <a:ext cx="758508" cy="20713"/>
              </a:xfrm>
              <a:prstGeom prst="line">
                <a:avLst/>
              </a:prstGeom>
              <a:noFill/>
              <a:ln w="12700" cap="flat" cmpd="sng" algn="ctr">
                <a:solidFill>
                  <a:schemeClr val="bg1"/>
                </a:solidFill>
                <a:prstDash val="solid"/>
                <a:round/>
                <a:headEnd type="none" w="med" len="med"/>
                <a:tailEnd type="none"/>
              </a:ln>
              <a:effectLst/>
            </p:spPr>
          </p:cxnSp>
          <p:grpSp>
            <p:nvGrpSpPr>
              <p:cNvPr id="115" name="Group 114"/>
              <p:cNvGrpSpPr/>
              <p:nvPr/>
            </p:nvGrpSpPr>
            <p:grpSpPr>
              <a:xfrm>
                <a:off x="2233768" y="3294727"/>
                <a:ext cx="993849" cy="977820"/>
                <a:chOff x="6178379" y="897926"/>
                <a:chExt cx="2042984" cy="2010033"/>
              </a:xfrm>
            </p:grpSpPr>
            <p:pic>
              <p:nvPicPr>
                <p:cNvPr id="116" name="Image 10"/>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rot="10800000" flipH="1" flipV="1">
                  <a:off x="6351598" y="2056683"/>
                  <a:ext cx="1694303" cy="192418"/>
                </a:xfrm>
                <a:prstGeom prst="rect">
                  <a:avLst/>
                </a:prstGeom>
              </p:spPr>
            </p:pic>
            <p:pic>
              <p:nvPicPr>
                <p:cNvPr id="118" name="Image 2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800000" flipH="1" flipV="1">
                  <a:off x="6738088" y="1252549"/>
                  <a:ext cx="819518" cy="600967"/>
                </a:xfrm>
                <a:prstGeom prst="rect">
                  <a:avLst/>
                </a:prstGeom>
              </p:spPr>
            </p:pic>
            <p:sp>
              <p:nvSpPr>
                <p:cNvPr id="119" name="Oval 118"/>
                <p:cNvSpPr/>
                <p:nvPr/>
              </p:nvSpPr>
              <p:spPr>
                <a:xfrm>
                  <a:off x="6178379" y="897926"/>
                  <a:ext cx="2042984" cy="2010033"/>
                </a:xfrm>
                <a:prstGeom prst="ellipse">
                  <a:avLst/>
                </a:prstGeom>
                <a:noFill/>
                <a:ln w="28575">
                  <a:solidFill>
                    <a:schemeClr val="bg1"/>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grpSp>
          <p:cxnSp>
            <p:nvCxnSpPr>
              <p:cNvPr id="121" name="Straight Connector 120"/>
              <p:cNvCxnSpPr>
                <a:endCxn id="119" idx="6"/>
              </p:cNvCxnSpPr>
              <p:nvPr/>
            </p:nvCxnSpPr>
            <p:spPr bwMode="auto">
              <a:xfrm flipH="1">
                <a:off x="3227617" y="3783562"/>
                <a:ext cx="1216215" cy="75"/>
              </a:xfrm>
              <a:prstGeom prst="line">
                <a:avLst/>
              </a:prstGeom>
              <a:noFill/>
              <a:ln w="12700" cap="flat" cmpd="sng" algn="ctr">
                <a:solidFill>
                  <a:schemeClr val="bg1"/>
                </a:solidFill>
                <a:prstDash val="dash"/>
                <a:round/>
                <a:headEnd type="none" w="med" len="med"/>
                <a:tailEnd type="none"/>
              </a:ln>
              <a:effectLst/>
            </p:spPr>
          </p:cxnSp>
          <p:sp>
            <p:nvSpPr>
              <p:cNvPr id="122" name="TextBox 121"/>
              <p:cNvSpPr txBox="1"/>
              <p:nvPr/>
            </p:nvSpPr>
            <p:spPr>
              <a:xfrm>
                <a:off x="4192543" y="4505671"/>
                <a:ext cx="1686167" cy="338554"/>
              </a:xfrm>
              <a:prstGeom prst="rect">
                <a:avLst/>
              </a:prstGeom>
              <a:noFill/>
            </p:spPr>
            <p:txBody>
              <a:bodyPr wrap="none" rtlCol="0">
                <a:spAutoFit/>
              </a:bodyPr>
              <a:lstStyle/>
              <a:p>
                <a:r>
                  <a:rPr lang="en-US" sz="1600" b="1" dirty="0">
                    <a:solidFill>
                      <a:schemeClr val="bg1"/>
                    </a:solidFill>
                    <a:latin typeface="Trebuchet MS"/>
                    <a:cs typeface="Trebuchet MS" panose="020B0502040204020203" pitchFamily="34" charset="0"/>
                  </a:rPr>
                  <a:t>IoT Enablement</a:t>
                </a:r>
              </a:p>
            </p:txBody>
          </p:sp>
        </p:grpSp>
        <p:grpSp>
          <p:nvGrpSpPr>
            <p:cNvPr id="6" name="Group 5"/>
            <p:cNvGrpSpPr/>
            <p:nvPr/>
          </p:nvGrpSpPr>
          <p:grpSpPr>
            <a:xfrm>
              <a:off x="4373554" y="3055928"/>
              <a:ext cx="1426639" cy="1392380"/>
              <a:chOff x="4373554" y="3055928"/>
              <a:chExt cx="1426639" cy="1392380"/>
            </a:xfrm>
          </p:grpSpPr>
          <p:sp>
            <p:nvSpPr>
              <p:cNvPr id="4" name="Ellipse 3"/>
              <p:cNvSpPr/>
              <p:nvPr/>
            </p:nvSpPr>
            <p:spPr>
              <a:xfrm>
                <a:off x="4407813" y="3055928"/>
                <a:ext cx="1392380" cy="1392380"/>
              </a:xfrm>
              <a:prstGeom prst="ellipse">
                <a:avLst/>
              </a:prstGeom>
              <a:solidFill>
                <a:schemeClr val="accent1">
                  <a:lumMod val="5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fr-FR" dirty="0">
                  <a:latin typeface="Trebuchet MS"/>
                  <a:cs typeface="Trebuchet MS"/>
                </a:endParaRPr>
              </a:p>
            </p:txBody>
          </p:sp>
          <p:grpSp>
            <p:nvGrpSpPr>
              <p:cNvPr id="29" name="Group 109"/>
              <p:cNvGrpSpPr/>
              <p:nvPr/>
            </p:nvGrpSpPr>
            <p:grpSpPr>
              <a:xfrm>
                <a:off x="4672807" y="3332386"/>
                <a:ext cx="871749" cy="858959"/>
                <a:chOff x="2319337" y="5392738"/>
                <a:chExt cx="649289" cy="639763"/>
              </a:xfrm>
              <a:solidFill>
                <a:schemeClr val="bg1"/>
              </a:solidFill>
            </p:grpSpPr>
            <p:sp>
              <p:nvSpPr>
                <p:cNvPr id="31" name="Freeform 110"/>
                <p:cNvSpPr>
                  <a:spLocks/>
                </p:cNvSpPr>
                <p:nvPr/>
              </p:nvSpPr>
              <p:spPr bwMode="auto">
                <a:xfrm>
                  <a:off x="2635250" y="5438775"/>
                  <a:ext cx="19050" cy="550863"/>
                </a:xfrm>
                <a:custGeom>
                  <a:avLst/>
                  <a:gdLst/>
                  <a:ahLst/>
                  <a:cxnLst>
                    <a:cxn ang="0">
                      <a:pos x="0" y="347"/>
                    </a:cxn>
                    <a:cxn ang="0">
                      <a:pos x="0" y="0"/>
                    </a:cxn>
                    <a:cxn ang="0">
                      <a:pos x="12" y="0"/>
                    </a:cxn>
                    <a:cxn ang="0">
                      <a:pos x="12" y="347"/>
                    </a:cxn>
                    <a:cxn ang="0">
                      <a:pos x="0" y="347"/>
                    </a:cxn>
                    <a:cxn ang="0">
                      <a:pos x="0" y="347"/>
                    </a:cxn>
                  </a:cxnLst>
                  <a:rect l="0" t="0" r="r" b="b"/>
                  <a:pathLst>
                    <a:path w="12" h="347">
                      <a:moveTo>
                        <a:pt x="0" y="347"/>
                      </a:moveTo>
                      <a:lnTo>
                        <a:pt x="0" y="0"/>
                      </a:lnTo>
                      <a:lnTo>
                        <a:pt x="12" y="0"/>
                      </a:lnTo>
                      <a:lnTo>
                        <a:pt x="12" y="347"/>
                      </a:lnTo>
                      <a:lnTo>
                        <a:pt x="0" y="347"/>
                      </a:lnTo>
                      <a:lnTo>
                        <a:pt x="0" y="347"/>
                      </a:ln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2" name="Freeform 111"/>
                <p:cNvSpPr>
                  <a:spLocks/>
                </p:cNvSpPr>
                <p:nvPr/>
              </p:nvSpPr>
              <p:spPr bwMode="auto">
                <a:xfrm>
                  <a:off x="2411413" y="5551488"/>
                  <a:ext cx="465138" cy="325438"/>
                </a:xfrm>
                <a:custGeom>
                  <a:avLst/>
                  <a:gdLst/>
                  <a:ahLst/>
                  <a:cxnLst>
                    <a:cxn ang="0">
                      <a:pos x="0" y="196"/>
                    </a:cxn>
                    <a:cxn ang="0">
                      <a:pos x="287" y="0"/>
                    </a:cxn>
                    <a:cxn ang="0">
                      <a:pos x="293" y="9"/>
                    </a:cxn>
                    <a:cxn ang="0">
                      <a:pos x="7" y="205"/>
                    </a:cxn>
                    <a:cxn ang="0">
                      <a:pos x="0" y="196"/>
                    </a:cxn>
                    <a:cxn ang="0">
                      <a:pos x="0" y="196"/>
                    </a:cxn>
                  </a:cxnLst>
                  <a:rect l="0" t="0" r="r" b="b"/>
                  <a:pathLst>
                    <a:path w="293" h="205">
                      <a:moveTo>
                        <a:pt x="0" y="196"/>
                      </a:moveTo>
                      <a:lnTo>
                        <a:pt x="287" y="0"/>
                      </a:lnTo>
                      <a:lnTo>
                        <a:pt x="293" y="9"/>
                      </a:lnTo>
                      <a:lnTo>
                        <a:pt x="7" y="205"/>
                      </a:lnTo>
                      <a:lnTo>
                        <a:pt x="0" y="196"/>
                      </a:lnTo>
                      <a:lnTo>
                        <a:pt x="0" y="196"/>
                      </a:ln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3" name="Freeform 112"/>
                <p:cNvSpPr>
                  <a:spLocks/>
                </p:cNvSpPr>
                <p:nvPr/>
              </p:nvSpPr>
              <p:spPr bwMode="auto">
                <a:xfrm>
                  <a:off x="2395538" y="5578475"/>
                  <a:ext cx="496888" cy="271463"/>
                </a:xfrm>
                <a:custGeom>
                  <a:avLst/>
                  <a:gdLst/>
                  <a:ahLst/>
                  <a:cxnLst>
                    <a:cxn ang="0">
                      <a:pos x="0" y="11"/>
                    </a:cxn>
                    <a:cxn ang="0">
                      <a:pos x="6" y="0"/>
                    </a:cxn>
                    <a:cxn ang="0">
                      <a:pos x="313" y="160"/>
                    </a:cxn>
                    <a:cxn ang="0">
                      <a:pos x="308" y="171"/>
                    </a:cxn>
                    <a:cxn ang="0">
                      <a:pos x="0" y="11"/>
                    </a:cxn>
                    <a:cxn ang="0">
                      <a:pos x="0" y="11"/>
                    </a:cxn>
                  </a:cxnLst>
                  <a:rect l="0" t="0" r="r" b="b"/>
                  <a:pathLst>
                    <a:path w="313" h="171">
                      <a:moveTo>
                        <a:pt x="0" y="11"/>
                      </a:moveTo>
                      <a:lnTo>
                        <a:pt x="6" y="0"/>
                      </a:lnTo>
                      <a:lnTo>
                        <a:pt x="313" y="160"/>
                      </a:lnTo>
                      <a:lnTo>
                        <a:pt x="308" y="171"/>
                      </a:lnTo>
                      <a:lnTo>
                        <a:pt x="0" y="11"/>
                      </a:lnTo>
                      <a:lnTo>
                        <a:pt x="0" y="11"/>
                      </a:ln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4" name="Freeform 113"/>
                <p:cNvSpPr>
                  <a:spLocks/>
                </p:cNvSpPr>
                <p:nvPr/>
              </p:nvSpPr>
              <p:spPr bwMode="auto">
                <a:xfrm>
                  <a:off x="2555875" y="5392738"/>
                  <a:ext cx="179388" cy="92075"/>
                </a:xfrm>
                <a:custGeom>
                  <a:avLst/>
                  <a:gdLst/>
                  <a:ahLst/>
                  <a:cxnLst>
                    <a:cxn ang="0">
                      <a:pos x="181" y="0"/>
                    </a:cxn>
                    <a:cxn ang="0">
                      <a:pos x="188" y="3"/>
                    </a:cxn>
                    <a:cxn ang="0">
                      <a:pos x="188" y="3"/>
                    </a:cxn>
                    <a:cxn ang="0">
                      <a:pos x="191" y="10"/>
                    </a:cxn>
                    <a:cxn ang="0">
                      <a:pos x="191" y="10"/>
                    </a:cxn>
                    <a:cxn ang="0">
                      <a:pos x="191" y="89"/>
                    </a:cxn>
                    <a:cxn ang="0">
                      <a:pos x="188" y="96"/>
                    </a:cxn>
                    <a:cxn ang="0">
                      <a:pos x="188" y="96"/>
                    </a:cxn>
                    <a:cxn ang="0">
                      <a:pos x="181" y="99"/>
                    </a:cxn>
                    <a:cxn ang="0">
                      <a:pos x="181" y="99"/>
                    </a:cxn>
                    <a:cxn ang="0">
                      <a:pos x="9" y="99"/>
                    </a:cxn>
                    <a:cxn ang="0">
                      <a:pos x="9" y="99"/>
                    </a:cxn>
                    <a:cxn ang="0">
                      <a:pos x="2" y="96"/>
                    </a:cxn>
                    <a:cxn ang="0">
                      <a:pos x="2" y="96"/>
                    </a:cxn>
                    <a:cxn ang="0">
                      <a:pos x="0" y="89"/>
                    </a:cxn>
                    <a:cxn ang="0">
                      <a:pos x="0" y="89"/>
                    </a:cxn>
                    <a:cxn ang="0">
                      <a:pos x="0" y="10"/>
                    </a:cxn>
                    <a:cxn ang="0">
                      <a:pos x="2" y="3"/>
                    </a:cxn>
                    <a:cxn ang="0">
                      <a:pos x="2" y="3"/>
                    </a:cxn>
                    <a:cxn ang="0">
                      <a:pos x="9" y="0"/>
                    </a:cxn>
                    <a:cxn ang="0">
                      <a:pos x="9" y="0"/>
                    </a:cxn>
                    <a:cxn ang="0">
                      <a:pos x="181" y="0"/>
                    </a:cxn>
                  </a:cxnLst>
                  <a:rect l="0" t="0" r="r" b="b"/>
                  <a:pathLst>
                    <a:path w="191" h="99">
                      <a:moveTo>
                        <a:pt x="181" y="0"/>
                      </a:moveTo>
                      <a:cubicBezTo>
                        <a:pt x="183" y="0"/>
                        <a:pt x="186" y="1"/>
                        <a:pt x="188" y="3"/>
                      </a:cubicBezTo>
                      <a:cubicBezTo>
                        <a:pt x="188" y="3"/>
                        <a:pt x="188" y="3"/>
                        <a:pt x="188" y="3"/>
                      </a:cubicBezTo>
                      <a:cubicBezTo>
                        <a:pt x="190" y="5"/>
                        <a:pt x="191" y="7"/>
                        <a:pt x="191" y="10"/>
                      </a:cubicBezTo>
                      <a:cubicBezTo>
                        <a:pt x="191" y="10"/>
                        <a:pt x="191" y="10"/>
                        <a:pt x="191" y="10"/>
                      </a:cubicBezTo>
                      <a:cubicBezTo>
                        <a:pt x="191" y="89"/>
                        <a:pt x="191" y="89"/>
                        <a:pt x="191" y="89"/>
                      </a:cubicBezTo>
                      <a:cubicBezTo>
                        <a:pt x="191" y="92"/>
                        <a:pt x="190" y="94"/>
                        <a:pt x="188" y="96"/>
                      </a:cubicBezTo>
                      <a:cubicBezTo>
                        <a:pt x="188" y="96"/>
                        <a:pt x="188" y="96"/>
                        <a:pt x="188" y="96"/>
                      </a:cubicBezTo>
                      <a:cubicBezTo>
                        <a:pt x="186" y="98"/>
                        <a:pt x="184" y="99"/>
                        <a:pt x="181" y="99"/>
                      </a:cubicBezTo>
                      <a:cubicBezTo>
                        <a:pt x="181" y="99"/>
                        <a:pt x="181" y="99"/>
                        <a:pt x="181" y="99"/>
                      </a:cubicBezTo>
                      <a:cubicBezTo>
                        <a:pt x="9" y="99"/>
                        <a:pt x="9" y="99"/>
                        <a:pt x="9" y="99"/>
                      </a:cubicBezTo>
                      <a:cubicBezTo>
                        <a:pt x="9" y="99"/>
                        <a:pt x="9" y="99"/>
                        <a:pt x="9" y="99"/>
                      </a:cubicBezTo>
                      <a:cubicBezTo>
                        <a:pt x="7" y="99"/>
                        <a:pt x="4" y="98"/>
                        <a:pt x="2" y="96"/>
                      </a:cubicBezTo>
                      <a:cubicBezTo>
                        <a:pt x="2" y="96"/>
                        <a:pt x="2" y="96"/>
                        <a:pt x="2" y="96"/>
                      </a:cubicBezTo>
                      <a:cubicBezTo>
                        <a:pt x="1" y="94"/>
                        <a:pt x="0" y="92"/>
                        <a:pt x="0" y="89"/>
                      </a:cubicBezTo>
                      <a:cubicBezTo>
                        <a:pt x="0" y="89"/>
                        <a:pt x="0" y="89"/>
                        <a:pt x="0" y="89"/>
                      </a:cubicBezTo>
                      <a:cubicBezTo>
                        <a:pt x="0" y="10"/>
                        <a:pt x="0" y="10"/>
                        <a:pt x="0" y="10"/>
                      </a:cubicBezTo>
                      <a:cubicBezTo>
                        <a:pt x="0" y="7"/>
                        <a:pt x="1" y="5"/>
                        <a:pt x="2" y="3"/>
                      </a:cubicBezTo>
                      <a:cubicBezTo>
                        <a:pt x="2" y="3"/>
                        <a:pt x="2" y="3"/>
                        <a:pt x="2" y="3"/>
                      </a:cubicBezTo>
                      <a:cubicBezTo>
                        <a:pt x="4" y="1"/>
                        <a:pt x="7" y="0"/>
                        <a:pt x="9" y="0"/>
                      </a:cubicBezTo>
                      <a:cubicBezTo>
                        <a:pt x="9" y="0"/>
                        <a:pt x="9" y="0"/>
                        <a:pt x="9" y="0"/>
                      </a:cubicBezTo>
                      <a:cubicBezTo>
                        <a:pt x="181" y="0"/>
                        <a:pt x="181" y="0"/>
                        <a:pt x="181" y="0"/>
                      </a:cubicBezTo>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5" name="Freeform 114"/>
                <p:cNvSpPr>
                  <a:spLocks/>
                </p:cNvSpPr>
                <p:nvPr/>
              </p:nvSpPr>
              <p:spPr bwMode="auto">
                <a:xfrm>
                  <a:off x="2555875" y="5938838"/>
                  <a:ext cx="179388" cy="93663"/>
                </a:xfrm>
                <a:custGeom>
                  <a:avLst/>
                  <a:gdLst/>
                  <a:ahLst/>
                  <a:cxnLst>
                    <a:cxn ang="0">
                      <a:pos x="10" y="99"/>
                    </a:cxn>
                    <a:cxn ang="0">
                      <a:pos x="2" y="96"/>
                    </a:cxn>
                    <a:cxn ang="0">
                      <a:pos x="2" y="96"/>
                    </a:cxn>
                    <a:cxn ang="0">
                      <a:pos x="0" y="89"/>
                    </a:cxn>
                    <a:cxn ang="0">
                      <a:pos x="0" y="89"/>
                    </a:cxn>
                    <a:cxn ang="0">
                      <a:pos x="0" y="10"/>
                    </a:cxn>
                    <a:cxn ang="0">
                      <a:pos x="2" y="3"/>
                    </a:cxn>
                    <a:cxn ang="0">
                      <a:pos x="2" y="3"/>
                    </a:cxn>
                    <a:cxn ang="0">
                      <a:pos x="10" y="0"/>
                    </a:cxn>
                    <a:cxn ang="0">
                      <a:pos x="10" y="0"/>
                    </a:cxn>
                    <a:cxn ang="0">
                      <a:pos x="181" y="0"/>
                    </a:cxn>
                    <a:cxn ang="0">
                      <a:pos x="188" y="3"/>
                    </a:cxn>
                    <a:cxn ang="0">
                      <a:pos x="188" y="3"/>
                    </a:cxn>
                    <a:cxn ang="0">
                      <a:pos x="191" y="10"/>
                    </a:cxn>
                    <a:cxn ang="0">
                      <a:pos x="191" y="10"/>
                    </a:cxn>
                    <a:cxn ang="0">
                      <a:pos x="191" y="89"/>
                    </a:cxn>
                    <a:cxn ang="0">
                      <a:pos x="188" y="96"/>
                    </a:cxn>
                    <a:cxn ang="0">
                      <a:pos x="188" y="96"/>
                    </a:cxn>
                    <a:cxn ang="0">
                      <a:pos x="181" y="99"/>
                    </a:cxn>
                    <a:cxn ang="0">
                      <a:pos x="181" y="99"/>
                    </a:cxn>
                    <a:cxn ang="0">
                      <a:pos x="10" y="99"/>
                    </a:cxn>
                  </a:cxnLst>
                  <a:rect l="0" t="0" r="r" b="b"/>
                  <a:pathLst>
                    <a:path w="191" h="99">
                      <a:moveTo>
                        <a:pt x="10" y="99"/>
                      </a:moveTo>
                      <a:cubicBezTo>
                        <a:pt x="7" y="99"/>
                        <a:pt x="4" y="98"/>
                        <a:pt x="2" y="96"/>
                      </a:cubicBezTo>
                      <a:cubicBezTo>
                        <a:pt x="2" y="96"/>
                        <a:pt x="2" y="96"/>
                        <a:pt x="2" y="96"/>
                      </a:cubicBezTo>
                      <a:cubicBezTo>
                        <a:pt x="1" y="94"/>
                        <a:pt x="0" y="92"/>
                        <a:pt x="0" y="89"/>
                      </a:cubicBezTo>
                      <a:cubicBezTo>
                        <a:pt x="0" y="89"/>
                        <a:pt x="0" y="89"/>
                        <a:pt x="0" y="89"/>
                      </a:cubicBezTo>
                      <a:cubicBezTo>
                        <a:pt x="0" y="10"/>
                        <a:pt x="0" y="10"/>
                        <a:pt x="0" y="10"/>
                      </a:cubicBezTo>
                      <a:cubicBezTo>
                        <a:pt x="0" y="7"/>
                        <a:pt x="1" y="4"/>
                        <a:pt x="2" y="3"/>
                      </a:cubicBezTo>
                      <a:cubicBezTo>
                        <a:pt x="2" y="3"/>
                        <a:pt x="2" y="3"/>
                        <a:pt x="2" y="3"/>
                      </a:cubicBezTo>
                      <a:cubicBezTo>
                        <a:pt x="4" y="1"/>
                        <a:pt x="7" y="0"/>
                        <a:pt x="10" y="0"/>
                      </a:cubicBezTo>
                      <a:cubicBezTo>
                        <a:pt x="10" y="0"/>
                        <a:pt x="10" y="0"/>
                        <a:pt x="10" y="0"/>
                      </a:cubicBezTo>
                      <a:cubicBezTo>
                        <a:pt x="181" y="0"/>
                        <a:pt x="181" y="0"/>
                        <a:pt x="181" y="0"/>
                      </a:cubicBezTo>
                      <a:cubicBezTo>
                        <a:pt x="183" y="0"/>
                        <a:pt x="186" y="1"/>
                        <a:pt x="188" y="3"/>
                      </a:cubicBezTo>
                      <a:cubicBezTo>
                        <a:pt x="188" y="3"/>
                        <a:pt x="188" y="3"/>
                        <a:pt x="188" y="3"/>
                      </a:cubicBezTo>
                      <a:cubicBezTo>
                        <a:pt x="190" y="4"/>
                        <a:pt x="191" y="7"/>
                        <a:pt x="191" y="10"/>
                      </a:cubicBezTo>
                      <a:cubicBezTo>
                        <a:pt x="191" y="10"/>
                        <a:pt x="191" y="10"/>
                        <a:pt x="191" y="10"/>
                      </a:cubicBezTo>
                      <a:cubicBezTo>
                        <a:pt x="191" y="89"/>
                        <a:pt x="191" y="89"/>
                        <a:pt x="191" y="89"/>
                      </a:cubicBezTo>
                      <a:cubicBezTo>
                        <a:pt x="191" y="92"/>
                        <a:pt x="190" y="94"/>
                        <a:pt x="188" y="96"/>
                      </a:cubicBezTo>
                      <a:cubicBezTo>
                        <a:pt x="188" y="96"/>
                        <a:pt x="188" y="96"/>
                        <a:pt x="188" y="96"/>
                      </a:cubicBezTo>
                      <a:cubicBezTo>
                        <a:pt x="186" y="98"/>
                        <a:pt x="183" y="99"/>
                        <a:pt x="181" y="99"/>
                      </a:cubicBezTo>
                      <a:cubicBezTo>
                        <a:pt x="181" y="99"/>
                        <a:pt x="181" y="99"/>
                        <a:pt x="181" y="99"/>
                      </a:cubicBezTo>
                      <a:cubicBezTo>
                        <a:pt x="10" y="99"/>
                        <a:pt x="10" y="99"/>
                        <a:pt x="10" y="99"/>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6" name="Freeform 115"/>
                <p:cNvSpPr>
                  <a:spLocks/>
                </p:cNvSpPr>
                <p:nvPr/>
              </p:nvSpPr>
              <p:spPr bwMode="auto">
                <a:xfrm>
                  <a:off x="2808288" y="5735638"/>
                  <a:ext cx="160338" cy="198438"/>
                </a:xfrm>
                <a:custGeom>
                  <a:avLst/>
                  <a:gdLst/>
                  <a:ahLst/>
                  <a:cxnLst>
                    <a:cxn ang="0">
                      <a:pos x="78" y="209"/>
                    </a:cxn>
                    <a:cxn ang="0">
                      <a:pos x="7" y="173"/>
                    </a:cxn>
                    <a:cxn ang="0">
                      <a:pos x="3" y="160"/>
                    </a:cxn>
                    <a:cxn ang="0">
                      <a:pos x="3" y="160"/>
                    </a:cxn>
                    <a:cxn ang="0">
                      <a:pos x="80" y="6"/>
                    </a:cxn>
                    <a:cxn ang="0">
                      <a:pos x="93" y="2"/>
                    </a:cxn>
                    <a:cxn ang="0">
                      <a:pos x="93" y="2"/>
                    </a:cxn>
                    <a:cxn ang="0">
                      <a:pos x="164" y="38"/>
                    </a:cxn>
                    <a:cxn ang="0">
                      <a:pos x="169" y="43"/>
                    </a:cxn>
                    <a:cxn ang="0">
                      <a:pos x="169" y="43"/>
                    </a:cxn>
                    <a:cxn ang="0">
                      <a:pos x="169" y="51"/>
                    </a:cxn>
                    <a:cxn ang="0">
                      <a:pos x="169" y="51"/>
                    </a:cxn>
                    <a:cxn ang="0">
                      <a:pos x="92" y="204"/>
                    </a:cxn>
                    <a:cxn ang="0">
                      <a:pos x="86" y="209"/>
                    </a:cxn>
                    <a:cxn ang="0">
                      <a:pos x="86" y="209"/>
                    </a:cxn>
                    <a:cxn ang="0">
                      <a:pos x="83" y="210"/>
                    </a:cxn>
                    <a:cxn ang="0">
                      <a:pos x="83" y="210"/>
                    </a:cxn>
                    <a:cxn ang="0">
                      <a:pos x="78" y="209"/>
                    </a:cxn>
                  </a:cxnLst>
                  <a:rect l="0" t="0" r="r" b="b"/>
                  <a:pathLst>
                    <a:path w="170" h="210">
                      <a:moveTo>
                        <a:pt x="78" y="209"/>
                      </a:moveTo>
                      <a:cubicBezTo>
                        <a:pt x="7" y="173"/>
                        <a:pt x="7" y="173"/>
                        <a:pt x="7" y="173"/>
                      </a:cubicBezTo>
                      <a:cubicBezTo>
                        <a:pt x="2" y="171"/>
                        <a:pt x="0" y="165"/>
                        <a:pt x="3" y="160"/>
                      </a:cubicBezTo>
                      <a:cubicBezTo>
                        <a:pt x="3" y="160"/>
                        <a:pt x="3" y="160"/>
                        <a:pt x="3" y="160"/>
                      </a:cubicBezTo>
                      <a:cubicBezTo>
                        <a:pt x="80" y="6"/>
                        <a:pt x="80" y="6"/>
                        <a:pt x="80" y="6"/>
                      </a:cubicBezTo>
                      <a:cubicBezTo>
                        <a:pt x="82" y="2"/>
                        <a:pt x="88" y="0"/>
                        <a:pt x="93" y="2"/>
                      </a:cubicBezTo>
                      <a:cubicBezTo>
                        <a:pt x="93" y="2"/>
                        <a:pt x="93" y="2"/>
                        <a:pt x="93" y="2"/>
                      </a:cubicBezTo>
                      <a:cubicBezTo>
                        <a:pt x="164" y="38"/>
                        <a:pt x="164" y="38"/>
                        <a:pt x="164" y="38"/>
                      </a:cubicBezTo>
                      <a:cubicBezTo>
                        <a:pt x="166" y="39"/>
                        <a:pt x="168" y="41"/>
                        <a:pt x="169" y="43"/>
                      </a:cubicBezTo>
                      <a:cubicBezTo>
                        <a:pt x="169" y="43"/>
                        <a:pt x="169" y="43"/>
                        <a:pt x="169" y="43"/>
                      </a:cubicBezTo>
                      <a:cubicBezTo>
                        <a:pt x="170" y="46"/>
                        <a:pt x="170" y="49"/>
                        <a:pt x="169" y="51"/>
                      </a:cubicBezTo>
                      <a:cubicBezTo>
                        <a:pt x="169" y="51"/>
                        <a:pt x="169" y="51"/>
                        <a:pt x="169" y="51"/>
                      </a:cubicBezTo>
                      <a:cubicBezTo>
                        <a:pt x="92" y="204"/>
                        <a:pt x="92" y="204"/>
                        <a:pt x="92" y="204"/>
                      </a:cubicBezTo>
                      <a:cubicBezTo>
                        <a:pt x="90" y="207"/>
                        <a:pt x="88" y="208"/>
                        <a:pt x="86" y="209"/>
                      </a:cubicBezTo>
                      <a:cubicBezTo>
                        <a:pt x="86" y="209"/>
                        <a:pt x="86" y="209"/>
                        <a:pt x="86" y="209"/>
                      </a:cubicBezTo>
                      <a:cubicBezTo>
                        <a:pt x="85" y="210"/>
                        <a:pt x="84" y="210"/>
                        <a:pt x="83" y="210"/>
                      </a:cubicBezTo>
                      <a:cubicBezTo>
                        <a:pt x="83" y="210"/>
                        <a:pt x="83" y="210"/>
                        <a:pt x="83" y="210"/>
                      </a:cubicBezTo>
                      <a:cubicBezTo>
                        <a:pt x="81" y="210"/>
                        <a:pt x="80" y="209"/>
                        <a:pt x="78" y="209"/>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7" name="Freeform 116"/>
                <p:cNvSpPr>
                  <a:spLocks/>
                </p:cNvSpPr>
                <p:nvPr/>
              </p:nvSpPr>
              <p:spPr bwMode="auto">
                <a:xfrm>
                  <a:off x="2319337" y="5489575"/>
                  <a:ext cx="160338" cy="198438"/>
                </a:xfrm>
                <a:custGeom>
                  <a:avLst/>
                  <a:gdLst/>
                  <a:ahLst/>
                  <a:cxnLst>
                    <a:cxn ang="0">
                      <a:pos x="164" y="38"/>
                    </a:cxn>
                    <a:cxn ang="0">
                      <a:pos x="169" y="44"/>
                    </a:cxn>
                    <a:cxn ang="0">
                      <a:pos x="169" y="44"/>
                    </a:cxn>
                    <a:cxn ang="0">
                      <a:pos x="169" y="51"/>
                    </a:cxn>
                    <a:cxn ang="0">
                      <a:pos x="169" y="51"/>
                    </a:cxn>
                    <a:cxn ang="0">
                      <a:pos x="92" y="204"/>
                    </a:cxn>
                    <a:cxn ang="0">
                      <a:pos x="86" y="209"/>
                    </a:cxn>
                    <a:cxn ang="0">
                      <a:pos x="86" y="209"/>
                    </a:cxn>
                    <a:cxn ang="0">
                      <a:pos x="83" y="210"/>
                    </a:cxn>
                    <a:cxn ang="0">
                      <a:pos x="83" y="210"/>
                    </a:cxn>
                    <a:cxn ang="0">
                      <a:pos x="78" y="209"/>
                    </a:cxn>
                    <a:cxn ang="0">
                      <a:pos x="78" y="209"/>
                    </a:cxn>
                    <a:cxn ang="0">
                      <a:pos x="7" y="173"/>
                    </a:cxn>
                    <a:cxn ang="0">
                      <a:pos x="3" y="160"/>
                    </a:cxn>
                    <a:cxn ang="0">
                      <a:pos x="3" y="160"/>
                    </a:cxn>
                    <a:cxn ang="0">
                      <a:pos x="80" y="7"/>
                    </a:cxn>
                    <a:cxn ang="0">
                      <a:pos x="93" y="2"/>
                    </a:cxn>
                    <a:cxn ang="0">
                      <a:pos x="93" y="2"/>
                    </a:cxn>
                    <a:cxn ang="0">
                      <a:pos x="164" y="38"/>
                    </a:cxn>
                  </a:cxnLst>
                  <a:rect l="0" t="0" r="r" b="b"/>
                  <a:pathLst>
                    <a:path w="170" h="210">
                      <a:moveTo>
                        <a:pt x="164" y="38"/>
                      </a:moveTo>
                      <a:cubicBezTo>
                        <a:pt x="166" y="39"/>
                        <a:pt x="168" y="41"/>
                        <a:pt x="169" y="44"/>
                      </a:cubicBezTo>
                      <a:cubicBezTo>
                        <a:pt x="169" y="44"/>
                        <a:pt x="169" y="44"/>
                        <a:pt x="169" y="44"/>
                      </a:cubicBezTo>
                      <a:cubicBezTo>
                        <a:pt x="170" y="46"/>
                        <a:pt x="170" y="49"/>
                        <a:pt x="169" y="51"/>
                      </a:cubicBezTo>
                      <a:cubicBezTo>
                        <a:pt x="169" y="51"/>
                        <a:pt x="169" y="51"/>
                        <a:pt x="169" y="51"/>
                      </a:cubicBezTo>
                      <a:cubicBezTo>
                        <a:pt x="92" y="204"/>
                        <a:pt x="92" y="204"/>
                        <a:pt x="92" y="204"/>
                      </a:cubicBezTo>
                      <a:cubicBezTo>
                        <a:pt x="90" y="207"/>
                        <a:pt x="88" y="209"/>
                        <a:pt x="86" y="209"/>
                      </a:cubicBezTo>
                      <a:cubicBezTo>
                        <a:pt x="86" y="209"/>
                        <a:pt x="86" y="209"/>
                        <a:pt x="86" y="209"/>
                      </a:cubicBezTo>
                      <a:cubicBezTo>
                        <a:pt x="85" y="210"/>
                        <a:pt x="84" y="210"/>
                        <a:pt x="83" y="210"/>
                      </a:cubicBezTo>
                      <a:cubicBezTo>
                        <a:pt x="83" y="210"/>
                        <a:pt x="83" y="210"/>
                        <a:pt x="83" y="210"/>
                      </a:cubicBezTo>
                      <a:cubicBezTo>
                        <a:pt x="81" y="210"/>
                        <a:pt x="80" y="210"/>
                        <a:pt x="78" y="209"/>
                      </a:cubicBezTo>
                      <a:cubicBezTo>
                        <a:pt x="78" y="209"/>
                        <a:pt x="78" y="209"/>
                        <a:pt x="78" y="209"/>
                      </a:cubicBezTo>
                      <a:cubicBezTo>
                        <a:pt x="7" y="173"/>
                        <a:pt x="7" y="173"/>
                        <a:pt x="7" y="173"/>
                      </a:cubicBezTo>
                      <a:cubicBezTo>
                        <a:pt x="2" y="171"/>
                        <a:pt x="0" y="165"/>
                        <a:pt x="3" y="160"/>
                      </a:cubicBezTo>
                      <a:cubicBezTo>
                        <a:pt x="3" y="160"/>
                        <a:pt x="3" y="160"/>
                        <a:pt x="3" y="160"/>
                      </a:cubicBezTo>
                      <a:cubicBezTo>
                        <a:pt x="80" y="7"/>
                        <a:pt x="80" y="7"/>
                        <a:pt x="80" y="7"/>
                      </a:cubicBezTo>
                      <a:cubicBezTo>
                        <a:pt x="82" y="2"/>
                        <a:pt x="88" y="0"/>
                        <a:pt x="93" y="2"/>
                      </a:cubicBezTo>
                      <a:cubicBezTo>
                        <a:pt x="93" y="2"/>
                        <a:pt x="93" y="2"/>
                        <a:pt x="93" y="2"/>
                      </a:cubicBezTo>
                      <a:cubicBezTo>
                        <a:pt x="164" y="38"/>
                        <a:pt x="164" y="38"/>
                        <a:pt x="164" y="38"/>
                      </a:cubicBezTo>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8" name="Freeform 117"/>
                <p:cNvSpPr>
                  <a:spLocks/>
                </p:cNvSpPr>
                <p:nvPr/>
              </p:nvSpPr>
              <p:spPr bwMode="auto">
                <a:xfrm>
                  <a:off x="2786063" y="5462588"/>
                  <a:ext cx="171450" cy="195263"/>
                </a:xfrm>
                <a:custGeom>
                  <a:avLst/>
                  <a:gdLst/>
                  <a:ahLst/>
                  <a:cxnLst>
                    <a:cxn ang="0">
                      <a:pos x="180" y="149"/>
                    </a:cxn>
                    <a:cxn ang="0">
                      <a:pos x="182" y="156"/>
                    </a:cxn>
                    <a:cxn ang="0">
                      <a:pos x="182" y="156"/>
                    </a:cxn>
                    <a:cxn ang="0">
                      <a:pos x="177" y="163"/>
                    </a:cxn>
                    <a:cxn ang="0">
                      <a:pos x="177" y="163"/>
                    </a:cxn>
                    <a:cxn ang="0">
                      <a:pos x="111" y="206"/>
                    </a:cxn>
                    <a:cxn ang="0">
                      <a:pos x="106" y="208"/>
                    </a:cxn>
                    <a:cxn ang="0">
                      <a:pos x="106" y="208"/>
                    </a:cxn>
                    <a:cxn ang="0">
                      <a:pos x="104" y="208"/>
                    </a:cxn>
                    <a:cxn ang="0">
                      <a:pos x="104" y="208"/>
                    </a:cxn>
                    <a:cxn ang="0">
                      <a:pos x="97" y="203"/>
                    </a:cxn>
                    <a:cxn ang="0">
                      <a:pos x="97" y="203"/>
                    </a:cxn>
                    <a:cxn ang="0">
                      <a:pos x="3" y="61"/>
                    </a:cxn>
                    <a:cxn ang="0">
                      <a:pos x="5" y="47"/>
                    </a:cxn>
                    <a:cxn ang="0">
                      <a:pos x="5" y="47"/>
                    </a:cxn>
                    <a:cxn ang="0">
                      <a:pos x="72" y="3"/>
                    </a:cxn>
                    <a:cxn ang="0">
                      <a:pos x="85" y="6"/>
                    </a:cxn>
                    <a:cxn ang="0">
                      <a:pos x="85" y="6"/>
                    </a:cxn>
                    <a:cxn ang="0">
                      <a:pos x="180" y="149"/>
                    </a:cxn>
                  </a:cxnLst>
                  <a:rect l="0" t="0" r="r" b="b"/>
                  <a:pathLst>
                    <a:path w="182" h="208">
                      <a:moveTo>
                        <a:pt x="180" y="149"/>
                      </a:moveTo>
                      <a:cubicBezTo>
                        <a:pt x="182" y="151"/>
                        <a:pt x="182" y="154"/>
                        <a:pt x="182" y="156"/>
                      </a:cubicBezTo>
                      <a:cubicBezTo>
                        <a:pt x="182" y="156"/>
                        <a:pt x="182" y="156"/>
                        <a:pt x="182" y="156"/>
                      </a:cubicBezTo>
                      <a:cubicBezTo>
                        <a:pt x="181" y="159"/>
                        <a:pt x="179" y="161"/>
                        <a:pt x="177" y="163"/>
                      </a:cubicBezTo>
                      <a:cubicBezTo>
                        <a:pt x="177" y="163"/>
                        <a:pt x="177" y="163"/>
                        <a:pt x="177" y="163"/>
                      </a:cubicBezTo>
                      <a:cubicBezTo>
                        <a:pt x="111" y="206"/>
                        <a:pt x="111" y="206"/>
                        <a:pt x="111" y="206"/>
                      </a:cubicBezTo>
                      <a:cubicBezTo>
                        <a:pt x="109" y="207"/>
                        <a:pt x="107" y="208"/>
                        <a:pt x="106" y="208"/>
                      </a:cubicBezTo>
                      <a:cubicBezTo>
                        <a:pt x="106" y="208"/>
                        <a:pt x="106" y="208"/>
                        <a:pt x="106" y="208"/>
                      </a:cubicBezTo>
                      <a:cubicBezTo>
                        <a:pt x="105" y="208"/>
                        <a:pt x="104" y="208"/>
                        <a:pt x="104" y="208"/>
                      </a:cubicBezTo>
                      <a:cubicBezTo>
                        <a:pt x="104" y="208"/>
                        <a:pt x="104" y="208"/>
                        <a:pt x="104" y="208"/>
                      </a:cubicBezTo>
                      <a:cubicBezTo>
                        <a:pt x="101" y="207"/>
                        <a:pt x="99" y="206"/>
                        <a:pt x="97" y="203"/>
                      </a:cubicBezTo>
                      <a:cubicBezTo>
                        <a:pt x="97" y="203"/>
                        <a:pt x="97" y="203"/>
                        <a:pt x="97" y="203"/>
                      </a:cubicBezTo>
                      <a:cubicBezTo>
                        <a:pt x="3" y="61"/>
                        <a:pt x="3" y="61"/>
                        <a:pt x="3" y="61"/>
                      </a:cubicBezTo>
                      <a:cubicBezTo>
                        <a:pt x="0" y="56"/>
                        <a:pt x="1" y="50"/>
                        <a:pt x="5" y="47"/>
                      </a:cubicBezTo>
                      <a:cubicBezTo>
                        <a:pt x="5" y="47"/>
                        <a:pt x="5" y="47"/>
                        <a:pt x="5" y="47"/>
                      </a:cubicBezTo>
                      <a:cubicBezTo>
                        <a:pt x="72" y="3"/>
                        <a:pt x="72" y="3"/>
                        <a:pt x="72" y="3"/>
                      </a:cubicBezTo>
                      <a:cubicBezTo>
                        <a:pt x="76" y="0"/>
                        <a:pt x="82" y="1"/>
                        <a:pt x="85" y="6"/>
                      </a:cubicBezTo>
                      <a:cubicBezTo>
                        <a:pt x="85" y="6"/>
                        <a:pt x="85" y="6"/>
                        <a:pt x="85" y="6"/>
                      </a:cubicBezTo>
                      <a:cubicBezTo>
                        <a:pt x="180" y="149"/>
                        <a:pt x="180" y="149"/>
                        <a:pt x="180" y="149"/>
                      </a:cubicBezTo>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39" name="Freeform 118"/>
                <p:cNvSpPr>
                  <a:spLocks/>
                </p:cNvSpPr>
                <p:nvPr/>
              </p:nvSpPr>
              <p:spPr bwMode="auto">
                <a:xfrm>
                  <a:off x="2330450" y="5765800"/>
                  <a:ext cx="171450" cy="195263"/>
                </a:xfrm>
                <a:custGeom>
                  <a:avLst/>
                  <a:gdLst/>
                  <a:ahLst/>
                  <a:cxnLst>
                    <a:cxn ang="0">
                      <a:pos x="104" y="207"/>
                    </a:cxn>
                    <a:cxn ang="0">
                      <a:pos x="98" y="203"/>
                    </a:cxn>
                    <a:cxn ang="0">
                      <a:pos x="98" y="203"/>
                    </a:cxn>
                    <a:cxn ang="0">
                      <a:pos x="3" y="60"/>
                    </a:cxn>
                    <a:cxn ang="0">
                      <a:pos x="6" y="46"/>
                    </a:cxn>
                    <a:cxn ang="0">
                      <a:pos x="6" y="46"/>
                    </a:cxn>
                    <a:cxn ang="0">
                      <a:pos x="72" y="3"/>
                    </a:cxn>
                    <a:cxn ang="0">
                      <a:pos x="86" y="5"/>
                    </a:cxn>
                    <a:cxn ang="0">
                      <a:pos x="86" y="5"/>
                    </a:cxn>
                    <a:cxn ang="0">
                      <a:pos x="181" y="148"/>
                    </a:cxn>
                    <a:cxn ang="0">
                      <a:pos x="182" y="156"/>
                    </a:cxn>
                    <a:cxn ang="0">
                      <a:pos x="182" y="156"/>
                    </a:cxn>
                    <a:cxn ang="0">
                      <a:pos x="178" y="162"/>
                    </a:cxn>
                    <a:cxn ang="0">
                      <a:pos x="178" y="162"/>
                    </a:cxn>
                    <a:cxn ang="0">
                      <a:pos x="112" y="206"/>
                    </a:cxn>
                    <a:cxn ang="0">
                      <a:pos x="106" y="208"/>
                    </a:cxn>
                    <a:cxn ang="0">
                      <a:pos x="106" y="208"/>
                    </a:cxn>
                    <a:cxn ang="0">
                      <a:pos x="104" y="207"/>
                    </a:cxn>
                  </a:cxnLst>
                  <a:rect l="0" t="0" r="r" b="b"/>
                  <a:pathLst>
                    <a:path w="183" h="208">
                      <a:moveTo>
                        <a:pt x="104" y="207"/>
                      </a:moveTo>
                      <a:cubicBezTo>
                        <a:pt x="102" y="207"/>
                        <a:pt x="99" y="205"/>
                        <a:pt x="98" y="203"/>
                      </a:cubicBezTo>
                      <a:cubicBezTo>
                        <a:pt x="98" y="203"/>
                        <a:pt x="98" y="203"/>
                        <a:pt x="98" y="203"/>
                      </a:cubicBezTo>
                      <a:cubicBezTo>
                        <a:pt x="3" y="60"/>
                        <a:pt x="3" y="60"/>
                        <a:pt x="3" y="60"/>
                      </a:cubicBezTo>
                      <a:cubicBezTo>
                        <a:pt x="0" y="56"/>
                        <a:pt x="2" y="49"/>
                        <a:pt x="6" y="46"/>
                      </a:cubicBezTo>
                      <a:cubicBezTo>
                        <a:pt x="6" y="46"/>
                        <a:pt x="6" y="46"/>
                        <a:pt x="6" y="46"/>
                      </a:cubicBezTo>
                      <a:cubicBezTo>
                        <a:pt x="72" y="3"/>
                        <a:pt x="72" y="3"/>
                        <a:pt x="72" y="3"/>
                      </a:cubicBezTo>
                      <a:cubicBezTo>
                        <a:pt x="77" y="0"/>
                        <a:pt x="83" y="1"/>
                        <a:pt x="86" y="5"/>
                      </a:cubicBezTo>
                      <a:cubicBezTo>
                        <a:pt x="86" y="5"/>
                        <a:pt x="86" y="5"/>
                        <a:pt x="86" y="5"/>
                      </a:cubicBezTo>
                      <a:cubicBezTo>
                        <a:pt x="181" y="148"/>
                        <a:pt x="181" y="148"/>
                        <a:pt x="181" y="148"/>
                      </a:cubicBezTo>
                      <a:cubicBezTo>
                        <a:pt x="182" y="150"/>
                        <a:pt x="183" y="153"/>
                        <a:pt x="182" y="156"/>
                      </a:cubicBezTo>
                      <a:cubicBezTo>
                        <a:pt x="182" y="156"/>
                        <a:pt x="182" y="156"/>
                        <a:pt x="182" y="156"/>
                      </a:cubicBezTo>
                      <a:cubicBezTo>
                        <a:pt x="182" y="158"/>
                        <a:pt x="180" y="161"/>
                        <a:pt x="178" y="162"/>
                      </a:cubicBezTo>
                      <a:cubicBezTo>
                        <a:pt x="178" y="162"/>
                        <a:pt x="178" y="162"/>
                        <a:pt x="178" y="162"/>
                      </a:cubicBezTo>
                      <a:cubicBezTo>
                        <a:pt x="112" y="206"/>
                        <a:pt x="112" y="206"/>
                        <a:pt x="112" y="206"/>
                      </a:cubicBezTo>
                      <a:cubicBezTo>
                        <a:pt x="110" y="207"/>
                        <a:pt x="108" y="208"/>
                        <a:pt x="106" y="208"/>
                      </a:cubicBezTo>
                      <a:cubicBezTo>
                        <a:pt x="106" y="208"/>
                        <a:pt x="106" y="208"/>
                        <a:pt x="106" y="208"/>
                      </a:cubicBezTo>
                      <a:cubicBezTo>
                        <a:pt x="106" y="208"/>
                        <a:pt x="105" y="208"/>
                        <a:pt x="104" y="207"/>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40" name="Oval 119"/>
                <p:cNvSpPr>
                  <a:spLocks noChangeArrowheads="1"/>
                </p:cNvSpPr>
                <p:nvPr/>
              </p:nvSpPr>
              <p:spPr bwMode="auto">
                <a:xfrm>
                  <a:off x="2527300" y="5548313"/>
                  <a:ext cx="52388" cy="52388"/>
                </a:xfrm>
                <a:prstGeom prst="ellipse">
                  <a:avLst/>
                </a:pr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sp>
              <p:nvSpPr>
                <p:cNvPr id="42" name="Freeform 120"/>
                <p:cNvSpPr>
                  <a:spLocks/>
                </p:cNvSpPr>
                <p:nvPr/>
              </p:nvSpPr>
              <p:spPr bwMode="auto">
                <a:xfrm>
                  <a:off x="2478088" y="5540375"/>
                  <a:ext cx="334963" cy="336550"/>
                </a:xfrm>
                <a:custGeom>
                  <a:avLst/>
                  <a:gdLst/>
                  <a:ahLst/>
                  <a:cxnLst>
                    <a:cxn ang="0">
                      <a:pos x="178" y="0"/>
                    </a:cxn>
                    <a:cxn ang="0">
                      <a:pos x="144" y="4"/>
                    </a:cxn>
                    <a:cxn ang="0">
                      <a:pos x="149" y="31"/>
                    </a:cxn>
                    <a:cxn ang="0">
                      <a:pos x="78" y="102"/>
                    </a:cxn>
                    <a:cxn ang="0">
                      <a:pos x="28" y="82"/>
                    </a:cxn>
                    <a:cxn ang="0">
                      <a:pos x="0" y="178"/>
                    </a:cxn>
                    <a:cxn ang="0">
                      <a:pos x="178" y="356"/>
                    </a:cxn>
                    <a:cxn ang="0">
                      <a:pos x="356" y="178"/>
                    </a:cxn>
                    <a:cxn ang="0">
                      <a:pos x="178" y="0"/>
                    </a:cxn>
                  </a:cxnLst>
                  <a:rect l="0" t="0" r="r" b="b"/>
                  <a:pathLst>
                    <a:path w="356" h="356">
                      <a:moveTo>
                        <a:pt x="178" y="0"/>
                      </a:moveTo>
                      <a:cubicBezTo>
                        <a:pt x="166" y="0"/>
                        <a:pt x="155" y="2"/>
                        <a:pt x="144" y="4"/>
                      </a:cubicBezTo>
                      <a:cubicBezTo>
                        <a:pt x="147" y="12"/>
                        <a:pt x="149" y="21"/>
                        <a:pt x="149" y="31"/>
                      </a:cubicBezTo>
                      <a:cubicBezTo>
                        <a:pt x="149" y="70"/>
                        <a:pt x="117" y="102"/>
                        <a:pt x="78" y="102"/>
                      </a:cubicBezTo>
                      <a:cubicBezTo>
                        <a:pt x="59" y="102"/>
                        <a:pt x="41" y="95"/>
                        <a:pt x="28" y="82"/>
                      </a:cubicBezTo>
                      <a:cubicBezTo>
                        <a:pt x="10" y="110"/>
                        <a:pt x="0" y="143"/>
                        <a:pt x="0" y="178"/>
                      </a:cubicBezTo>
                      <a:cubicBezTo>
                        <a:pt x="0" y="276"/>
                        <a:pt x="80" y="356"/>
                        <a:pt x="178" y="356"/>
                      </a:cubicBezTo>
                      <a:cubicBezTo>
                        <a:pt x="276" y="356"/>
                        <a:pt x="356" y="276"/>
                        <a:pt x="356" y="178"/>
                      </a:cubicBezTo>
                      <a:cubicBezTo>
                        <a:pt x="356" y="80"/>
                        <a:pt x="276" y="0"/>
                        <a:pt x="178" y="0"/>
                      </a:cubicBezTo>
                      <a:close/>
                    </a:path>
                  </a:pathLst>
                </a:custGeom>
                <a:grpFill/>
                <a:ln w="9525">
                  <a:noFill/>
                  <a:round/>
                  <a:headEnd/>
                  <a:tailEnd/>
                </a:ln>
              </p:spPr>
              <p:txBody>
                <a:bodyPr/>
                <a:lstStyle/>
                <a:p>
                  <a:pPr>
                    <a:lnSpc>
                      <a:spcPct val="100000"/>
                    </a:lnSpc>
                    <a:spcAft>
                      <a:spcPts val="0"/>
                    </a:spcAft>
                    <a:buFont typeface="Times New Roman" pitchFamily="18" charset="0"/>
                    <a:buNone/>
                    <a:defRPr/>
                  </a:pPr>
                  <a:endParaRPr lang="en-US">
                    <a:latin typeface="+mn-lt"/>
                    <a:ea typeface="MS PGothic"/>
                    <a:cs typeface="MS PGothic"/>
                  </a:endParaRPr>
                </a:p>
              </p:txBody>
            </p:sp>
          </p:grpSp>
          <p:sp>
            <p:nvSpPr>
              <p:cNvPr id="46" name="Freeform 44"/>
              <p:cNvSpPr>
                <a:spLocks/>
              </p:cNvSpPr>
              <p:nvPr/>
            </p:nvSpPr>
            <p:spPr bwMode="auto">
              <a:xfrm rot="14459689">
                <a:off x="4482231" y="3140491"/>
                <a:ext cx="545297" cy="762651"/>
              </a:xfrm>
              <a:custGeom>
                <a:avLst/>
                <a:gdLst>
                  <a:gd name="T0" fmla="*/ 2 w 74"/>
                  <a:gd name="T1" fmla="*/ 1 h 99"/>
                  <a:gd name="T2" fmla="*/ 4 w 74"/>
                  <a:gd name="T3" fmla="*/ 0 h 99"/>
                  <a:gd name="T4" fmla="*/ 63 w 74"/>
                  <a:gd name="T5" fmla="*/ 96 h 99"/>
                  <a:gd name="T6" fmla="*/ 59 w 74"/>
                  <a:gd name="T7" fmla="*/ 99 h 99"/>
                  <a:gd name="T8" fmla="*/ 56 w 74"/>
                  <a:gd name="T9" fmla="*/ 95 h 99"/>
                  <a:gd name="T10" fmla="*/ 3 w 74"/>
                  <a:gd name="T11" fmla="*/ 7 h 99"/>
                  <a:gd name="T12" fmla="*/ 0 w 74"/>
                  <a:gd name="T13" fmla="*/ 3 h 99"/>
                  <a:gd name="T14" fmla="*/ 2 w 74"/>
                  <a:gd name="T15" fmla="*/ 1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99">
                    <a:moveTo>
                      <a:pt x="2" y="1"/>
                    </a:moveTo>
                    <a:cubicBezTo>
                      <a:pt x="3" y="0"/>
                      <a:pt x="4" y="0"/>
                      <a:pt x="4" y="0"/>
                    </a:cubicBezTo>
                    <a:cubicBezTo>
                      <a:pt x="47" y="11"/>
                      <a:pt x="74" y="55"/>
                      <a:pt x="63" y="96"/>
                    </a:cubicBezTo>
                    <a:cubicBezTo>
                      <a:pt x="62" y="98"/>
                      <a:pt x="60" y="99"/>
                      <a:pt x="59" y="99"/>
                    </a:cubicBezTo>
                    <a:cubicBezTo>
                      <a:pt x="57" y="98"/>
                      <a:pt x="56" y="97"/>
                      <a:pt x="56" y="95"/>
                    </a:cubicBezTo>
                    <a:cubicBezTo>
                      <a:pt x="66" y="56"/>
                      <a:pt x="42" y="17"/>
                      <a:pt x="3" y="7"/>
                    </a:cubicBezTo>
                    <a:cubicBezTo>
                      <a:pt x="1" y="6"/>
                      <a:pt x="0" y="5"/>
                      <a:pt x="0" y="3"/>
                    </a:cubicBezTo>
                    <a:cubicBezTo>
                      <a:pt x="1" y="2"/>
                      <a:pt x="1" y="1"/>
                      <a:pt x="2" y="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7" name="Freeform 44"/>
              <p:cNvSpPr>
                <a:spLocks/>
              </p:cNvSpPr>
              <p:nvPr/>
            </p:nvSpPr>
            <p:spPr bwMode="auto">
              <a:xfrm rot="7504012">
                <a:off x="4776452" y="3790778"/>
                <a:ext cx="545297" cy="762651"/>
              </a:xfrm>
              <a:custGeom>
                <a:avLst/>
                <a:gdLst>
                  <a:gd name="T0" fmla="*/ 2 w 74"/>
                  <a:gd name="T1" fmla="*/ 1 h 99"/>
                  <a:gd name="T2" fmla="*/ 4 w 74"/>
                  <a:gd name="T3" fmla="*/ 0 h 99"/>
                  <a:gd name="T4" fmla="*/ 63 w 74"/>
                  <a:gd name="T5" fmla="*/ 96 h 99"/>
                  <a:gd name="T6" fmla="*/ 59 w 74"/>
                  <a:gd name="T7" fmla="*/ 99 h 99"/>
                  <a:gd name="T8" fmla="*/ 56 w 74"/>
                  <a:gd name="T9" fmla="*/ 95 h 99"/>
                  <a:gd name="T10" fmla="*/ 3 w 74"/>
                  <a:gd name="T11" fmla="*/ 7 h 99"/>
                  <a:gd name="T12" fmla="*/ 0 w 74"/>
                  <a:gd name="T13" fmla="*/ 3 h 99"/>
                  <a:gd name="T14" fmla="*/ 2 w 74"/>
                  <a:gd name="T15" fmla="*/ 1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99">
                    <a:moveTo>
                      <a:pt x="2" y="1"/>
                    </a:moveTo>
                    <a:cubicBezTo>
                      <a:pt x="3" y="0"/>
                      <a:pt x="4" y="0"/>
                      <a:pt x="4" y="0"/>
                    </a:cubicBezTo>
                    <a:cubicBezTo>
                      <a:pt x="47" y="11"/>
                      <a:pt x="74" y="55"/>
                      <a:pt x="63" y="96"/>
                    </a:cubicBezTo>
                    <a:cubicBezTo>
                      <a:pt x="62" y="98"/>
                      <a:pt x="60" y="99"/>
                      <a:pt x="59" y="99"/>
                    </a:cubicBezTo>
                    <a:cubicBezTo>
                      <a:pt x="57" y="98"/>
                      <a:pt x="56" y="97"/>
                      <a:pt x="56" y="95"/>
                    </a:cubicBezTo>
                    <a:cubicBezTo>
                      <a:pt x="66" y="56"/>
                      <a:pt x="42" y="17"/>
                      <a:pt x="3" y="7"/>
                    </a:cubicBezTo>
                    <a:cubicBezTo>
                      <a:pt x="1" y="6"/>
                      <a:pt x="0" y="5"/>
                      <a:pt x="0" y="3"/>
                    </a:cubicBezTo>
                    <a:cubicBezTo>
                      <a:pt x="1" y="2"/>
                      <a:pt x="1" y="1"/>
                      <a:pt x="2" y="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Freeform 44"/>
              <p:cNvSpPr>
                <a:spLocks/>
              </p:cNvSpPr>
              <p:nvPr/>
            </p:nvSpPr>
            <p:spPr bwMode="auto">
              <a:xfrm rot="754588">
                <a:off x="5236786" y="3268516"/>
                <a:ext cx="545297" cy="762651"/>
              </a:xfrm>
              <a:custGeom>
                <a:avLst/>
                <a:gdLst>
                  <a:gd name="T0" fmla="*/ 2 w 74"/>
                  <a:gd name="T1" fmla="*/ 1 h 99"/>
                  <a:gd name="T2" fmla="*/ 4 w 74"/>
                  <a:gd name="T3" fmla="*/ 0 h 99"/>
                  <a:gd name="T4" fmla="*/ 63 w 74"/>
                  <a:gd name="T5" fmla="*/ 96 h 99"/>
                  <a:gd name="T6" fmla="*/ 59 w 74"/>
                  <a:gd name="T7" fmla="*/ 99 h 99"/>
                  <a:gd name="T8" fmla="*/ 56 w 74"/>
                  <a:gd name="T9" fmla="*/ 95 h 99"/>
                  <a:gd name="T10" fmla="*/ 3 w 74"/>
                  <a:gd name="T11" fmla="*/ 7 h 99"/>
                  <a:gd name="T12" fmla="*/ 0 w 74"/>
                  <a:gd name="T13" fmla="*/ 3 h 99"/>
                  <a:gd name="T14" fmla="*/ 2 w 74"/>
                  <a:gd name="T15" fmla="*/ 1 h 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99">
                    <a:moveTo>
                      <a:pt x="2" y="1"/>
                    </a:moveTo>
                    <a:cubicBezTo>
                      <a:pt x="3" y="0"/>
                      <a:pt x="4" y="0"/>
                      <a:pt x="4" y="0"/>
                    </a:cubicBezTo>
                    <a:cubicBezTo>
                      <a:pt x="47" y="11"/>
                      <a:pt x="74" y="55"/>
                      <a:pt x="63" y="96"/>
                    </a:cubicBezTo>
                    <a:cubicBezTo>
                      <a:pt x="62" y="98"/>
                      <a:pt x="60" y="99"/>
                      <a:pt x="59" y="99"/>
                    </a:cubicBezTo>
                    <a:cubicBezTo>
                      <a:pt x="57" y="98"/>
                      <a:pt x="56" y="97"/>
                      <a:pt x="56" y="95"/>
                    </a:cubicBezTo>
                    <a:cubicBezTo>
                      <a:pt x="66" y="56"/>
                      <a:pt x="42" y="17"/>
                      <a:pt x="3" y="7"/>
                    </a:cubicBezTo>
                    <a:cubicBezTo>
                      <a:pt x="1" y="6"/>
                      <a:pt x="0" y="5"/>
                      <a:pt x="0" y="3"/>
                    </a:cubicBezTo>
                    <a:cubicBezTo>
                      <a:pt x="1" y="2"/>
                      <a:pt x="1" y="1"/>
                      <a:pt x="2" y="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grpSp>
      <p:pic>
        <p:nvPicPr>
          <p:cNvPr id="45" name="Picture 2" descr="Image result for enhance education"/>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6956"/>
          <a:stretch/>
        </p:blipFill>
        <p:spPr bwMode="auto">
          <a:xfrm>
            <a:off x="2097304" y="1232241"/>
            <a:ext cx="961332" cy="987082"/>
          </a:xfrm>
          <a:prstGeom prst="ellipse">
            <a:avLst/>
          </a:prstGeom>
          <a:ln w="28575" cap="rnd">
            <a:solidFill>
              <a:schemeClr val="accent2"/>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50" name="Picture 4" descr="Image result for student fun experienc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44410"/>
          <a:stretch/>
        </p:blipFill>
        <p:spPr bwMode="auto">
          <a:xfrm>
            <a:off x="3621912" y="1246101"/>
            <a:ext cx="967782" cy="971255"/>
          </a:xfrm>
          <a:prstGeom prst="ellipse">
            <a:avLst/>
          </a:prstGeom>
          <a:ln w="28575" cap="rnd">
            <a:solidFill>
              <a:schemeClr val="accent2"/>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51" name="Picture 6" descr="Image result for university campus operation"/>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67500"/>
          <a:stretch/>
        </p:blipFill>
        <p:spPr bwMode="auto">
          <a:xfrm>
            <a:off x="5152970" y="1248635"/>
            <a:ext cx="986464" cy="976451"/>
          </a:xfrm>
          <a:prstGeom prst="ellipse">
            <a:avLst/>
          </a:prstGeom>
          <a:ln w="28575" cap="rnd">
            <a:solidFill>
              <a:schemeClr val="accent2"/>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pic>
        <p:nvPicPr>
          <p:cNvPr id="53" name="Picture 10" descr="Image result for university research programs"/>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619" r="34172"/>
          <a:stretch/>
        </p:blipFill>
        <p:spPr bwMode="auto">
          <a:xfrm>
            <a:off x="6702711" y="1251811"/>
            <a:ext cx="992062" cy="988846"/>
          </a:xfrm>
          <a:prstGeom prst="ellipse">
            <a:avLst/>
          </a:prstGeom>
          <a:ln w="28575" cap="rnd">
            <a:solidFill>
              <a:schemeClr val="accent2"/>
            </a:solid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55" name="TextBox 54"/>
          <p:cNvSpPr txBox="1"/>
          <p:nvPr/>
        </p:nvSpPr>
        <p:spPr>
          <a:xfrm>
            <a:off x="3455580" y="2289152"/>
            <a:ext cx="1420225" cy="646331"/>
          </a:xfrm>
          <a:prstGeom prst="rect">
            <a:avLst/>
          </a:prstGeom>
          <a:noFill/>
        </p:spPr>
        <p:txBody>
          <a:bodyPr wrap="square" rtlCol="0">
            <a:spAutoFit/>
          </a:bodyPr>
          <a:lstStyle/>
          <a:p>
            <a:pPr algn="ctr"/>
            <a:r>
              <a:rPr lang="en-US" sz="1200" i="1" dirty="0" err="1">
                <a:solidFill>
                  <a:schemeClr val="bg1"/>
                </a:solidFill>
                <a:latin typeface="Trebuchet MS"/>
                <a:cs typeface="Trebuchet MS" panose="020B0502040204020203" pitchFamily="34" charset="0"/>
              </a:rPr>
              <a:t>Mejor</a:t>
            </a:r>
            <a:r>
              <a:rPr lang="en-US" sz="1200" i="1" dirty="0">
                <a:solidFill>
                  <a:schemeClr val="bg1"/>
                </a:solidFill>
                <a:latin typeface="Trebuchet MS"/>
                <a:cs typeface="Trebuchet MS" panose="020B0502040204020203" pitchFamily="34" charset="0"/>
              </a:rPr>
              <a:t> </a:t>
            </a:r>
            <a:r>
              <a:rPr lang="en-US" sz="1200" i="1" dirty="0" err="1">
                <a:solidFill>
                  <a:schemeClr val="bg1"/>
                </a:solidFill>
                <a:latin typeface="Trebuchet MS"/>
                <a:cs typeface="Trebuchet MS" panose="020B0502040204020203" pitchFamily="34" charset="0"/>
              </a:rPr>
              <a:t>experiencia</a:t>
            </a:r>
            <a:r>
              <a:rPr lang="en-US" sz="1200" i="1" dirty="0">
                <a:solidFill>
                  <a:schemeClr val="bg1"/>
                </a:solidFill>
                <a:latin typeface="Trebuchet MS"/>
                <a:cs typeface="Trebuchet MS" panose="020B0502040204020203" pitchFamily="34" charset="0"/>
              </a:rPr>
              <a:t> de </a:t>
            </a:r>
            <a:r>
              <a:rPr lang="en-US" sz="1200" i="1" dirty="0" err="1">
                <a:solidFill>
                  <a:schemeClr val="bg1"/>
                </a:solidFill>
                <a:latin typeface="Trebuchet MS"/>
                <a:cs typeface="Trebuchet MS" panose="020B0502040204020203" pitchFamily="34" charset="0"/>
              </a:rPr>
              <a:t>estudiante</a:t>
            </a:r>
            <a:endParaRPr lang="en-US" sz="1200" i="1" dirty="0">
              <a:solidFill>
                <a:schemeClr val="bg1"/>
              </a:solidFill>
              <a:latin typeface="Trebuchet MS"/>
              <a:cs typeface="Trebuchet MS" panose="020B0502040204020203" pitchFamily="34" charset="0"/>
            </a:endParaRPr>
          </a:p>
        </p:txBody>
      </p:sp>
      <p:sp>
        <p:nvSpPr>
          <p:cNvPr id="56" name="TextBox 55"/>
          <p:cNvSpPr txBox="1"/>
          <p:nvPr/>
        </p:nvSpPr>
        <p:spPr>
          <a:xfrm>
            <a:off x="6318970" y="2289152"/>
            <a:ext cx="1855204" cy="461665"/>
          </a:xfrm>
          <a:prstGeom prst="rect">
            <a:avLst/>
          </a:prstGeom>
          <a:noFill/>
        </p:spPr>
        <p:txBody>
          <a:bodyPr wrap="square" rtlCol="0">
            <a:spAutoFit/>
          </a:bodyPr>
          <a:lstStyle/>
          <a:p>
            <a:pPr algn="ctr"/>
            <a:r>
              <a:rPr lang="en-US" sz="1200" i="1" dirty="0" err="1">
                <a:solidFill>
                  <a:schemeClr val="bg1"/>
                </a:solidFill>
                <a:latin typeface="Trebuchet MS"/>
                <a:cs typeface="Trebuchet MS" panose="020B0502040204020203" pitchFamily="34" charset="0"/>
              </a:rPr>
              <a:t>Acoja</a:t>
            </a:r>
            <a:r>
              <a:rPr lang="en-US" sz="1200" i="1" dirty="0">
                <a:solidFill>
                  <a:schemeClr val="bg1"/>
                </a:solidFill>
                <a:latin typeface="Trebuchet MS"/>
                <a:cs typeface="Trebuchet MS" panose="020B0502040204020203" pitchFamily="34" charset="0"/>
              </a:rPr>
              <a:t> </a:t>
            </a:r>
            <a:r>
              <a:rPr lang="en-US" sz="1200" i="1" dirty="0" err="1">
                <a:solidFill>
                  <a:schemeClr val="bg1"/>
                </a:solidFill>
                <a:latin typeface="Trebuchet MS"/>
                <a:cs typeface="Trebuchet MS" panose="020B0502040204020203" pitchFamily="34" charset="0"/>
              </a:rPr>
              <a:t>investigació</a:t>
            </a:r>
            <a:r>
              <a:rPr lang="en-US" sz="1200" i="1" dirty="0">
                <a:solidFill>
                  <a:schemeClr val="bg1"/>
                </a:solidFill>
                <a:latin typeface="Trebuchet MS"/>
                <a:cs typeface="Trebuchet MS" panose="020B0502040204020203" pitchFamily="34" charset="0"/>
              </a:rPr>
              <a:t> y </a:t>
            </a:r>
            <a:r>
              <a:rPr lang="en-US" sz="1200" i="1" dirty="0" err="1">
                <a:solidFill>
                  <a:schemeClr val="bg1"/>
                </a:solidFill>
                <a:latin typeface="Trebuchet MS"/>
                <a:cs typeface="Trebuchet MS" panose="020B0502040204020203" pitchFamily="34" charset="0"/>
              </a:rPr>
              <a:t>programas</a:t>
            </a:r>
            <a:r>
              <a:rPr lang="en-US" sz="1200" i="1" dirty="0">
                <a:solidFill>
                  <a:schemeClr val="bg1"/>
                </a:solidFill>
                <a:latin typeface="Trebuchet MS"/>
                <a:cs typeface="Trebuchet MS" panose="020B0502040204020203" pitchFamily="34" charset="0"/>
              </a:rPr>
              <a:t> </a:t>
            </a:r>
            <a:r>
              <a:rPr lang="en-US" sz="1200" i="1" dirty="0" err="1">
                <a:solidFill>
                  <a:schemeClr val="bg1"/>
                </a:solidFill>
                <a:latin typeface="Trebuchet MS"/>
                <a:cs typeface="Trebuchet MS" panose="020B0502040204020203" pitchFamily="34" charset="0"/>
              </a:rPr>
              <a:t>académicos</a:t>
            </a:r>
            <a:endParaRPr lang="en-US" sz="1200" i="1" dirty="0">
              <a:solidFill>
                <a:schemeClr val="bg1"/>
              </a:solidFill>
              <a:latin typeface="Trebuchet MS"/>
              <a:cs typeface="Trebuchet MS" panose="020B0502040204020203" pitchFamily="34" charset="0"/>
            </a:endParaRPr>
          </a:p>
        </p:txBody>
      </p:sp>
    </p:spTree>
    <p:custDataLst>
      <p:tags r:id="rId1"/>
    </p:custDataLst>
    <p:extLst>
      <p:ext uri="{BB962C8B-B14F-4D97-AF65-F5344CB8AC3E}">
        <p14:creationId xmlns:p14="http://schemas.microsoft.com/office/powerpoint/2010/main" val="401670633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171219_PROFFICE_CONNEX_18_EDUCATION_VALUE_PROP">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lum bright="-40000" contrast="-40000"/>
          </a:blip>
          <a:stretch>
            <a:fillRect/>
          </a:stretch>
        </p:blipFill>
        <p:spPr>
          <a:xfrm>
            <a:off x="0" y="78247"/>
            <a:ext cx="9144000" cy="4987007"/>
          </a:xfrm>
          <a:prstGeom prst="rect">
            <a:avLst/>
          </a:prstGeom>
        </p:spPr>
      </p:pic>
      <p:sp>
        <p:nvSpPr>
          <p:cNvPr id="152" name="Oval 20">
            <a:extLst>
              <a:ext uri="{FF2B5EF4-FFF2-40B4-BE49-F238E27FC236}">
                <a16:creationId xmlns:a16="http://schemas.microsoft.com/office/drawing/2014/main" id="{5441A415-5CC8-F844-85B8-4ADE3DF66CCA}"/>
              </a:ext>
            </a:extLst>
          </p:cNvPr>
          <p:cNvSpPr/>
          <p:nvPr/>
        </p:nvSpPr>
        <p:spPr>
          <a:xfrm>
            <a:off x="0" y="2729690"/>
            <a:ext cx="9144000" cy="2335564"/>
          </a:xfrm>
          <a:prstGeom prst="rect">
            <a:avLst/>
          </a:prstGeom>
          <a:gradFill>
            <a:gsLst>
              <a:gs pos="0">
                <a:srgbClr val="6639B7">
                  <a:alpha val="0"/>
                </a:srgbClr>
              </a:gs>
              <a:gs pos="100000">
                <a:srgbClr val="12192D"/>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64952" fontAlgn="auto">
              <a:spcBef>
                <a:spcPts val="0"/>
              </a:spcBef>
              <a:spcAft>
                <a:spcPts val="0"/>
              </a:spcAft>
              <a:defRPr/>
            </a:pPr>
            <a:endParaRPr lang="en-US" altLang="en-US" sz="1309" dirty="0">
              <a:solidFill>
                <a:srgbClr val="FFFFFF"/>
              </a:solidFill>
              <a:latin typeface="Trebuchet MS" panose="020B0603020202020204" pitchFamily="34" charset="0"/>
              <a:ea typeface="Trebuchet MS" panose="020B0604020202020204" pitchFamily="34" charset="-128"/>
            </a:endParaRPr>
          </a:p>
        </p:txBody>
      </p:sp>
      <p:sp>
        <p:nvSpPr>
          <p:cNvPr id="49" name="Title 13">
            <a:extLst>
              <a:ext uri="{FF2B5EF4-FFF2-40B4-BE49-F238E27FC236}">
                <a16:creationId xmlns:a16="http://schemas.microsoft.com/office/drawing/2014/main" id="{F49645CC-D10E-A442-97D9-6F354A3E4C91}"/>
              </a:ext>
            </a:extLst>
          </p:cNvPr>
          <p:cNvSpPr txBox="1">
            <a:spLocks/>
          </p:cNvSpPr>
          <p:nvPr/>
        </p:nvSpPr>
        <p:spPr>
          <a:xfrm>
            <a:off x="1306779" y="243328"/>
            <a:ext cx="7470369" cy="409041"/>
          </a:xfrm>
          <a:prstGeom prst="rect">
            <a:avLst/>
          </a:prstGeom>
        </p:spPr>
        <p:txBody>
          <a:bodyPr/>
          <a:lstStyle>
            <a:lvl1pPr algn="l" rtl="0" eaLnBrk="1" fontAlgn="base" hangingPunct="1">
              <a:spcBef>
                <a:spcPct val="0"/>
              </a:spcBef>
              <a:spcAft>
                <a:spcPct val="0"/>
              </a:spcAft>
              <a:defRPr sz="2400" b="1" cap="none">
                <a:solidFill>
                  <a:schemeClr val="tx1"/>
                </a:solidFill>
                <a:latin typeface="Trebuchet MS" panose="020B0603020202020204" pitchFamily="34" charset="0"/>
                <a:ea typeface="+mj-ea"/>
                <a:cs typeface="Trebuchet MS" panose="020B0502040204020203" pitchFamily="34" charset="0"/>
              </a:defRPr>
            </a:lvl1pPr>
            <a:lvl2pPr algn="l" rtl="0" eaLnBrk="1" fontAlgn="base" hangingPunct="1">
              <a:spcBef>
                <a:spcPct val="0"/>
              </a:spcBef>
              <a:spcAft>
                <a:spcPct val="0"/>
              </a:spcAft>
              <a:defRPr sz="2000" b="1">
                <a:solidFill>
                  <a:srgbClr val="404040"/>
                </a:solidFill>
                <a:latin typeface="Trebuchet MS" pitchFamily="34" charset="0"/>
              </a:defRPr>
            </a:lvl2pPr>
            <a:lvl3pPr algn="l" rtl="0" eaLnBrk="1" fontAlgn="base" hangingPunct="1">
              <a:spcBef>
                <a:spcPct val="0"/>
              </a:spcBef>
              <a:spcAft>
                <a:spcPct val="0"/>
              </a:spcAft>
              <a:defRPr sz="2000" b="1">
                <a:solidFill>
                  <a:srgbClr val="404040"/>
                </a:solidFill>
                <a:latin typeface="Trebuchet MS" pitchFamily="34" charset="0"/>
              </a:defRPr>
            </a:lvl3pPr>
            <a:lvl4pPr algn="l" rtl="0" eaLnBrk="1" fontAlgn="base" hangingPunct="1">
              <a:spcBef>
                <a:spcPct val="0"/>
              </a:spcBef>
              <a:spcAft>
                <a:spcPct val="0"/>
              </a:spcAft>
              <a:defRPr sz="2000" b="1">
                <a:solidFill>
                  <a:srgbClr val="404040"/>
                </a:solidFill>
                <a:latin typeface="Trebuchet MS" pitchFamily="34" charset="0"/>
              </a:defRPr>
            </a:lvl4pPr>
            <a:lvl5pPr algn="l" rtl="0" eaLnBrk="1" fontAlgn="base" hangingPunct="1">
              <a:spcBef>
                <a:spcPct val="0"/>
              </a:spcBef>
              <a:spcAft>
                <a:spcPct val="0"/>
              </a:spcAft>
              <a:defRPr sz="2000" b="1">
                <a:solidFill>
                  <a:srgbClr val="404040"/>
                </a:solidFill>
                <a:latin typeface="Trebuchet MS" pitchFamily="34" charset="0"/>
              </a:defRPr>
            </a:lvl5pPr>
            <a:lvl6pPr marL="348389" algn="l" rtl="0" eaLnBrk="1" fontAlgn="base" hangingPunct="1">
              <a:spcBef>
                <a:spcPct val="0"/>
              </a:spcBef>
              <a:spcAft>
                <a:spcPct val="0"/>
              </a:spcAft>
              <a:defRPr sz="2000" b="1">
                <a:solidFill>
                  <a:srgbClr val="404040"/>
                </a:solidFill>
                <a:latin typeface="Trebuchet MS" pitchFamily="34" charset="0"/>
              </a:defRPr>
            </a:lvl6pPr>
            <a:lvl7pPr marL="696777" algn="l" rtl="0" eaLnBrk="1" fontAlgn="base" hangingPunct="1">
              <a:spcBef>
                <a:spcPct val="0"/>
              </a:spcBef>
              <a:spcAft>
                <a:spcPct val="0"/>
              </a:spcAft>
              <a:defRPr sz="2000" b="1">
                <a:solidFill>
                  <a:srgbClr val="404040"/>
                </a:solidFill>
                <a:latin typeface="Trebuchet MS" pitchFamily="34" charset="0"/>
              </a:defRPr>
            </a:lvl7pPr>
            <a:lvl8pPr marL="1045165" algn="l" rtl="0" eaLnBrk="1" fontAlgn="base" hangingPunct="1">
              <a:spcBef>
                <a:spcPct val="0"/>
              </a:spcBef>
              <a:spcAft>
                <a:spcPct val="0"/>
              </a:spcAft>
              <a:defRPr sz="2000" b="1">
                <a:solidFill>
                  <a:srgbClr val="404040"/>
                </a:solidFill>
                <a:latin typeface="Trebuchet MS" pitchFamily="34" charset="0"/>
              </a:defRPr>
            </a:lvl8pPr>
            <a:lvl9pPr marL="1393554" algn="l" rtl="0" eaLnBrk="1" fontAlgn="base" hangingPunct="1">
              <a:spcBef>
                <a:spcPct val="0"/>
              </a:spcBef>
              <a:spcAft>
                <a:spcPct val="0"/>
              </a:spcAft>
              <a:defRPr sz="2000" b="1">
                <a:solidFill>
                  <a:srgbClr val="404040"/>
                </a:solidFill>
                <a:latin typeface="Trebuchet MS" pitchFamily="34" charset="0"/>
              </a:defRPr>
            </a:lvl9pPr>
          </a:lstStyle>
          <a:p>
            <a:pPr defTabSz="664982">
              <a:defRPr/>
            </a:pPr>
            <a:r>
              <a:rPr lang="en-US" sz="2327" kern="0" dirty="0">
                <a:solidFill>
                  <a:prstClr val="white"/>
                </a:solidFill>
              </a:rPr>
              <a:t>EDUCATION</a:t>
            </a:r>
          </a:p>
        </p:txBody>
      </p:sp>
      <p:pic>
        <p:nvPicPr>
          <p:cNvPr id="106" name="Picture 105">
            <a:extLst>
              <a:ext uri="{FF2B5EF4-FFF2-40B4-BE49-F238E27FC236}">
                <a16:creationId xmlns:a16="http://schemas.microsoft.com/office/drawing/2014/main" id="{4D006CBF-2A13-9041-9624-BE11DE77FD4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351776" y="4422689"/>
            <a:ext cx="1383030" cy="438857"/>
          </a:xfrm>
          <a:prstGeom prst="rect">
            <a:avLst/>
          </a:prstGeom>
        </p:spPr>
      </p:pic>
      <p:sp>
        <p:nvSpPr>
          <p:cNvPr id="63" name="Rectangle 62">
            <a:extLst>
              <a:ext uri="{FF2B5EF4-FFF2-40B4-BE49-F238E27FC236}">
                <a16:creationId xmlns:a16="http://schemas.microsoft.com/office/drawing/2014/main" id="{B014C60D-72E7-504E-A386-3D2A2FB44BC1}"/>
              </a:ext>
            </a:extLst>
          </p:cNvPr>
          <p:cNvSpPr/>
          <p:nvPr/>
        </p:nvSpPr>
        <p:spPr>
          <a:xfrm>
            <a:off x="1088990" y="78247"/>
            <a:ext cx="76790" cy="977331"/>
          </a:xfrm>
          <a:prstGeom prst="rect">
            <a:avLst/>
          </a:prstGeom>
          <a:solidFill>
            <a:schemeClr val="bg1"/>
          </a:solidFill>
          <a:ln>
            <a:noFill/>
          </a:ln>
        </p:spPr>
        <p:txBody>
          <a:bodyPr rot="0" spcFirstLastPara="0" vertOverflow="overflow" horzOverflow="overflow" vert="horz" wrap="square" lIns="88646" tIns="44324" rIns="88646" bIns="44324" numCol="1" spcCol="0" rtlCol="0" fromWordArt="0" anchor="ctr" anchorCtr="0" forceAA="0" compatLnSpc="1">
            <a:prstTxWarp prst="textNoShape">
              <a:avLst/>
            </a:prstTxWarp>
            <a:noAutofit/>
          </a:bodyPr>
          <a:lstStyle/>
          <a:p>
            <a:pPr algn="ctr" defTabSz="664982" fontAlgn="auto">
              <a:spcBef>
                <a:spcPts val="0"/>
              </a:spcBef>
              <a:spcAft>
                <a:spcPts val="0"/>
              </a:spcAft>
              <a:defRPr/>
            </a:pPr>
            <a:endParaRPr lang="fr-BE" sz="1745">
              <a:solidFill>
                <a:prstClr val="black"/>
              </a:solidFill>
              <a:cs typeface="Adobe Devanagari" panose="02040503050201020203" pitchFamily="18" charset="0"/>
            </a:endParaRPr>
          </a:p>
        </p:txBody>
      </p:sp>
      <p:grpSp>
        <p:nvGrpSpPr>
          <p:cNvPr id="64" name="Group 63">
            <a:extLst>
              <a:ext uri="{FF2B5EF4-FFF2-40B4-BE49-F238E27FC236}">
                <a16:creationId xmlns:a16="http://schemas.microsoft.com/office/drawing/2014/main" id="{DFBA449A-8BB0-B14F-AEAE-5D6E01FE872A}"/>
              </a:ext>
            </a:extLst>
          </p:cNvPr>
          <p:cNvGrpSpPr/>
          <p:nvPr/>
        </p:nvGrpSpPr>
        <p:grpSpPr>
          <a:xfrm>
            <a:off x="455762" y="704854"/>
            <a:ext cx="522573" cy="269714"/>
            <a:chOff x="4814686" y="196561"/>
            <a:chExt cx="766434" cy="395577"/>
          </a:xfrm>
          <a:solidFill>
            <a:schemeClr val="bg1"/>
          </a:solidFill>
        </p:grpSpPr>
        <p:sp>
          <p:nvSpPr>
            <p:cNvPr id="65" name="Oval 5">
              <a:extLst>
                <a:ext uri="{FF2B5EF4-FFF2-40B4-BE49-F238E27FC236}">
                  <a16:creationId xmlns:a16="http://schemas.microsoft.com/office/drawing/2014/main" id="{F3580EE6-7199-B04C-BB6B-942AD283330E}"/>
                </a:ext>
              </a:extLst>
            </p:cNvPr>
            <p:cNvSpPr>
              <a:spLocks noChangeArrowheads="1"/>
            </p:cNvSpPr>
            <p:nvPr/>
          </p:nvSpPr>
          <p:spPr bwMode="auto">
            <a:xfrm>
              <a:off x="4982807" y="234770"/>
              <a:ext cx="58887" cy="58887"/>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8658" tIns="44329" rIns="88658" bIns="44329" numCol="1" anchor="t" anchorCtr="0" compatLnSpc="1">
              <a:prstTxWarp prst="textNoShape">
                <a:avLst/>
              </a:prstTxWarp>
            </a:bodyPr>
            <a:lstStyle/>
            <a:p>
              <a:pPr defTabSz="664982" fontAlgn="auto">
                <a:spcBef>
                  <a:spcPts val="0"/>
                </a:spcBef>
                <a:spcAft>
                  <a:spcPts val="0"/>
                </a:spcAft>
                <a:defRPr/>
              </a:pPr>
              <a:endParaRPr lang="en-GB" sz="1745">
                <a:solidFill>
                  <a:prstClr val="black"/>
                </a:solidFill>
              </a:endParaRPr>
            </a:p>
          </p:txBody>
        </p:sp>
        <p:sp>
          <p:nvSpPr>
            <p:cNvPr id="66" name="Freeform 6">
              <a:extLst>
                <a:ext uri="{FF2B5EF4-FFF2-40B4-BE49-F238E27FC236}">
                  <a16:creationId xmlns:a16="http://schemas.microsoft.com/office/drawing/2014/main" id="{98081322-9681-1B44-8A0D-4FF04F5AC5C2}"/>
                </a:ext>
              </a:extLst>
            </p:cNvPr>
            <p:cNvSpPr>
              <a:spLocks/>
            </p:cNvSpPr>
            <p:nvPr/>
          </p:nvSpPr>
          <p:spPr bwMode="auto">
            <a:xfrm>
              <a:off x="4814686" y="196561"/>
              <a:ext cx="766434" cy="280500"/>
            </a:xfrm>
            <a:custGeom>
              <a:avLst/>
              <a:gdLst>
                <a:gd name="T0" fmla="*/ 636 w 638"/>
                <a:gd name="T1" fmla="*/ 114 h 234"/>
                <a:gd name="T2" fmla="*/ 636 w 638"/>
                <a:gd name="T3" fmla="*/ 114 h 234"/>
                <a:gd name="T4" fmla="*/ 634 w 638"/>
                <a:gd name="T5" fmla="*/ 112 h 234"/>
                <a:gd name="T6" fmla="*/ 632 w 638"/>
                <a:gd name="T7" fmla="*/ 112 h 234"/>
                <a:gd name="T8" fmla="*/ 632 w 638"/>
                <a:gd name="T9" fmla="*/ 112 h 234"/>
                <a:gd name="T10" fmla="*/ 330 w 638"/>
                <a:gd name="T11" fmla="*/ 1 h 234"/>
                <a:gd name="T12" fmla="*/ 329 w 638"/>
                <a:gd name="T13" fmla="*/ 1 h 234"/>
                <a:gd name="T14" fmla="*/ 329 w 638"/>
                <a:gd name="T15" fmla="*/ 1 h 234"/>
                <a:gd name="T16" fmla="*/ 328 w 638"/>
                <a:gd name="T17" fmla="*/ 1 h 234"/>
                <a:gd name="T18" fmla="*/ 327 w 638"/>
                <a:gd name="T19" fmla="*/ 1 h 234"/>
                <a:gd name="T20" fmla="*/ 327 w 638"/>
                <a:gd name="T21" fmla="*/ 0 h 234"/>
                <a:gd name="T22" fmla="*/ 319 w 638"/>
                <a:gd name="T23" fmla="*/ 0 h 234"/>
                <a:gd name="T24" fmla="*/ 311 w 638"/>
                <a:gd name="T25" fmla="*/ 0 h 234"/>
                <a:gd name="T26" fmla="*/ 311 w 638"/>
                <a:gd name="T27" fmla="*/ 1 h 234"/>
                <a:gd name="T28" fmla="*/ 309 w 638"/>
                <a:gd name="T29" fmla="*/ 1 h 234"/>
                <a:gd name="T30" fmla="*/ 308 w 638"/>
                <a:gd name="T31" fmla="*/ 1 h 234"/>
                <a:gd name="T32" fmla="*/ 308 w 638"/>
                <a:gd name="T33" fmla="*/ 1 h 234"/>
                <a:gd name="T34" fmla="*/ 308 w 638"/>
                <a:gd name="T35" fmla="*/ 1 h 234"/>
                <a:gd name="T36" fmla="*/ 223 w 638"/>
                <a:gd name="T37" fmla="*/ 32 h 234"/>
                <a:gd name="T38" fmla="*/ 228 w 638"/>
                <a:gd name="T39" fmla="*/ 57 h 234"/>
                <a:gd name="T40" fmla="*/ 164 w 638"/>
                <a:gd name="T41" fmla="*/ 121 h 234"/>
                <a:gd name="T42" fmla="*/ 104 w 638"/>
                <a:gd name="T43" fmla="*/ 76 h 234"/>
                <a:gd name="T44" fmla="*/ 6 w 638"/>
                <a:gd name="T45" fmla="*/ 112 h 234"/>
                <a:gd name="T46" fmla="*/ 6 w 638"/>
                <a:gd name="T47" fmla="*/ 112 h 234"/>
                <a:gd name="T48" fmla="*/ 4 w 638"/>
                <a:gd name="T49" fmla="*/ 112 h 234"/>
                <a:gd name="T50" fmla="*/ 0 w 638"/>
                <a:gd name="T51" fmla="*/ 117 h 234"/>
                <a:gd name="T52" fmla="*/ 2 w 638"/>
                <a:gd name="T53" fmla="*/ 120 h 234"/>
                <a:gd name="T54" fmla="*/ 2 w 638"/>
                <a:gd name="T55" fmla="*/ 120 h 234"/>
                <a:gd name="T56" fmla="*/ 4 w 638"/>
                <a:gd name="T57" fmla="*/ 122 h 234"/>
                <a:gd name="T58" fmla="*/ 6 w 638"/>
                <a:gd name="T59" fmla="*/ 123 h 234"/>
                <a:gd name="T60" fmla="*/ 6 w 638"/>
                <a:gd name="T61" fmla="*/ 123 h 234"/>
                <a:gd name="T62" fmla="*/ 308 w 638"/>
                <a:gd name="T63" fmla="*/ 233 h 234"/>
                <a:gd name="T64" fmla="*/ 308 w 638"/>
                <a:gd name="T65" fmla="*/ 233 h 234"/>
                <a:gd name="T66" fmla="*/ 308 w 638"/>
                <a:gd name="T67" fmla="*/ 233 h 234"/>
                <a:gd name="T68" fmla="*/ 309 w 638"/>
                <a:gd name="T69" fmla="*/ 233 h 234"/>
                <a:gd name="T70" fmla="*/ 311 w 638"/>
                <a:gd name="T71" fmla="*/ 234 h 234"/>
                <a:gd name="T72" fmla="*/ 311 w 638"/>
                <a:gd name="T73" fmla="*/ 234 h 234"/>
                <a:gd name="T74" fmla="*/ 319 w 638"/>
                <a:gd name="T75" fmla="*/ 234 h 234"/>
                <a:gd name="T76" fmla="*/ 327 w 638"/>
                <a:gd name="T77" fmla="*/ 234 h 234"/>
                <a:gd name="T78" fmla="*/ 327 w 638"/>
                <a:gd name="T79" fmla="*/ 234 h 234"/>
                <a:gd name="T80" fmla="*/ 328 w 638"/>
                <a:gd name="T81" fmla="*/ 233 h 234"/>
                <a:gd name="T82" fmla="*/ 329 w 638"/>
                <a:gd name="T83" fmla="*/ 233 h 234"/>
                <a:gd name="T84" fmla="*/ 329 w 638"/>
                <a:gd name="T85" fmla="*/ 233 h 234"/>
                <a:gd name="T86" fmla="*/ 330 w 638"/>
                <a:gd name="T87" fmla="*/ 233 h 234"/>
                <a:gd name="T88" fmla="*/ 632 w 638"/>
                <a:gd name="T89" fmla="*/ 123 h 234"/>
                <a:gd name="T90" fmla="*/ 632 w 638"/>
                <a:gd name="T91" fmla="*/ 123 h 234"/>
                <a:gd name="T92" fmla="*/ 634 w 638"/>
                <a:gd name="T93" fmla="*/ 122 h 234"/>
                <a:gd name="T94" fmla="*/ 637 w 638"/>
                <a:gd name="T95" fmla="*/ 117 h 234"/>
                <a:gd name="T96" fmla="*/ 636 w 638"/>
                <a:gd name="T97" fmla="*/ 11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38" h="234">
                  <a:moveTo>
                    <a:pt x="636" y="114"/>
                  </a:moveTo>
                  <a:cubicBezTo>
                    <a:pt x="636" y="114"/>
                    <a:pt x="636" y="114"/>
                    <a:pt x="636" y="114"/>
                  </a:cubicBezTo>
                  <a:cubicBezTo>
                    <a:pt x="635" y="113"/>
                    <a:pt x="635" y="113"/>
                    <a:pt x="634" y="112"/>
                  </a:cubicBezTo>
                  <a:cubicBezTo>
                    <a:pt x="633" y="112"/>
                    <a:pt x="633" y="112"/>
                    <a:pt x="632" y="112"/>
                  </a:cubicBezTo>
                  <a:cubicBezTo>
                    <a:pt x="632" y="112"/>
                    <a:pt x="632" y="112"/>
                    <a:pt x="632" y="112"/>
                  </a:cubicBezTo>
                  <a:cubicBezTo>
                    <a:pt x="330" y="1"/>
                    <a:pt x="330" y="1"/>
                    <a:pt x="330" y="1"/>
                  </a:cubicBezTo>
                  <a:cubicBezTo>
                    <a:pt x="329" y="1"/>
                    <a:pt x="329" y="1"/>
                    <a:pt x="329" y="1"/>
                  </a:cubicBezTo>
                  <a:cubicBezTo>
                    <a:pt x="329" y="1"/>
                    <a:pt x="329" y="1"/>
                    <a:pt x="329" y="1"/>
                  </a:cubicBezTo>
                  <a:cubicBezTo>
                    <a:pt x="329" y="1"/>
                    <a:pt x="329" y="1"/>
                    <a:pt x="328" y="1"/>
                  </a:cubicBezTo>
                  <a:cubicBezTo>
                    <a:pt x="328" y="1"/>
                    <a:pt x="328" y="1"/>
                    <a:pt x="327" y="1"/>
                  </a:cubicBezTo>
                  <a:cubicBezTo>
                    <a:pt x="327" y="1"/>
                    <a:pt x="327" y="1"/>
                    <a:pt x="327" y="0"/>
                  </a:cubicBezTo>
                  <a:cubicBezTo>
                    <a:pt x="324" y="0"/>
                    <a:pt x="321" y="0"/>
                    <a:pt x="319" y="0"/>
                  </a:cubicBezTo>
                  <a:cubicBezTo>
                    <a:pt x="316" y="0"/>
                    <a:pt x="313" y="0"/>
                    <a:pt x="311" y="0"/>
                  </a:cubicBezTo>
                  <a:cubicBezTo>
                    <a:pt x="311" y="1"/>
                    <a:pt x="311" y="1"/>
                    <a:pt x="311" y="1"/>
                  </a:cubicBezTo>
                  <a:cubicBezTo>
                    <a:pt x="310" y="1"/>
                    <a:pt x="310" y="1"/>
                    <a:pt x="309" y="1"/>
                  </a:cubicBezTo>
                  <a:cubicBezTo>
                    <a:pt x="309" y="1"/>
                    <a:pt x="308" y="1"/>
                    <a:pt x="308" y="1"/>
                  </a:cubicBezTo>
                  <a:cubicBezTo>
                    <a:pt x="308" y="1"/>
                    <a:pt x="308" y="1"/>
                    <a:pt x="308" y="1"/>
                  </a:cubicBezTo>
                  <a:cubicBezTo>
                    <a:pt x="308" y="1"/>
                    <a:pt x="308" y="1"/>
                    <a:pt x="308" y="1"/>
                  </a:cubicBezTo>
                  <a:cubicBezTo>
                    <a:pt x="223" y="32"/>
                    <a:pt x="223" y="32"/>
                    <a:pt x="223" y="32"/>
                  </a:cubicBezTo>
                  <a:cubicBezTo>
                    <a:pt x="226" y="40"/>
                    <a:pt x="228" y="48"/>
                    <a:pt x="228" y="57"/>
                  </a:cubicBezTo>
                  <a:cubicBezTo>
                    <a:pt x="228" y="92"/>
                    <a:pt x="199" y="121"/>
                    <a:pt x="164" y="121"/>
                  </a:cubicBezTo>
                  <a:cubicBezTo>
                    <a:pt x="136" y="121"/>
                    <a:pt x="112" y="102"/>
                    <a:pt x="104" y="76"/>
                  </a:cubicBezTo>
                  <a:cubicBezTo>
                    <a:pt x="6" y="112"/>
                    <a:pt x="6" y="112"/>
                    <a:pt x="6" y="112"/>
                  </a:cubicBezTo>
                  <a:cubicBezTo>
                    <a:pt x="6" y="112"/>
                    <a:pt x="6" y="112"/>
                    <a:pt x="6" y="112"/>
                  </a:cubicBezTo>
                  <a:cubicBezTo>
                    <a:pt x="5" y="112"/>
                    <a:pt x="4" y="112"/>
                    <a:pt x="4" y="112"/>
                  </a:cubicBezTo>
                  <a:cubicBezTo>
                    <a:pt x="1" y="114"/>
                    <a:pt x="0" y="115"/>
                    <a:pt x="0" y="117"/>
                  </a:cubicBezTo>
                  <a:cubicBezTo>
                    <a:pt x="0" y="118"/>
                    <a:pt x="1" y="119"/>
                    <a:pt x="2" y="120"/>
                  </a:cubicBezTo>
                  <a:cubicBezTo>
                    <a:pt x="2" y="120"/>
                    <a:pt x="2" y="120"/>
                    <a:pt x="2" y="120"/>
                  </a:cubicBezTo>
                  <a:cubicBezTo>
                    <a:pt x="2" y="121"/>
                    <a:pt x="3" y="121"/>
                    <a:pt x="4" y="122"/>
                  </a:cubicBezTo>
                  <a:cubicBezTo>
                    <a:pt x="4" y="122"/>
                    <a:pt x="5" y="122"/>
                    <a:pt x="6" y="123"/>
                  </a:cubicBezTo>
                  <a:cubicBezTo>
                    <a:pt x="6" y="123"/>
                    <a:pt x="6" y="123"/>
                    <a:pt x="6" y="123"/>
                  </a:cubicBezTo>
                  <a:cubicBezTo>
                    <a:pt x="308" y="233"/>
                    <a:pt x="308" y="233"/>
                    <a:pt x="308" y="233"/>
                  </a:cubicBezTo>
                  <a:cubicBezTo>
                    <a:pt x="308" y="233"/>
                    <a:pt x="308" y="233"/>
                    <a:pt x="308" y="233"/>
                  </a:cubicBezTo>
                  <a:cubicBezTo>
                    <a:pt x="308" y="233"/>
                    <a:pt x="308" y="233"/>
                    <a:pt x="308" y="233"/>
                  </a:cubicBezTo>
                  <a:cubicBezTo>
                    <a:pt x="308" y="233"/>
                    <a:pt x="309" y="233"/>
                    <a:pt x="309" y="233"/>
                  </a:cubicBezTo>
                  <a:cubicBezTo>
                    <a:pt x="310" y="233"/>
                    <a:pt x="310" y="233"/>
                    <a:pt x="311" y="234"/>
                  </a:cubicBezTo>
                  <a:cubicBezTo>
                    <a:pt x="311" y="234"/>
                    <a:pt x="311" y="234"/>
                    <a:pt x="311" y="234"/>
                  </a:cubicBezTo>
                  <a:cubicBezTo>
                    <a:pt x="313" y="234"/>
                    <a:pt x="316" y="234"/>
                    <a:pt x="319" y="234"/>
                  </a:cubicBezTo>
                  <a:cubicBezTo>
                    <a:pt x="321" y="234"/>
                    <a:pt x="324" y="234"/>
                    <a:pt x="327" y="234"/>
                  </a:cubicBezTo>
                  <a:cubicBezTo>
                    <a:pt x="327" y="234"/>
                    <a:pt x="327" y="234"/>
                    <a:pt x="327" y="234"/>
                  </a:cubicBezTo>
                  <a:cubicBezTo>
                    <a:pt x="327" y="233"/>
                    <a:pt x="328" y="233"/>
                    <a:pt x="328" y="233"/>
                  </a:cubicBezTo>
                  <a:cubicBezTo>
                    <a:pt x="329" y="233"/>
                    <a:pt x="329" y="233"/>
                    <a:pt x="329" y="233"/>
                  </a:cubicBezTo>
                  <a:cubicBezTo>
                    <a:pt x="329" y="233"/>
                    <a:pt x="329" y="233"/>
                    <a:pt x="329" y="233"/>
                  </a:cubicBezTo>
                  <a:cubicBezTo>
                    <a:pt x="330" y="233"/>
                    <a:pt x="330" y="233"/>
                    <a:pt x="330" y="233"/>
                  </a:cubicBezTo>
                  <a:cubicBezTo>
                    <a:pt x="632" y="123"/>
                    <a:pt x="632" y="123"/>
                    <a:pt x="632" y="123"/>
                  </a:cubicBezTo>
                  <a:cubicBezTo>
                    <a:pt x="632" y="123"/>
                    <a:pt x="632" y="123"/>
                    <a:pt x="632" y="123"/>
                  </a:cubicBezTo>
                  <a:cubicBezTo>
                    <a:pt x="632" y="122"/>
                    <a:pt x="633" y="122"/>
                    <a:pt x="634" y="122"/>
                  </a:cubicBezTo>
                  <a:cubicBezTo>
                    <a:pt x="637" y="120"/>
                    <a:pt x="638" y="119"/>
                    <a:pt x="637" y="117"/>
                  </a:cubicBezTo>
                  <a:cubicBezTo>
                    <a:pt x="638" y="116"/>
                    <a:pt x="637" y="115"/>
                    <a:pt x="636" y="11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8658" tIns="44329" rIns="88658" bIns="44329" numCol="1" anchor="t" anchorCtr="0" compatLnSpc="1">
              <a:prstTxWarp prst="textNoShape">
                <a:avLst/>
              </a:prstTxWarp>
            </a:bodyPr>
            <a:lstStyle/>
            <a:p>
              <a:pPr defTabSz="664982" fontAlgn="auto">
                <a:spcBef>
                  <a:spcPts val="0"/>
                </a:spcBef>
                <a:spcAft>
                  <a:spcPts val="0"/>
                </a:spcAft>
                <a:defRPr/>
              </a:pPr>
              <a:endParaRPr lang="en-GB" sz="1745">
                <a:solidFill>
                  <a:prstClr val="black"/>
                </a:solidFill>
              </a:endParaRPr>
            </a:p>
          </p:txBody>
        </p:sp>
        <p:sp>
          <p:nvSpPr>
            <p:cNvPr id="67" name="Freeform 7">
              <a:extLst>
                <a:ext uri="{FF2B5EF4-FFF2-40B4-BE49-F238E27FC236}">
                  <a16:creationId xmlns:a16="http://schemas.microsoft.com/office/drawing/2014/main" id="{BAC47877-3981-6444-BC58-8C4D4987CAC5}"/>
                </a:ext>
              </a:extLst>
            </p:cNvPr>
            <p:cNvSpPr>
              <a:spLocks/>
            </p:cNvSpPr>
            <p:nvPr/>
          </p:nvSpPr>
          <p:spPr bwMode="auto">
            <a:xfrm>
              <a:off x="4957634" y="413679"/>
              <a:ext cx="484134" cy="178459"/>
            </a:xfrm>
            <a:custGeom>
              <a:avLst/>
              <a:gdLst>
                <a:gd name="T0" fmla="*/ 211 w 403"/>
                <a:gd name="T1" fmla="*/ 70 h 149"/>
                <a:gd name="T2" fmla="*/ 200 w 403"/>
                <a:gd name="T3" fmla="*/ 72 h 149"/>
                <a:gd name="T4" fmla="*/ 189 w 403"/>
                <a:gd name="T5" fmla="*/ 70 h 149"/>
                <a:gd name="T6" fmla="*/ 185 w 403"/>
                <a:gd name="T7" fmla="*/ 69 h 149"/>
                <a:gd name="T8" fmla="*/ 185 w 403"/>
                <a:gd name="T9" fmla="*/ 69 h 149"/>
                <a:gd name="T10" fmla="*/ 0 w 403"/>
                <a:gd name="T11" fmla="*/ 2 h 149"/>
                <a:gd name="T12" fmla="*/ 0 w 403"/>
                <a:gd name="T13" fmla="*/ 66 h 149"/>
                <a:gd name="T14" fmla="*/ 202 w 403"/>
                <a:gd name="T15" fmla="*/ 149 h 149"/>
                <a:gd name="T16" fmla="*/ 403 w 403"/>
                <a:gd name="T17" fmla="*/ 66 h 149"/>
                <a:gd name="T18" fmla="*/ 403 w 403"/>
                <a:gd name="T19" fmla="*/ 0 h 149"/>
                <a:gd name="T20" fmla="*/ 214 w 403"/>
                <a:gd name="T21" fmla="*/ 70 h 149"/>
                <a:gd name="T22" fmla="*/ 211 w 403"/>
                <a:gd name="T23" fmla="*/ 7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03" h="149">
                  <a:moveTo>
                    <a:pt x="211" y="70"/>
                  </a:moveTo>
                  <a:cubicBezTo>
                    <a:pt x="207" y="71"/>
                    <a:pt x="203" y="72"/>
                    <a:pt x="200" y="72"/>
                  </a:cubicBezTo>
                  <a:cubicBezTo>
                    <a:pt x="196" y="72"/>
                    <a:pt x="193" y="71"/>
                    <a:pt x="189" y="70"/>
                  </a:cubicBezTo>
                  <a:cubicBezTo>
                    <a:pt x="185" y="69"/>
                    <a:pt x="185" y="69"/>
                    <a:pt x="185" y="69"/>
                  </a:cubicBezTo>
                  <a:cubicBezTo>
                    <a:pt x="185" y="69"/>
                    <a:pt x="185" y="69"/>
                    <a:pt x="185" y="69"/>
                  </a:cubicBezTo>
                  <a:cubicBezTo>
                    <a:pt x="0" y="2"/>
                    <a:pt x="0" y="2"/>
                    <a:pt x="0" y="2"/>
                  </a:cubicBezTo>
                  <a:cubicBezTo>
                    <a:pt x="0" y="66"/>
                    <a:pt x="0" y="66"/>
                    <a:pt x="0" y="66"/>
                  </a:cubicBezTo>
                  <a:cubicBezTo>
                    <a:pt x="0" y="102"/>
                    <a:pt x="90" y="149"/>
                    <a:pt x="202" y="149"/>
                  </a:cubicBezTo>
                  <a:cubicBezTo>
                    <a:pt x="313" y="149"/>
                    <a:pt x="403" y="102"/>
                    <a:pt x="403" y="66"/>
                  </a:cubicBezTo>
                  <a:cubicBezTo>
                    <a:pt x="403" y="0"/>
                    <a:pt x="403" y="0"/>
                    <a:pt x="403" y="0"/>
                  </a:cubicBezTo>
                  <a:cubicBezTo>
                    <a:pt x="214" y="70"/>
                    <a:pt x="214" y="70"/>
                    <a:pt x="214" y="70"/>
                  </a:cubicBezTo>
                  <a:cubicBezTo>
                    <a:pt x="212" y="70"/>
                    <a:pt x="212" y="70"/>
                    <a:pt x="211" y="7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8658" tIns="44329" rIns="88658" bIns="44329" numCol="1" anchor="t" anchorCtr="0" compatLnSpc="1">
              <a:prstTxWarp prst="textNoShape">
                <a:avLst/>
              </a:prstTxWarp>
            </a:bodyPr>
            <a:lstStyle/>
            <a:p>
              <a:pPr defTabSz="664982" fontAlgn="auto">
                <a:spcBef>
                  <a:spcPts val="0"/>
                </a:spcBef>
                <a:spcAft>
                  <a:spcPts val="0"/>
                </a:spcAft>
                <a:defRPr/>
              </a:pPr>
              <a:endParaRPr lang="en-GB" sz="1745">
                <a:solidFill>
                  <a:prstClr val="black"/>
                </a:solidFill>
              </a:endParaRPr>
            </a:p>
          </p:txBody>
        </p:sp>
        <p:sp>
          <p:nvSpPr>
            <p:cNvPr id="68" name="Freeform 8">
              <a:extLst>
                <a:ext uri="{FF2B5EF4-FFF2-40B4-BE49-F238E27FC236}">
                  <a16:creationId xmlns:a16="http://schemas.microsoft.com/office/drawing/2014/main" id="{DDB61BA3-5B04-4346-A6C9-9F18B0084DF3}"/>
                </a:ext>
              </a:extLst>
            </p:cNvPr>
            <p:cNvSpPr>
              <a:spLocks/>
            </p:cNvSpPr>
            <p:nvPr/>
          </p:nvSpPr>
          <p:spPr bwMode="auto">
            <a:xfrm>
              <a:off x="5481326" y="389405"/>
              <a:ext cx="55291" cy="130810"/>
            </a:xfrm>
            <a:custGeom>
              <a:avLst/>
              <a:gdLst>
                <a:gd name="T0" fmla="*/ 46 w 46"/>
                <a:gd name="T1" fmla="*/ 23 h 109"/>
                <a:gd name="T2" fmla="*/ 23 w 46"/>
                <a:gd name="T3" fmla="*/ 0 h 109"/>
                <a:gd name="T4" fmla="*/ 23 w 46"/>
                <a:gd name="T5" fmla="*/ 0 h 109"/>
                <a:gd name="T6" fmla="*/ 0 w 46"/>
                <a:gd name="T7" fmla="*/ 23 h 109"/>
                <a:gd name="T8" fmla="*/ 0 w 46"/>
                <a:gd name="T9" fmla="*/ 96 h 109"/>
                <a:gd name="T10" fmla="*/ 23 w 46"/>
                <a:gd name="T11" fmla="*/ 91 h 109"/>
                <a:gd name="T12" fmla="*/ 23 w 46"/>
                <a:gd name="T13" fmla="*/ 91 h 109"/>
                <a:gd name="T14" fmla="*/ 46 w 46"/>
                <a:gd name="T15" fmla="*/ 96 h 109"/>
                <a:gd name="T16" fmla="*/ 46 w 46"/>
                <a:gd name="T17" fmla="*/ 2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 h="109">
                  <a:moveTo>
                    <a:pt x="46" y="23"/>
                  </a:moveTo>
                  <a:cubicBezTo>
                    <a:pt x="46" y="11"/>
                    <a:pt x="36" y="0"/>
                    <a:pt x="23" y="0"/>
                  </a:cubicBezTo>
                  <a:cubicBezTo>
                    <a:pt x="23" y="0"/>
                    <a:pt x="23" y="0"/>
                    <a:pt x="23" y="0"/>
                  </a:cubicBezTo>
                  <a:cubicBezTo>
                    <a:pt x="10" y="0"/>
                    <a:pt x="0" y="11"/>
                    <a:pt x="0" y="23"/>
                  </a:cubicBezTo>
                  <a:cubicBezTo>
                    <a:pt x="0" y="96"/>
                    <a:pt x="0" y="96"/>
                    <a:pt x="0" y="96"/>
                  </a:cubicBezTo>
                  <a:cubicBezTo>
                    <a:pt x="0" y="109"/>
                    <a:pt x="11" y="91"/>
                    <a:pt x="23" y="91"/>
                  </a:cubicBezTo>
                  <a:cubicBezTo>
                    <a:pt x="23" y="91"/>
                    <a:pt x="23" y="91"/>
                    <a:pt x="23" y="91"/>
                  </a:cubicBezTo>
                  <a:cubicBezTo>
                    <a:pt x="36" y="91"/>
                    <a:pt x="46" y="109"/>
                    <a:pt x="46" y="96"/>
                  </a:cubicBezTo>
                  <a:lnTo>
                    <a:pt x="46" y="2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8658" tIns="44329" rIns="88658" bIns="44329" numCol="1" anchor="t" anchorCtr="0" compatLnSpc="1">
              <a:prstTxWarp prst="textNoShape">
                <a:avLst/>
              </a:prstTxWarp>
            </a:bodyPr>
            <a:lstStyle/>
            <a:p>
              <a:pPr defTabSz="664982" fontAlgn="auto">
                <a:spcBef>
                  <a:spcPts val="0"/>
                </a:spcBef>
                <a:spcAft>
                  <a:spcPts val="0"/>
                </a:spcAft>
                <a:defRPr/>
              </a:pPr>
              <a:endParaRPr lang="en-GB" sz="1745">
                <a:solidFill>
                  <a:prstClr val="black"/>
                </a:solidFill>
              </a:endParaRPr>
            </a:p>
          </p:txBody>
        </p:sp>
      </p:grpSp>
      <p:sp>
        <p:nvSpPr>
          <p:cNvPr id="69" name="Rectangle 68">
            <a:extLst>
              <a:ext uri="{FF2B5EF4-FFF2-40B4-BE49-F238E27FC236}">
                <a16:creationId xmlns:a16="http://schemas.microsoft.com/office/drawing/2014/main" id="{B52849F9-852E-014D-B933-1701C90E0A6F}"/>
              </a:ext>
            </a:extLst>
          </p:cNvPr>
          <p:cNvSpPr/>
          <p:nvPr/>
        </p:nvSpPr>
        <p:spPr>
          <a:xfrm>
            <a:off x="1088990" y="78247"/>
            <a:ext cx="76790" cy="977331"/>
          </a:xfrm>
          <a:prstGeom prst="rect">
            <a:avLst/>
          </a:prstGeom>
          <a:solidFill>
            <a:schemeClr val="bg1"/>
          </a:solidFill>
          <a:ln>
            <a:noFill/>
          </a:ln>
        </p:spPr>
        <p:txBody>
          <a:bodyPr rot="0" spcFirstLastPara="0" vertOverflow="overflow" horzOverflow="overflow" vert="horz" wrap="square" lIns="88646" tIns="44324" rIns="88646" bIns="44324" numCol="1" spcCol="0" rtlCol="0" fromWordArt="0" anchor="ctr" anchorCtr="0" forceAA="0" compatLnSpc="1">
            <a:prstTxWarp prst="textNoShape">
              <a:avLst/>
            </a:prstTxWarp>
            <a:noAutofit/>
          </a:bodyPr>
          <a:lstStyle/>
          <a:p>
            <a:pPr algn="ctr" defTabSz="664982" fontAlgn="auto">
              <a:spcBef>
                <a:spcPts val="0"/>
              </a:spcBef>
              <a:spcAft>
                <a:spcPts val="0"/>
              </a:spcAft>
              <a:defRPr/>
            </a:pPr>
            <a:endParaRPr lang="fr-BE" sz="1745">
              <a:solidFill>
                <a:prstClr val="black"/>
              </a:solidFill>
              <a:cs typeface="Adobe Devanagari" panose="02040503050201020203" pitchFamily="18" charset="0"/>
            </a:endParaRPr>
          </a:p>
        </p:txBody>
      </p:sp>
      <p:sp>
        <p:nvSpPr>
          <p:cNvPr id="70" name="TextBox 69">
            <a:extLst>
              <a:ext uri="{FF2B5EF4-FFF2-40B4-BE49-F238E27FC236}">
                <a16:creationId xmlns:a16="http://schemas.microsoft.com/office/drawing/2014/main" id="{9BE1CB2F-5C1B-1C49-AF3A-0711436F9655}"/>
              </a:ext>
            </a:extLst>
          </p:cNvPr>
          <p:cNvSpPr txBox="1"/>
          <p:nvPr/>
        </p:nvSpPr>
        <p:spPr>
          <a:xfrm>
            <a:off x="176117" y="3282834"/>
            <a:ext cx="2495537" cy="1033873"/>
          </a:xfrm>
          <a:prstGeom prst="rect">
            <a:avLst/>
          </a:prstGeom>
          <a:noFill/>
        </p:spPr>
        <p:txBody>
          <a:bodyPr wrap="square" rtlCol="0" anchor="t">
            <a:spAutoFit/>
          </a:bodyPr>
          <a:lstStyle/>
          <a:p>
            <a:pPr marL="207806" lvl="1" indent="-207806" defTabSz="955888" fontAlgn="auto">
              <a:spcBef>
                <a:spcPts val="582"/>
              </a:spcBef>
              <a:spcAft>
                <a:spcPts val="0"/>
              </a:spcAft>
              <a:buSzPct val="120000"/>
              <a:buFont typeface="Arial" panose="020B0604020202020204" pitchFamily="34" charset="0"/>
              <a:buChar char="•"/>
              <a:defRPr sz="1800"/>
            </a:pPr>
            <a:r>
              <a:rPr lang="en-GB" sz="1309" dirty="0">
                <a:solidFill>
                  <a:prstClr val="white"/>
                </a:solidFill>
              </a:rPr>
              <a:t>Mobile First</a:t>
            </a:r>
          </a:p>
          <a:p>
            <a:pPr marL="207806" lvl="1" indent="-207806" defTabSz="955888" fontAlgn="auto">
              <a:spcBef>
                <a:spcPts val="582"/>
              </a:spcBef>
              <a:spcAft>
                <a:spcPts val="0"/>
              </a:spcAft>
              <a:buSzPct val="120000"/>
              <a:buFont typeface="Arial" panose="020B0604020202020204" pitchFamily="34" charset="0"/>
              <a:buChar char="•"/>
              <a:defRPr sz="1800"/>
            </a:pPr>
            <a:r>
              <a:rPr lang="en-GB" sz="1309" dirty="0">
                <a:solidFill>
                  <a:prstClr val="white"/>
                </a:solidFill>
              </a:rPr>
              <a:t>Embrace </a:t>
            </a:r>
            <a:r>
              <a:rPr lang="en-GB" sz="1309" dirty="0" err="1">
                <a:solidFill>
                  <a:prstClr val="white"/>
                </a:solidFill>
              </a:rPr>
              <a:t>IoT</a:t>
            </a:r>
            <a:r>
              <a:rPr lang="en-GB" sz="1309" dirty="0">
                <a:solidFill>
                  <a:prstClr val="white"/>
                </a:solidFill>
              </a:rPr>
              <a:t> </a:t>
            </a:r>
          </a:p>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r>
              <a:rPr lang="en-GB" sz="1309" dirty="0">
                <a:solidFill>
                  <a:prstClr val="white"/>
                </a:solidFill>
              </a:rPr>
              <a:t>Secure students and staff</a:t>
            </a:r>
          </a:p>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r>
              <a:rPr lang="en-US" sz="1309" dirty="0">
                <a:solidFill>
                  <a:prstClr val="white"/>
                </a:solidFill>
              </a:rPr>
              <a:t>Green</a:t>
            </a:r>
            <a:endParaRPr lang="en-US" sz="873" dirty="0">
              <a:solidFill>
                <a:prstClr val="white"/>
              </a:solidFill>
            </a:endParaRPr>
          </a:p>
        </p:txBody>
      </p:sp>
      <p:sp>
        <p:nvSpPr>
          <p:cNvPr id="71" name="TextBox 70">
            <a:extLst>
              <a:ext uri="{FF2B5EF4-FFF2-40B4-BE49-F238E27FC236}">
                <a16:creationId xmlns:a16="http://schemas.microsoft.com/office/drawing/2014/main" id="{CB5A636C-C45E-5F45-883B-5B1131F2BF0D}"/>
              </a:ext>
            </a:extLst>
          </p:cNvPr>
          <p:cNvSpPr txBox="1"/>
          <p:nvPr/>
        </p:nvSpPr>
        <p:spPr>
          <a:xfrm>
            <a:off x="6441610" y="3341147"/>
            <a:ext cx="1671044" cy="1015663"/>
          </a:xfrm>
          <a:prstGeom prst="rect">
            <a:avLst/>
          </a:prstGeom>
          <a:noFill/>
        </p:spPr>
        <p:txBody>
          <a:bodyPr wrap="square" rtlCol="0" anchor="t">
            <a:spAutoFit/>
          </a:bodyPr>
          <a:lstStyle/>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r>
              <a:rPr lang="en-US" sz="1309" dirty="0">
                <a:solidFill>
                  <a:prstClr val="white"/>
                </a:solidFill>
              </a:rPr>
              <a:t>Overcome complexity with innovation </a:t>
            </a:r>
          </a:p>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r>
              <a:rPr lang="en-US" sz="1309" dirty="0">
                <a:solidFill>
                  <a:prstClr val="white"/>
                </a:solidFill>
              </a:rPr>
              <a:t>Digital twin </a:t>
            </a:r>
          </a:p>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r>
              <a:rPr lang="en-US" sz="1309" dirty="0">
                <a:solidFill>
                  <a:prstClr val="white"/>
                </a:solidFill>
              </a:rPr>
              <a:t>Analytics</a:t>
            </a:r>
          </a:p>
        </p:txBody>
      </p:sp>
      <p:sp>
        <p:nvSpPr>
          <p:cNvPr id="72" name="TextBox 71">
            <a:extLst>
              <a:ext uri="{FF2B5EF4-FFF2-40B4-BE49-F238E27FC236}">
                <a16:creationId xmlns:a16="http://schemas.microsoft.com/office/drawing/2014/main" id="{EC31A9F0-5F22-3B4E-A4A8-0EAB6E393608}"/>
              </a:ext>
            </a:extLst>
          </p:cNvPr>
          <p:cNvSpPr txBox="1"/>
          <p:nvPr/>
        </p:nvSpPr>
        <p:spPr>
          <a:xfrm>
            <a:off x="2749145" y="3305006"/>
            <a:ext cx="3077107" cy="1708160"/>
          </a:xfrm>
          <a:prstGeom prst="rect">
            <a:avLst/>
          </a:prstGeom>
          <a:noFill/>
        </p:spPr>
        <p:txBody>
          <a:bodyPr wrap="square" rtlCol="0" anchor="t">
            <a:spAutoFit/>
          </a:bodyPr>
          <a:lstStyle/>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r>
              <a:rPr lang="en-GB" sz="1309" dirty="0">
                <a:solidFill>
                  <a:prstClr val="white"/>
                </a:solidFill>
              </a:rPr>
              <a:t>Better engagement with students and parents </a:t>
            </a:r>
          </a:p>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r>
              <a:rPr lang="en-GB" sz="1309" dirty="0">
                <a:solidFill>
                  <a:prstClr val="white"/>
                </a:solidFill>
              </a:rPr>
              <a:t>Digitization of the classroom</a:t>
            </a:r>
          </a:p>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r>
              <a:rPr lang="en-GB" sz="1309" dirty="0">
                <a:solidFill>
                  <a:prstClr val="white"/>
                </a:solidFill>
              </a:rPr>
              <a:t>Better management of emergency situations</a:t>
            </a:r>
          </a:p>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r>
              <a:rPr lang="en-GB" sz="1309" dirty="0">
                <a:solidFill>
                  <a:prstClr val="white"/>
                </a:solidFill>
              </a:rPr>
              <a:t>Increased staff efficiency</a:t>
            </a:r>
          </a:p>
          <a:p>
            <a:pPr marL="207806" lvl="1" indent="-207806" defTabSz="955888" fontAlgn="auto">
              <a:lnSpc>
                <a:spcPts val="1164"/>
              </a:lnSpc>
              <a:spcBef>
                <a:spcPts val="582"/>
              </a:spcBef>
              <a:spcAft>
                <a:spcPts val="0"/>
              </a:spcAft>
              <a:buSzPct val="120000"/>
              <a:buFont typeface="Arial" panose="020B0604020202020204" pitchFamily="34" charset="0"/>
              <a:buChar char="•"/>
              <a:defRPr sz="1800"/>
            </a:pPr>
            <a:endParaRPr lang="en-GB" sz="873" dirty="0">
              <a:solidFill>
                <a:prstClr val="white"/>
              </a:solidFill>
            </a:endParaRPr>
          </a:p>
          <a:p>
            <a:pPr marL="207806" indent="-207806" defTabSz="955888" fontAlgn="auto">
              <a:lnSpc>
                <a:spcPts val="1164"/>
              </a:lnSpc>
              <a:spcBef>
                <a:spcPts val="582"/>
              </a:spcBef>
              <a:spcAft>
                <a:spcPts val="0"/>
              </a:spcAft>
              <a:buSzPct val="120000"/>
              <a:buFont typeface="Arial" panose="020B0604020202020204" pitchFamily="34" charset="0"/>
              <a:buChar char="•"/>
              <a:defRPr sz="1800"/>
            </a:pPr>
            <a:endParaRPr lang="en-GB" sz="969" dirty="0">
              <a:solidFill>
                <a:prstClr val="white"/>
              </a:solidFill>
            </a:endParaRPr>
          </a:p>
        </p:txBody>
      </p:sp>
      <p:cxnSp>
        <p:nvCxnSpPr>
          <p:cNvPr id="78" name="Straight Connector 112">
            <a:extLst>
              <a:ext uri="{FF2B5EF4-FFF2-40B4-BE49-F238E27FC236}">
                <a16:creationId xmlns:a16="http://schemas.microsoft.com/office/drawing/2014/main" id="{11112772-79B5-3645-B9F6-CD4998E867B7}"/>
              </a:ext>
            </a:extLst>
          </p:cNvPr>
          <p:cNvCxnSpPr>
            <a:cxnSpLocks/>
          </p:cNvCxnSpPr>
          <p:nvPr/>
        </p:nvCxnSpPr>
        <p:spPr>
          <a:xfrm flipV="1">
            <a:off x="2741649" y="3290251"/>
            <a:ext cx="0" cy="965673"/>
          </a:xfrm>
          <a:prstGeom prst="line">
            <a:avLst/>
          </a:prstGeom>
          <a:ln w="6350">
            <a:solidFill>
              <a:schemeClr val="bg1">
                <a:lumMod val="95000"/>
                <a:alpha val="46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112">
            <a:extLst>
              <a:ext uri="{FF2B5EF4-FFF2-40B4-BE49-F238E27FC236}">
                <a16:creationId xmlns:a16="http://schemas.microsoft.com/office/drawing/2014/main" id="{3FD4C12B-19FF-8347-A93B-808050A4A5D4}"/>
              </a:ext>
            </a:extLst>
          </p:cNvPr>
          <p:cNvCxnSpPr>
            <a:cxnSpLocks/>
          </p:cNvCxnSpPr>
          <p:nvPr/>
        </p:nvCxnSpPr>
        <p:spPr>
          <a:xfrm flipV="1">
            <a:off x="5815169" y="3290251"/>
            <a:ext cx="0" cy="965673"/>
          </a:xfrm>
          <a:prstGeom prst="line">
            <a:avLst/>
          </a:prstGeom>
          <a:ln w="6350">
            <a:solidFill>
              <a:schemeClr val="bg1">
                <a:lumMod val="95000"/>
                <a:alpha val="46000"/>
              </a:schemeClr>
            </a:solidFill>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F6FE92CD-5E11-4801-AD1C-6491DB3B2B34}"/>
              </a:ext>
            </a:extLst>
          </p:cNvPr>
          <p:cNvGrpSpPr/>
          <p:nvPr/>
        </p:nvGrpSpPr>
        <p:grpSpPr>
          <a:xfrm>
            <a:off x="599095" y="1822781"/>
            <a:ext cx="7759464" cy="1334528"/>
            <a:chOff x="823860" y="2719078"/>
            <a:chExt cx="10670610" cy="1835208"/>
          </a:xfrm>
        </p:grpSpPr>
        <p:grpSp>
          <p:nvGrpSpPr>
            <p:cNvPr id="81" name="Group 80">
              <a:extLst>
                <a:ext uri="{FF2B5EF4-FFF2-40B4-BE49-F238E27FC236}">
                  <a16:creationId xmlns:a16="http://schemas.microsoft.com/office/drawing/2014/main" id="{3F4A94FD-90C6-412F-A6BC-68347A91F512}"/>
                </a:ext>
              </a:extLst>
            </p:cNvPr>
            <p:cNvGrpSpPr/>
            <p:nvPr/>
          </p:nvGrpSpPr>
          <p:grpSpPr>
            <a:xfrm>
              <a:off x="823860" y="2719078"/>
              <a:ext cx="10670610" cy="1835208"/>
              <a:chOff x="823860" y="3007843"/>
              <a:chExt cx="10670610" cy="1835208"/>
            </a:xfrm>
          </p:grpSpPr>
          <p:cxnSp>
            <p:nvCxnSpPr>
              <p:cNvPr id="86" name="Straight Connector 112">
                <a:extLst>
                  <a:ext uri="{FF2B5EF4-FFF2-40B4-BE49-F238E27FC236}">
                    <a16:creationId xmlns:a16="http://schemas.microsoft.com/office/drawing/2014/main" id="{98E36B00-884A-450A-8DA6-89648D5B4A8C}"/>
                  </a:ext>
                </a:extLst>
              </p:cNvPr>
              <p:cNvCxnSpPr>
                <a:cxnSpLocks/>
              </p:cNvCxnSpPr>
              <p:nvPr/>
            </p:nvCxnSpPr>
            <p:spPr>
              <a:xfrm flipH="1" flipV="1">
                <a:off x="2251995" y="3153536"/>
                <a:ext cx="2319468" cy="1545770"/>
              </a:xfrm>
              <a:prstGeom prst="line">
                <a:avLst/>
              </a:prstGeom>
              <a:ln w="9525">
                <a:solidFill>
                  <a:schemeClr val="bg1">
                    <a:lumMod val="95000"/>
                    <a:alpha val="8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112">
                <a:extLst>
                  <a:ext uri="{FF2B5EF4-FFF2-40B4-BE49-F238E27FC236}">
                    <a16:creationId xmlns:a16="http://schemas.microsoft.com/office/drawing/2014/main" id="{CF96C90A-1C9D-4E91-A690-060486EA9495}"/>
                  </a:ext>
                </a:extLst>
              </p:cNvPr>
              <p:cNvCxnSpPr>
                <a:cxnSpLocks/>
              </p:cNvCxnSpPr>
              <p:nvPr/>
            </p:nvCxnSpPr>
            <p:spPr>
              <a:xfrm>
                <a:off x="5908736" y="3437882"/>
                <a:ext cx="1780337" cy="998944"/>
              </a:xfrm>
              <a:prstGeom prst="line">
                <a:avLst/>
              </a:prstGeom>
              <a:ln w="9525">
                <a:solidFill>
                  <a:schemeClr val="bg1">
                    <a:lumMod val="95000"/>
                    <a:alpha val="8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112">
                <a:extLst>
                  <a:ext uri="{FF2B5EF4-FFF2-40B4-BE49-F238E27FC236}">
                    <a16:creationId xmlns:a16="http://schemas.microsoft.com/office/drawing/2014/main" id="{FF9966DE-874B-4927-BA35-4B2A2FA01B1B}"/>
                  </a:ext>
                </a:extLst>
              </p:cNvPr>
              <p:cNvCxnSpPr>
                <a:cxnSpLocks/>
              </p:cNvCxnSpPr>
              <p:nvPr/>
            </p:nvCxnSpPr>
            <p:spPr>
              <a:xfrm flipH="1" flipV="1">
                <a:off x="9000730" y="3142246"/>
                <a:ext cx="1049221" cy="1502193"/>
              </a:xfrm>
              <a:prstGeom prst="line">
                <a:avLst/>
              </a:prstGeom>
              <a:ln w="9525">
                <a:solidFill>
                  <a:schemeClr val="bg1">
                    <a:lumMod val="95000"/>
                    <a:alpha val="80000"/>
                  </a:schemeClr>
                </a:solidFill>
              </a:ln>
            </p:spPr>
            <p:style>
              <a:lnRef idx="1">
                <a:schemeClr val="accent1"/>
              </a:lnRef>
              <a:fillRef idx="0">
                <a:schemeClr val="accent1"/>
              </a:fillRef>
              <a:effectRef idx="0">
                <a:schemeClr val="accent1"/>
              </a:effectRef>
              <a:fontRef idx="minor">
                <a:schemeClr val="tx1"/>
              </a:fontRef>
            </p:style>
          </p:cxnSp>
          <p:grpSp>
            <p:nvGrpSpPr>
              <p:cNvPr id="89" name="Group 88">
                <a:extLst>
                  <a:ext uri="{FF2B5EF4-FFF2-40B4-BE49-F238E27FC236}">
                    <a16:creationId xmlns:a16="http://schemas.microsoft.com/office/drawing/2014/main" id="{972D005E-E3CE-41CC-A3EB-BEC73110F023}"/>
                  </a:ext>
                </a:extLst>
              </p:cNvPr>
              <p:cNvGrpSpPr/>
              <p:nvPr/>
            </p:nvGrpSpPr>
            <p:grpSpPr>
              <a:xfrm>
                <a:off x="823860" y="3007843"/>
                <a:ext cx="1580820" cy="1585296"/>
                <a:chOff x="1072712" y="1601353"/>
                <a:chExt cx="2192642" cy="2198850"/>
              </a:xfrm>
            </p:grpSpPr>
            <p:sp>
              <p:nvSpPr>
                <p:cNvPr id="162" name="Oval 54">
                  <a:extLst>
                    <a:ext uri="{FF2B5EF4-FFF2-40B4-BE49-F238E27FC236}">
                      <a16:creationId xmlns:a16="http://schemas.microsoft.com/office/drawing/2014/main" id="{D0FA7A1C-C25A-43C7-B4B2-B76A55DD4616}"/>
                    </a:ext>
                  </a:extLst>
                </p:cNvPr>
                <p:cNvSpPr>
                  <a:spLocks noChangeAspect="1"/>
                </p:cNvSpPr>
                <p:nvPr/>
              </p:nvSpPr>
              <p:spPr>
                <a:xfrm>
                  <a:off x="1269033" y="1787772"/>
                  <a:ext cx="1800000" cy="1816110"/>
                </a:xfrm>
                <a:prstGeom prst="rect">
                  <a:avLst/>
                </a:prstGeom>
                <a:solidFill>
                  <a:srgbClr val="590EC3">
                    <a:alpha val="14000"/>
                  </a:srgbClr>
                </a:solidFill>
                <a:ln>
                  <a:solidFill>
                    <a:schemeClr val="bg1">
                      <a:alpha val="67000"/>
                    </a:schemeClr>
                  </a:solidFill>
                </a:ln>
              </p:spPr>
              <p:txBody>
                <a:bodyPr rot="0" spcFirstLastPara="0" vertOverflow="overflow" horzOverflow="overflow" vert="horz" wrap="square" lIns="88658" tIns="44329" rIns="88658" bIns="44329" numCol="1" spcCol="0" rtlCol="0" fromWordArt="0" anchor="ctr" anchorCtr="0" forceAA="0" compatLnSpc="1">
                  <a:prstTxWarp prst="textNoShape">
                    <a:avLst/>
                  </a:prstTxWarp>
                  <a:noAutofit/>
                </a:bodyPr>
                <a:lstStyle/>
                <a:p>
                  <a:pPr algn="ctr" defTabSz="664982" fontAlgn="auto">
                    <a:spcBef>
                      <a:spcPts val="0"/>
                    </a:spcBef>
                    <a:spcAft>
                      <a:spcPts val="0"/>
                    </a:spcAft>
                    <a:defRPr/>
                  </a:pPr>
                  <a:endParaRPr lang="en-US" sz="1745">
                    <a:solidFill>
                      <a:srgbClr val="A5A5A5">
                        <a:lumMod val="20000"/>
                        <a:lumOff val="80000"/>
                      </a:srgbClr>
                    </a:solidFill>
                    <a:latin typeface="Trebuchet MS"/>
                    <a:cs typeface="Trebuchet MS"/>
                  </a:endParaRPr>
                </a:p>
              </p:txBody>
            </p:sp>
            <p:pic>
              <p:nvPicPr>
                <p:cNvPr id="163" name="Picture 162">
                  <a:extLst>
                    <a:ext uri="{FF2B5EF4-FFF2-40B4-BE49-F238E27FC236}">
                      <a16:creationId xmlns:a16="http://schemas.microsoft.com/office/drawing/2014/main" id="{CBC203A7-2047-4834-8848-714668F45E58}"/>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72711" y="3407560"/>
                  <a:ext cx="392643" cy="392643"/>
                </a:xfrm>
                <a:prstGeom prst="rect">
                  <a:avLst/>
                </a:prstGeom>
              </p:spPr>
            </p:pic>
            <p:pic>
              <p:nvPicPr>
                <p:cNvPr id="164" name="Picture 163">
                  <a:extLst>
                    <a:ext uri="{FF2B5EF4-FFF2-40B4-BE49-F238E27FC236}">
                      <a16:creationId xmlns:a16="http://schemas.microsoft.com/office/drawing/2014/main" id="{42F882A2-9262-4400-9203-521A8953C05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872710" y="1601353"/>
                  <a:ext cx="392643" cy="392643"/>
                </a:xfrm>
                <a:prstGeom prst="rect">
                  <a:avLst/>
                </a:prstGeom>
              </p:spPr>
            </p:pic>
            <p:pic>
              <p:nvPicPr>
                <p:cNvPr id="165" name="Picture 164">
                  <a:extLst>
                    <a:ext uri="{FF2B5EF4-FFF2-40B4-BE49-F238E27FC236}">
                      <a16:creationId xmlns:a16="http://schemas.microsoft.com/office/drawing/2014/main" id="{FE885013-F95D-4643-8BC9-D6C541A412E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72712" y="1607897"/>
                  <a:ext cx="392643" cy="392643"/>
                </a:xfrm>
                <a:prstGeom prst="rect">
                  <a:avLst/>
                </a:prstGeom>
              </p:spPr>
            </p:pic>
            <p:pic>
              <p:nvPicPr>
                <p:cNvPr id="166" name="Picture 165">
                  <a:extLst>
                    <a:ext uri="{FF2B5EF4-FFF2-40B4-BE49-F238E27FC236}">
                      <a16:creationId xmlns:a16="http://schemas.microsoft.com/office/drawing/2014/main" id="{493FD4DD-591C-4086-B002-1CC20F26F14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5378" y="3407560"/>
                  <a:ext cx="392643" cy="392643"/>
                </a:xfrm>
                <a:prstGeom prst="rect">
                  <a:avLst/>
                </a:prstGeom>
              </p:spPr>
            </p:pic>
          </p:grpSp>
          <p:sp>
            <p:nvSpPr>
              <p:cNvPr id="90" name="Oval 54">
                <a:extLst>
                  <a:ext uri="{FF2B5EF4-FFF2-40B4-BE49-F238E27FC236}">
                    <a16:creationId xmlns:a16="http://schemas.microsoft.com/office/drawing/2014/main" id="{C7DC350F-03F8-4F4A-8EC7-B89EE87E7310}"/>
                  </a:ext>
                </a:extLst>
              </p:cNvPr>
              <p:cNvSpPr>
                <a:spLocks noChangeAspect="1"/>
              </p:cNvSpPr>
              <p:nvPr/>
            </p:nvSpPr>
            <p:spPr>
              <a:xfrm>
                <a:off x="920773" y="3698590"/>
                <a:ext cx="1956108" cy="412097"/>
              </a:xfrm>
              <a:prstGeom prst="rect">
                <a:avLst/>
              </a:prstGeom>
              <a:noFill/>
              <a:ln>
                <a:noFill/>
              </a:ln>
            </p:spPr>
            <p:txBody>
              <a:bodyPr rot="0" spcFirstLastPara="0" vertOverflow="overflow" horzOverflow="overflow" vert="horz" wrap="square" lIns="88658" tIns="44329" rIns="88658" bIns="44329" numCol="1" spcCol="0" rtlCol="0" fromWordArt="0" anchor="ctr" anchorCtr="0" forceAA="0" compatLnSpc="1">
                <a:prstTxWarp prst="textNoShape">
                  <a:avLst/>
                </a:prstTxWarp>
                <a:noAutofit/>
              </a:bodyPr>
              <a:lstStyle/>
              <a:p>
                <a:pPr defTabSz="664952" fontAlgn="auto">
                  <a:spcBef>
                    <a:spcPts val="0"/>
                  </a:spcBef>
                  <a:spcAft>
                    <a:spcPts val="0"/>
                  </a:spcAft>
                  <a:defRPr/>
                </a:pPr>
                <a:r>
                  <a:rPr lang="en-US" sz="1309" b="1" dirty="0">
                    <a:solidFill>
                      <a:srgbClr val="FFFFFF"/>
                    </a:solidFill>
                  </a:rPr>
                  <a:t>Build </a:t>
                </a:r>
                <a:br>
                  <a:rPr lang="en-US" sz="1309" b="1" dirty="0">
                    <a:solidFill>
                      <a:srgbClr val="FFFFFF"/>
                    </a:solidFill>
                  </a:rPr>
                </a:br>
                <a:r>
                  <a:rPr lang="en-US" sz="1309" b="1" dirty="0">
                    <a:solidFill>
                      <a:srgbClr val="FFFFFF"/>
                    </a:solidFill>
                  </a:rPr>
                  <a:t>the </a:t>
                </a:r>
              </a:p>
              <a:p>
                <a:pPr defTabSz="664952" fontAlgn="auto">
                  <a:spcBef>
                    <a:spcPts val="0"/>
                  </a:spcBef>
                  <a:spcAft>
                    <a:spcPts val="0"/>
                  </a:spcAft>
                  <a:defRPr/>
                </a:pPr>
                <a:r>
                  <a:rPr lang="en-US" sz="1309" b="1" dirty="0">
                    <a:solidFill>
                      <a:srgbClr val="FFFFFF"/>
                    </a:solidFill>
                  </a:rPr>
                  <a:t>platform </a:t>
                </a:r>
              </a:p>
            </p:txBody>
          </p:sp>
          <p:grpSp>
            <p:nvGrpSpPr>
              <p:cNvPr id="91" name="Group 90">
                <a:extLst>
                  <a:ext uri="{FF2B5EF4-FFF2-40B4-BE49-F238E27FC236}">
                    <a16:creationId xmlns:a16="http://schemas.microsoft.com/office/drawing/2014/main" id="{FD3B4D96-4EF3-4BF0-BE51-548C065BCB25}"/>
                  </a:ext>
                </a:extLst>
              </p:cNvPr>
              <p:cNvGrpSpPr/>
              <p:nvPr/>
            </p:nvGrpSpPr>
            <p:grpSpPr>
              <a:xfrm>
                <a:off x="4434258" y="3257755"/>
                <a:ext cx="1580821" cy="1585296"/>
                <a:chOff x="2202705" y="1583283"/>
                <a:chExt cx="2192641" cy="2198850"/>
              </a:xfrm>
            </p:grpSpPr>
            <p:sp>
              <p:nvSpPr>
                <p:cNvPr id="157" name="Oval 54">
                  <a:extLst>
                    <a:ext uri="{FF2B5EF4-FFF2-40B4-BE49-F238E27FC236}">
                      <a16:creationId xmlns:a16="http://schemas.microsoft.com/office/drawing/2014/main" id="{E3370A2F-E0CA-4FC0-BD62-6E2279B0CE4F}"/>
                    </a:ext>
                  </a:extLst>
                </p:cNvPr>
                <p:cNvSpPr>
                  <a:spLocks noChangeAspect="1"/>
                </p:cNvSpPr>
                <p:nvPr/>
              </p:nvSpPr>
              <p:spPr>
                <a:xfrm>
                  <a:off x="2396403" y="1787772"/>
                  <a:ext cx="1800005" cy="1816109"/>
                </a:xfrm>
                <a:prstGeom prst="rect">
                  <a:avLst/>
                </a:prstGeom>
                <a:solidFill>
                  <a:srgbClr val="590EC3">
                    <a:alpha val="14000"/>
                  </a:srgbClr>
                </a:solidFill>
                <a:ln>
                  <a:solidFill>
                    <a:schemeClr val="bg1">
                      <a:alpha val="67000"/>
                    </a:schemeClr>
                  </a:solidFill>
                </a:ln>
              </p:spPr>
              <p:txBody>
                <a:bodyPr rot="0" spcFirstLastPara="0" vertOverflow="overflow" horzOverflow="overflow" vert="horz" wrap="square" lIns="88658" tIns="44329" rIns="88658" bIns="44329" numCol="1" spcCol="0" rtlCol="0" fromWordArt="0" anchor="ctr" anchorCtr="0" forceAA="0" compatLnSpc="1">
                  <a:prstTxWarp prst="textNoShape">
                    <a:avLst/>
                  </a:prstTxWarp>
                  <a:noAutofit/>
                </a:bodyPr>
                <a:lstStyle/>
                <a:p>
                  <a:pPr algn="ctr" defTabSz="664982" fontAlgn="auto">
                    <a:spcBef>
                      <a:spcPts val="0"/>
                    </a:spcBef>
                    <a:spcAft>
                      <a:spcPts val="0"/>
                    </a:spcAft>
                    <a:defRPr/>
                  </a:pPr>
                  <a:endParaRPr lang="en-US" sz="1745">
                    <a:solidFill>
                      <a:srgbClr val="A5A5A5">
                        <a:lumMod val="20000"/>
                        <a:lumOff val="80000"/>
                      </a:srgbClr>
                    </a:solidFill>
                    <a:latin typeface="Trebuchet MS"/>
                    <a:cs typeface="Trebuchet MS"/>
                  </a:endParaRPr>
                </a:p>
              </p:txBody>
            </p:sp>
            <p:pic>
              <p:nvPicPr>
                <p:cNvPr id="158" name="Picture 157">
                  <a:extLst>
                    <a:ext uri="{FF2B5EF4-FFF2-40B4-BE49-F238E27FC236}">
                      <a16:creationId xmlns:a16="http://schemas.microsoft.com/office/drawing/2014/main" id="{1711CC69-3B11-449C-AAB9-76C2E8A67FA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002704" y="3389490"/>
                  <a:ext cx="392642" cy="392643"/>
                </a:xfrm>
                <a:prstGeom prst="rect">
                  <a:avLst/>
                </a:prstGeom>
              </p:spPr>
            </p:pic>
            <p:pic>
              <p:nvPicPr>
                <p:cNvPr id="159" name="Picture 158">
                  <a:extLst>
                    <a:ext uri="{FF2B5EF4-FFF2-40B4-BE49-F238E27FC236}">
                      <a16:creationId xmlns:a16="http://schemas.microsoft.com/office/drawing/2014/main" id="{73B248F4-F0DF-4E34-924D-828C95DAC54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002702" y="1583283"/>
                  <a:ext cx="392644" cy="392643"/>
                </a:xfrm>
                <a:prstGeom prst="rect">
                  <a:avLst/>
                </a:prstGeom>
              </p:spPr>
            </p:pic>
            <p:pic>
              <p:nvPicPr>
                <p:cNvPr id="160" name="Picture 159">
                  <a:extLst>
                    <a:ext uri="{FF2B5EF4-FFF2-40B4-BE49-F238E27FC236}">
                      <a16:creationId xmlns:a16="http://schemas.microsoft.com/office/drawing/2014/main" id="{A13FF43B-07FA-4B1E-A803-6ACB3C97D700}"/>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02705" y="1589827"/>
                  <a:ext cx="392642" cy="392643"/>
                </a:xfrm>
                <a:prstGeom prst="rect">
                  <a:avLst/>
                </a:prstGeom>
              </p:spPr>
            </p:pic>
            <p:pic>
              <p:nvPicPr>
                <p:cNvPr id="161" name="Picture 160">
                  <a:extLst>
                    <a:ext uri="{FF2B5EF4-FFF2-40B4-BE49-F238E27FC236}">
                      <a16:creationId xmlns:a16="http://schemas.microsoft.com/office/drawing/2014/main" id="{E68BA411-9BC7-4A4A-842C-A34F5206D47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215371" y="3389490"/>
                  <a:ext cx="392642" cy="392643"/>
                </a:xfrm>
                <a:prstGeom prst="rect">
                  <a:avLst/>
                </a:prstGeom>
              </p:spPr>
            </p:pic>
          </p:grpSp>
          <p:sp>
            <p:nvSpPr>
              <p:cNvPr id="92" name="Oval 54">
                <a:extLst>
                  <a:ext uri="{FF2B5EF4-FFF2-40B4-BE49-F238E27FC236}">
                    <a16:creationId xmlns:a16="http://schemas.microsoft.com/office/drawing/2014/main" id="{9103B4B1-0DF3-4FBC-8FE4-2C942D2A708C}"/>
                  </a:ext>
                </a:extLst>
              </p:cNvPr>
              <p:cNvSpPr>
                <a:spLocks noChangeAspect="1"/>
              </p:cNvSpPr>
              <p:nvPr/>
            </p:nvSpPr>
            <p:spPr>
              <a:xfrm>
                <a:off x="4531590" y="3885175"/>
                <a:ext cx="1529558" cy="611254"/>
              </a:xfrm>
              <a:prstGeom prst="rect">
                <a:avLst/>
              </a:prstGeom>
              <a:noFill/>
              <a:ln>
                <a:noFill/>
              </a:ln>
            </p:spPr>
            <p:txBody>
              <a:bodyPr rot="0" spcFirstLastPara="0" vertOverflow="overflow" horzOverflow="overflow" vert="horz" wrap="square" lIns="88658" tIns="44329" rIns="88658" bIns="44329" numCol="1" spcCol="0" rtlCol="0" fromWordArt="0" anchor="ctr" anchorCtr="0" forceAA="0" compatLnSpc="1">
                <a:prstTxWarp prst="textNoShape">
                  <a:avLst/>
                </a:prstTxWarp>
                <a:noAutofit/>
              </a:bodyPr>
              <a:lstStyle/>
              <a:p>
                <a:pPr defTabSz="664952" fontAlgn="auto">
                  <a:spcBef>
                    <a:spcPts val="0"/>
                  </a:spcBef>
                  <a:spcAft>
                    <a:spcPts val="0"/>
                  </a:spcAft>
                  <a:defRPr/>
                </a:pPr>
                <a:r>
                  <a:rPr lang="en-US" sz="1309" b="1" dirty="0">
                    <a:solidFill>
                      <a:srgbClr val="FFFFFF"/>
                    </a:solidFill>
                  </a:rPr>
                  <a:t>Focus on  ecosystem experience </a:t>
                </a:r>
              </a:p>
            </p:txBody>
          </p:sp>
          <p:grpSp>
            <p:nvGrpSpPr>
              <p:cNvPr id="93" name="Group 92">
                <a:extLst>
                  <a:ext uri="{FF2B5EF4-FFF2-40B4-BE49-F238E27FC236}">
                    <a16:creationId xmlns:a16="http://schemas.microsoft.com/office/drawing/2014/main" id="{24953479-A8BA-4A8F-A0DC-B5642DD4DBD6}"/>
                  </a:ext>
                </a:extLst>
              </p:cNvPr>
              <p:cNvGrpSpPr/>
              <p:nvPr/>
            </p:nvGrpSpPr>
            <p:grpSpPr>
              <a:xfrm>
                <a:off x="7547082" y="3007843"/>
                <a:ext cx="1580820" cy="1585296"/>
                <a:chOff x="2493965" y="1601353"/>
                <a:chExt cx="2192641" cy="2198850"/>
              </a:xfrm>
            </p:grpSpPr>
            <p:sp>
              <p:nvSpPr>
                <p:cNvPr id="138" name="Oval 54">
                  <a:extLst>
                    <a:ext uri="{FF2B5EF4-FFF2-40B4-BE49-F238E27FC236}">
                      <a16:creationId xmlns:a16="http://schemas.microsoft.com/office/drawing/2014/main" id="{3E19B7BE-EF0D-4B23-88B2-1263C302933A}"/>
                    </a:ext>
                  </a:extLst>
                </p:cNvPr>
                <p:cNvSpPr>
                  <a:spLocks noChangeAspect="1"/>
                </p:cNvSpPr>
                <p:nvPr/>
              </p:nvSpPr>
              <p:spPr>
                <a:xfrm>
                  <a:off x="2678245" y="1787772"/>
                  <a:ext cx="1800003" cy="1816109"/>
                </a:xfrm>
                <a:prstGeom prst="rect">
                  <a:avLst/>
                </a:prstGeom>
                <a:solidFill>
                  <a:srgbClr val="590EC3">
                    <a:alpha val="14000"/>
                  </a:srgbClr>
                </a:solidFill>
                <a:ln>
                  <a:solidFill>
                    <a:schemeClr val="bg1">
                      <a:alpha val="67000"/>
                    </a:schemeClr>
                  </a:solidFill>
                </a:ln>
              </p:spPr>
              <p:txBody>
                <a:bodyPr rot="0" spcFirstLastPara="0" vertOverflow="overflow" horzOverflow="overflow" vert="horz" wrap="square" lIns="88658" tIns="44329" rIns="88658" bIns="44329" numCol="1" spcCol="0" rtlCol="0" fromWordArt="0" anchor="ctr" anchorCtr="0" forceAA="0" compatLnSpc="1">
                  <a:prstTxWarp prst="textNoShape">
                    <a:avLst/>
                  </a:prstTxWarp>
                  <a:noAutofit/>
                </a:bodyPr>
                <a:lstStyle/>
                <a:p>
                  <a:pPr algn="ctr" defTabSz="664982" fontAlgn="auto">
                    <a:spcBef>
                      <a:spcPts val="0"/>
                    </a:spcBef>
                    <a:spcAft>
                      <a:spcPts val="0"/>
                    </a:spcAft>
                    <a:defRPr/>
                  </a:pPr>
                  <a:endParaRPr lang="en-US" sz="1745">
                    <a:solidFill>
                      <a:srgbClr val="A5A5A5">
                        <a:lumMod val="20000"/>
                        <a:lumOff val="80000"/>
                      </a:srgbClr>
                    </a:solidFill>
                    <a:latin typeface="Trebuchet MS"/>
                    <a:cs typeface="Trebuchet MS"/>
                  </a:endParaRPr>
                </a:p>
              </p:txBody>
            </p:sp>
            <p:pic>
              <p:nvPicPr>
                <p:cNvPr id="144" name="Picture 143">
                  <a:extLst>
                    <a:ext uri="{FF2B5EF4-FFF2-40B4-BE49-F238E27FC236}">
                      <a16:creationId xmlns:a16="http://schemas.microsoft.com/office/drawing/2014/main" id="{3920006D-E886-429F-ADA9-019D0968D03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93963" y="3407560"/>
                  <a:ext cx="392643" cy="392643"/>
                </a:xfrm>
                <a:prstGeom prst="rect">
                  <a:avLst/>
                </a:prstGeom>
              </p:spPr>
            </p:pic>
            <p:pic>
              <p:nvPicPr>
                <p:cNvPr id="150" name="Picture 149">
                  <a:extLst>
                    <a:ext uri="{FF2B5EF4-FFF2-40B4-BE49-F238E27FC236}">
                      <a16:creationId xmlns:a16="http://schemas.microsoft.com/office/drawing/2014/main" id="{7A0E74B1-2670-48DE-A889-764A3FD2254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293963" y="1601353"/>
                  <a:ext cx="392643" cy="392643"/>
                </a:xfrm>
                <a:prstGeom prst="rect">
                  <a:avLst/>
                </a:prstGeom>
              </p:spPr>
            </p:pic>
            <p:pic>
              <p:nvPicPr>
                <p:cNvPr id="155" name="Picture 154">
                  <a:extLst>
                    <a:ext uri="{FF2B5EF4-FFF2-40B4-BE49-F238E27FC236}">
                      <a16:creationId xmlns:a16="http://schemas.microsoft.com/office/drawing/2014/main" id="{44BDBB49-D315-4EF8-B4A7-7809E63E10E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493965" y="1607897"/>
                  <a:ext cx="392643" cy="392643"/>
                </a:xfrm>
                <a:prstGeom prst="rect">
                  <a:avLst/>
                </a:prstGeom>
              </p:spPr>
            </p:pic>
            <p:pic>
              <p:nvPicPr>
                <p:cNvPr id="156" name="Picture 155">
                  <a:extLst>
                    <a:ext uri="{FF2B5EF4-FFF2-40B4-BE49-F238E27FC236}">
                      <a16:creationId xmlns:a16="http://schemas.microsoft.com/office/drawing/2014/main" id="{C5F34A05-736C-4277-A23F-42E8F64A6B13}"/>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506631" y="3407560"/>
                  <a:ext cx="392643" cy="392643"/>
                </a:xfrm>
                <a:prstGeom prst="rect">
                  <a:avLst/>
                </a:prstGeom>
              </p:spPr>
            </p:pic>
          </p:grpSp>
          <p:sp>
            <p:nvSpPr>
              <p:cNvPr id="94" name="Oval 54">
                <a:extLst>
                  <a:ext uri="{FF2B5EF4-FFF2-40B4-BE49-F238E27FC236}">
                    <a16:creationId xmlns:a16="http://schemas.microsoft.com/office/drawing/2014/main" id="{97C892AF-ECFC-4100-A9A6-192E347276F1}"/>
                  </a:ext>
                </a:extLst>
              </p:cNvPr>
              <p:cNvSpPr>
                <a:spLocks noChangeAspect="1"/>
              </p:cNvSpPr>
              <p:nvPr/>
            </p:nvSpPr>
            <p:spPr>
              <a:xfrm>
                <a:off x="7664721" y="3529483"/>
                <a:ext cx="1607217" cy="819728"/>
              </a:xfrm>
              <a:prstGeom prst="rect">
                <a:avLst/>
              </a:prstGeom>
              <a:noFill/>
              <a:ln>
                <a:noFill/>
              </a:ln>
            </p:spPr>
            <p:txBody>
              <a:bodyPr rot="0" spcFirstLastPara="0" vertOverflow="overflow" horzOverflow="overflow" vert="horz" wrap="square" lIns="88658" tIns="44329" rIns="88658" bIns="44329" numCol="1" spcCol="0" rtlCol="0" fromWordArt="0" anchor="ctr" anchorCtr="0" forceAA="0" compatLnSpc="1">
                <a:prstTxWarp prst="textNoShape">
                  <a:avLst/>
                </a:prstTxWarp>
                <a:noAutofit/>
              </a:bodyPr>
              <a:lstStyle/>
              <a:p>
                <a:pPr defTabSz="664952" fontAlgn="auto">
                  <a:spcBef>
                    <a:spcPts val="0"/>
                  </a:spcBef>
                  <a:spcAft>
                    <a:spcPts val="0"/>
                  </a:spcAft>
                  <a:defRPr/>
                </a:pPr>
                <a:r>
                  <a:rPr lang="en-US" sz="1309" b="1" dirty="0">
                    <a:solidFill>
                      <a:srgbClr val="FFFFFF"/>
                    </a:solidFill>
                  </a:rPr>
                  <a:t>Implement </a:t>
                </a:r>
                <a:br>
                  <a:rPr lang="en-US" sz="1309" b="1" dirty="0">
                    <a:solidFill>
                      <a:srgbClr val="FFFFFF"/>
                    </a:solidFill>
                  </a:rPr>
                </a:br>
                <a:r>
                  <a:rPr lang="en-US" sz="1309" b="1" dirty="0">
                    <a:solidFill>
                      <a:srgbClr val="FFFFFF"/>
                    </a:solidFill>
                  </a:rPr>
                  <a:t>data driven decision </a:t>
                </a:r>
                <a:br>
                  <a:rPr lang="en-US" sz="1309" b="1" dirty="0">
                    <a:solidFill>
                      <a:srgbClr val="FFFFFF"/>
                    </a:solidFill>
                  </a:rPr>
                </a:br>
                <a:r>
                  <a:rPr lang="en-US" sz="1309" b="1" dirty="0">
                    <a:solidFill>
                      <a:srgbClr val="FFFFFF"/>
                    </a:solidFill>
                  </a:rPr>
                  <a:t>process </a:t>
                </a:r>
              </a:p>
            </p:txBody>
          </p:sp>
          <p:grpSp>
            <p:nvGrpSpPr>
              <p:cNvPr id="98" name="Group 97">
                <a:extLst>
                  <a:ext uri="{FF2B5EF4-FFF2-40B4-BE49-F238E27FC236}">
                    <a16:creationId xmlns:a16="http://schemas.microsoft.com/office/drawing/2014/main" id="{D5C24489-D368-4D21-AA37-296D93498A8F}"/>
                  </a:ext>
                </a:extLst>
              </p:cNvPr>
              <p:cNvGrpSpPr/>
              <p:nvPr/>
            </p:nvGrpSpPr>
            <p:grpSpPr>
              <a:xfrm>
                <a:off x="9913647" y="3251841"/>
                <a:ext cx="1580823" cy="1585296"/>
                <a:chOff x="1544186" y="1606988"/>
                <a:chExt cx="2192642" cy="2198851"/>
              </a:xfrm>
            </p:grpSpPr>
            <p:sp>
              <p:nvSpPr>
                <p:cNvPr id="100" name="Oval 54">
                  <a:extLst>
                    <a:ext uri="{FF2B5EF4-FFF2-40B4-BE49-F238E27FC236}">
                      <a16:creationId xmlns:a16="http://schemas.microsoft.com/office/drawing/2014/main" id="{FB6FF582-4B9A-4CDA-A7C6-200896C42494}"/>
                    </a:ext>
                  </a:extLst>
                </p:cNvPr>
                <p:cNvSpPr>
                  <a:spLocks noChangeAspect="1"/>
                </p:cNvSpPr>
                <p:nvPr/>
              </p:nvSpPr>
              <p:spPr>
                <a:xfrm>
                  <a:off x="1733245" y="1787772"/>
                  <a:ext cx="1800007" cy="1816109"/>
                </a:xfrm>
                <a:prstGeom prst="rect">
                  <a:avLst/>
                </a:prstGeom>
                <a:solidFill>
                  <a:srgbClr val="590EC3">
                    <a:alpha val="14000"/>
                  </a:srgbClr>
                </a:solidFill>
                <a:ln>
                  <a:solidFill>
                    <a:schemeClr val="bg1">
                      <a:alpha val="67000"/>
                    </a:schemeClr>
                  </a:solidFill>
                </a:ln>
              </p:spPr>
              <p:txBody>
                <a:bodyPr rot="0" spcFirstLastPara="0" vertOverflow="overflow" horzOverflow="overflow" vert="horz" wrap="square" lIns="88658" tIns="44329" rIns="88658" bIns="44329" numCol="1" spcCol="0" rtlCol="0" fromWordArt="0" anchor="ctr" anchorCtr="0" forceAA="0" compatLnSpc="1">
                  <a:prstTxWarp prst="textNoShape">
                    <a:avLst/>
                  </a:prstTxWarp>
                  <a:noAutofit/>
                </a:bodyPr>
                <a:lstStyle/>
                <a:p>
                  <a:pPr algn="ctr" defTabSz="664982" fontAlgn="auto">
                    <a:spcBef>
                      <a:spcPts val="0"/>
                    </a:spcBef>
                    <a:spcAft>
                      <a:spcPts val="0"/>
                    </a:spcAft>
                    <a:defRPr/>
                  </a:pPr>
                  <a:endParaRPr lang="en-US" sz="1745">
                    <a:solidFill>
                      <a:srgbClr val="A5A5A5">
                        <a:lumMod val="20000"/>
                        <a:lumOff val="80000"/>
                      </a:srgbClr>
                    </a:solidFill>
                    <a:latin typeface="Trebuchet MS"/>
                    <a:cs typeface="Trebuchet MS"/>
                  </a:endParaRPr>
                </a:p>
              </p:txBody>
            </p:sp>
            <p:pic>
              <p:nvPicPr>
                <p:cNvPr id="101" name="Picture 100">
                  <a:extLst>
                    <a:ext uri="{FF2B5EF4-FFF2-40B4-BE49-F238E27FC236}">
                      <a16:creationId xmlns:a16="http://schemas.microsoft.com/office/drawing/2014/main" id="{5B181FAE-646E-4A45-88B5-EB90483C914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44185" y="3413195"/>
                  <a:ext cx="392643" cy="392643"/>
                </a:xfrm>
                <a:prstGeom prst="rect">
                  <a:avLst/>
                </a:prstGeom>
              </p:spPr>
            </p:pic>
            <p:pic>
              <p:nvPicPr>
                <p:cNvPr id="102" name="Picture 101">
                  <a:extLst>
                    <a:ext uri="{FF2B5EF4-FFF2-40B4-BE49-F238E27FC236}">
                      <a16:creationId xmlns:a16="http://schemas.microsoft.com/office/drawing/2014/main" id="{0DA24BEF-8C7B-4B10-925B-A91FAB9E1AA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44183" y="1606988"/>
                  <a:ext cx="392643" cy="392643"/>
                </a:xfrm>
                <a:prstGeom prst="rect">
                  <a:avLst/>
                </a:prstGeom>
              </p:spPr>
            </p:pic>
            <p:pic>
              <p:nvPicPr>
                <p:cNvPr id="107" name="Picture 106">
                  <a:extLst>
                    <a:ext uri="{FF2B5EF4-FFF2-40B4-BE49-F238E27FC236}">
                      <a16:creationId xmlns:a16="http://schemas.microsoft.com/office/drawing/2014/main" id="{4A8881F0-7F9A-4415-974C-7288C14B8D2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44186" y="1613532"/>
                  <a:ext cx="392644" cy="392643"/>
                </a:xfrm>
                <a:prstGeom prst="rect">
                  <a:avLst/>
                </a:prstGeom>
              </p:spPr>
            </p:pic>
            <p:pic>
              <p:nvPicPr>
                <p:cNvPr id="132" name="Picture 131">
                  <a:extLst>
                    <a:ext uri="{FF2B5EF4-FFF2-40B4-BE49-F238E27FC236}">
                      <a16:creationId xmlns:a16="http://schemas.microsoft.com/office/drawing/2014/main" id="{81874463-B469-4EC4-A6C7-DC19CFBA5B9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556852" y="3413196"/>
                  <a:ext cx="392644" cy="392643"/>
                </a:xfrm>
                <a:prstGeom prst="rect">
                  <a:avLst/>
                </a:prstGeom>
              </p:spPr>
            </p:pic>
          </p:grpSp>
          <p:sp>
            <p:nvSpPr>
              <p:cNvPr id="99" name="Oval 54">
                <a:extLst>
                  <a:ext uri="{FF2B5EF4-FFF2-40B4-BE49-F238E27FC236}">
                    <a16:creationId xmlns:a16="http://schemas.microsoft.com/office/drawing/2014/main" id="{39F9947E-4DE8-4D77-A81F-7B9240C7CB4A}"/>
                  </a:ext>
                </a:extLst>
              </p:cNvPr>
              <p:cNvSpPr>
                <a:spLocks noChangeAspect="1"/>
              </p:cNvSpPr>
              <p:nvPr/>
            </p:nvSpPr>
            <p:spPr>
              <a:xfrm>
                <a:off x="10049950" y="4059861"/>
                <a:ext cx="1423891" cy="412097"/>
              </a:xfrm>
              <a:prstGeom prst="rect">
                <a:avLst/>
              </a:prstGeom>
              <a:noFill/>
              <a:ln>
                <a:noFill/>
              </a:ln>
            </p:spPr>
            <p:txBody>
              <a:bodyPr rot="0" spcFirstLastPara="0" vertOverflow="overflow" horzOverflow="overflow" vert="horz" wrap="square" lIns="88658" tIns="44329" rIns="88658" bIns="44329" numCol="1" spcCol="0" rtlCol="0" fromWordArt="0" anchor="ctr" anchorCtr="0" forceAA="0" compatLnSpc="1">
                <a:prstTxWarp prst="textNoShape">
                  <a:avLst/>
                </a:prstTxWarp>
                <a:noAutofit/>
              </a:bodyPr>
              <a:lstStyle/>
              <a:p>
                <a:pPr defTabSz="664952" fontAlgn="auto">
                  <a:spcBef>
                    <a:spcPts val="0"/>
                  </a:spcBef>
                  <a:spcAft>
                    <a:spcPts val="0"/>
                  </a:spcAft>
                  <a:defRPr/>
                </a:pPr>
                <a:r>
                  <a:rPr lang="en-US" sz="1309" b="1" dirty="0">
                    <a:solidFill>
                      <a:srgbClr val="FFFFFF"/>
                    </a:solidFill>
                  </a:rPr>
                  <a:t>Business </a:t>
                </a:r>
              </a:p>
              <a:p>
                <a:pPr defTabSz="664952" fontAlgn="auto">
                  <a:spcBef>
                    <a:spcPts val="0"/>
                  </a:spcBef>
                  <a:spcAft>
                    <a:spcPts val="0"/>
                  </a:spcAft>
                  <a:defRPr/>
                </a:pPr>
                <a:r>
                  <a:rPr lang="en-US" sz="1309" b="1" dirty="0">
                    <a:solidFill>
                      <a:srgbClr val="FFFFFF"/>
                    </a:solidFill>
                  </a:rPr>
                  <a:t>Model </a:t>
                </a:r>
              </a:p>
              <a:p>
                <a:pPr defTabSz="664952" fontAlgn="auto">
                  <a:spcBef>
                    <a:spcPts val="0"/>
                  </a:spcBef>
                  <a:spcAft>
                    <a:spcPts val="0"/>
                  </a:spcAft>
                  <a:defRPr/>
                </a:pPr>
                <a:r>
                  <a:rPr lang="en-US" sz="1309" b="1" dirty="0">
                    <a:solidFill>
                      <a:srgbClr val="FFFFFF"/>
                    </a:solidFill>
                  </a:rPr>
                  <a:t>innovation</a:t>
                </a:r>
              </a:p>
              <a:p>
                <a:pPr algn="ctr" defTabSz="664952" fontAlgn="auto">
                  <a:spcBef>
                    <a:spcPts val="0"/>
                  </a:spcBef>
                  <a:spcAft>
                    <a:spcPts val="0"/>
                  </a:spcAft>
                  <a:defRPr/>
                </a:pPr>
                <a:endParaRPr lang="en-US" sz="873" b="1" dirty="0">
                  <a:solidFill>
                    <a:srgbClr val="FFFFFF"/>
                  </a:solidFill>
                </a:endParaRPr>
              </a:p>
            </p:txBody>
          </p:sp>
        </p:grpSp>
        <p:sp>
          <p:nvSpPr>
            <p:cNvPr id="82" name="TextBox 81">
              <a:extLst>
                <a:ext uri="{FF2B5EF4-FFF2-40B4-BE49-F238E27FC236}">
                  <a16:creationId xmlns:a16="http://schemas.microsoft.com/office/drawing/2014/main" id="{3D486691-839D-472F-AD96-64D367BE3B33}"/>
                </a:ext>
              </a:extLst>
            </p:cNvPr>
            <p:cNvSpPr txBox="1"/>
            <p:nvPr/>
          </p:nvSpPr>
          <p:spPr>
            <a:xfrm>
              <a:off x="997191" y="2976770"/>
              <a:ext cx="481718" cy="338597"/>
            </a:xfrm>
            <a:prstGeom prst="rect">
              <a:avLst/>
            </a:prstGeom>
            <a:noFill/>
          </p:spPr>
          <p:txBody>
            <a:bodyPr wrap="square" rtlCol="0">
              <a:spAutoFit/>
            </a:bodyPr>
            <a:lstStyle/>
            <a:p>
              <a:pPr defTabSz="955888" fontAlgn="auto">
                <a:lnSpc>
                  <a:spcPts val="1164"/>
                </a:lnSpc>
                <a:spcBef>
                  <a:spcPts val="582"/>
                </a:spcBef>
                <a:spcAft>
                  <a:spcPts val="0"/>
                </a:spcAft>
                <a:buSzPct val="120000"/>
                <a:defRPr sz="1800"/>
              </a:pPr>
              <a:r>
                <a:rPr lang="en-GB" sz="1358">
                  <a:solidFill>
                    <a:prstClr val="white"/>
                  </a:solidFill>
                </a:rPr>
                <a:t>1</a:t>
              </a:r>
            </a:p>
          </p:txBody>
        </p:sp>
        <p:sp>
          <p:nvSpPr>
            <p:cNvPr id="83" name="TextBox 82">
              <a:extLst>
                <a:ext uri="{FF2B5EF4-FFF2-40B4-BE49-F238E27FC236}">
                  <a16:creationId xmlns:a16="http://schemas.microsoft.com/office/drawing/2014/main" id="{4AE420D3-0768-4764-BD30-0A5BE7A437DA}"/>
                </a:ext>
              </a:extLst>
            </p:cNvPr>
            <p:cNvSpPr txBox="1"/>
            <p:nvPr/>
          </p:nvSpPr>
          <p:spPr>
            <a:xfrm>
              <a:off x="4613235" y="3205690"/>
              <a:ext cx="481718" cy="338597"/>
            </a:xfrm>
            <a:prstGeom prst="rect">
              <a:avLst/>
            </a:prstGeom>
            <a:noFill/>
          </p:spPr>
          <p:txBody>
            <a:bodyPr wrap="square" rtlCol="0">
              <a:spAutoFit/>
            </a:bodyPr>
            <a:lstStyle/>
            <a:p>
              <a:pPr defTabSz="955888" fontAlgn="auto">
                <a:lnSpc>
                  <a:spcPts val="1164"/>
                </a:lnSpc>
                <a:spcBef>
                  <a:spcPts val="582"/>
                </a:spcBef>
                <a:spcAft>
                  <a:spcPts val="0"/>
                </a:spcAft>
                <a:buSzPct val="120000"/>
                <a:defRPr sz="1800"/>
              </a:pPr>
              <a:r>
                <a:rPr lang="en-GB" sz="1358">
                  <a:solidFill>
                    <a:prstClr val="white"/>
                  </a:solidFill>
                </a:rPr>
                <a:t>2</a:t>
              </a:r>
            </a:p>
          </p:txBody>
        </p:sp>
        <p:sp>
          <p:nvSpPr>
            <p:cNvPr id="84" name="TextBox 83">
              <a:extLst>
                <a:ext uri="{FF2B5EF4-FFF2-40B4-BE49-F238E27FC236}">
                  <a16:creationId xmlns:a16="http://schemas.microsoft.com/office/drawing/2014/main" id="{862B4E05-0D7A-453B-B26A-A7FE1E42026E}"/>
                </a:ext>
              </a:extLst>
            </p:cNvPr>
            <p:cNvSpPr txBox="1"/>
            <p:nvPr/>
          </p:nvSpPr>
          <p:spPr>
            <a:xfrm>
              <a:off x="7697088" y="2911164"/>
              <a:ext cx="481718" cy="338597"/>
            </a:xfrm>
            <a:prstGeom prst="rect">
              <a:avLst/>
            </a:prstGeom>
            <a:noFill/>
          </p:spPr>
          <p:txBody>
            <a:bodyPr wrap="square" rtlCol="0">
              <a:spAutoFit/>
            </a:bodyPr>
            <a:lstStyle/>
            <a:p>
              <a:pPr defTabSz="955888" fontAlgn="auto">
                <a:lnSpc>
                  <a:spcPts val="1164"/>
                </a:lnSpc>
                <a:spcBef>
                  <a:spcPts val="582"/>
                </a:spcBef>
                <a:spcAft>
                  <a:spcPts val="0"/>
                </a:spcAft>
                <a:buSzPct val="120000"/>
                <a:defRPr sz="1800"/>
              </a:pPr>
              <a:r>
                <a:rPr lang="en-GB" sz="1358" dirty="0">
                  <a:solidFill>
                    <a:prstClr val="white"/>
                  </a:solidFill>
                </a:rPr>
                <a:t>3</a:t>
              </a:r>
            </a:p>
          </p:txBody>
        </p:sp>
        <p:sp>
          <p:nvSpPr>
            <p:cNvPr id="85" name="TextBox 84">
              <a:extLst>
                <a:ext uri="{FF2B5EF4-FFF2-40B4-BE49-F238E27FC236}">
                  <a16:creationId xmlns:a16="http://schemas.microsoft.com/office/drawing/2014/main" id="{A948F986-373A-4000-9615-4D7FD5BF5D42}"/>
                </a:ext>
              </a:extLst>
            </p:cNvPr>
            <p:cNvSpPr txBox="1"/>
            <p:nvPr/>
          </p:nvSpPr>
          <p:spPr>
            <a:xfrm>
              <a:off x="10101141" y="3200154"/>
              <a:ext cx="481718" cy="338597"/>
            </a:xfrm>
            <a:prstGeom prst="rect">
              <a:avLst/>
            </a:prstGeom>
            <a:noFill/>
          </p:spPr>
          <p:txBody>
            <a:bodyPr wrap="square" rtlCol="0">
              <a:spAutoFit/>
            </a:bodyPr>
            <a:lstStyle/>
            <a:p>
              <a:pPr defTabSz="955888" fontAlgn="auto">
                <a:lnSpc>
                  <a:spcPts val="1164"/>
                </a:lnSpc>
                <a:spcBef>
                  <a:spcPts val="582"/>
                </a:spcBef>
                <a:spcAft>
                  <a:spcPts val="0"/>
                </a:spcAft>
                <a:buSzPct val="120000"/>
                <a:defRPr sz="1800"/>
              </a:pPr>
              <a:r>
                <a:rPr lang="en-GB" sz="1358">
                  <a:solidFill>
                    <a:prstClr val="white"/>
                  </a:solidFill>
                </a:rPr>
                <a:t>4</a:t>
              </a:r>
            </a:p>
          </p:txBody>
        </p:sp>
      </p:grpSp>
      <p:grpSp>
        <p:nvGrpSpPr>
          <p:cNvPr id="61" name="Group 94">
            <a:extLst/>
          </p:cNvPr>
          <p:cNvGrpSpPr/>
          <p:nvPr/>
        </p:nvGrpSpPr>
        <p:grpSpPr>
          <a:xfrm>
            <a:off x="1223811" y="845795"/>
            <a:ext cx="6358263" cy="1219199"/>
            <a:chOff x="362185" y="4932066"/>
            <a:chExt cx="8743715" cy="1676607"/>
          </a:xfrm>
        </p:grpSpPr>
        <p:sp>
          <p:nvSpPr>
            <p:cNvPr id="95" name="TextBox 95">
              <a:extLst/>
            </p:cNvPr>
            <p:cNvSpPr txBox="1"/>
            <p:nvPr/>
          </p:nvSpPr>
          <p:spPr>
            <a:xfrm>
              <a:off x="362185" y="4932066"/>
              <a:ext cx="3588607" cy="311703"/>
            </a:xfrm>
            <a:prstGeom prst="rect">
              <a:avLst/>
            </a:prstGeom>
            <a:noFill/>
          </p:spPr>
          <p:txBody>
            <a:bodyPr wrap="square" rtlCol="0">
              <a:spAutoFit/>
            </a:bodyPr>
            <a:lstStyle/>
            <a:p>
              <a:pPr defTabSz="664982" fontAlgn="auto">
                <a:spcBef>
                  <a:spcPts val="0"/>
                </a:spcBef>
                <a:spcAft>
                  <a:spcPts val="0"/>
                </a:spcAft>
                <a:defRPr/>
              </a:pPr>
              <a:r>
                <a:rPr lang="en-US" sz="873" b="1">
                  <a:solidFill>
                    <a:prstClr val="white"/>
                  </a:solidFill>
                </a:rPr>
                <a:t>Key challenges:</a:t>
              </a:r>
            </a:p>
          </p:txBody>
        </p:sp>
        <p:sp>
          <p:nvSpPr>
            <p:cNvPr id="96" name="TextBox 96">
              <a:extLst/>
            </p:cNvPr>
            <p:cNvSpPr txBox="1"/>
            <p:nvPr/>
          </p:nvSpPr>
          <p:spPr>
            <a:xfrm>
              <a:off x="458191" y="5226424"/>
              <a:ext cx="3954430" cy="1382249"/>
            </a:xfrm>
            <a:prstGeom prst="rect">
              <a:avLst/>
            </a:prstGeom>
            <a:noFill/>
          </p:spPr>
          <p:txBody>
            <a:bodyPr wrap="square" rtlCol="0">
              <a:spAutoFit/>
            </a:bodyPr>
            <a:lstStyle/>
            <a:p>
              <a:pPr marL="249369" indent="-249369" defTabSz="955888" fontAlgn="auto">
                <a:spcBef>
                  <a:spcPts val="582"/>
                </a:spcBef>
                <a:spcAft>
                  <a:spcPts val="0"/>
                </a:spcAft>
                <a:buSzPct val="120000"/>
                <a:buBlip>
                  <a:blip r:embed="rId8"/>
                </a:buBlip>
                <a:defRPr sz="1800"/>
              </a:pPr>
              <a:r>
                <a:rPr lang="en-GB" sz="1358" dirty="0">
                  <a:solidFill>
                    <a:prstClr val="white"/>
                  </a:solidFill>
                </a:rPr>
                <a:t>Impact of classroom digitization </a:t>
              </a:r>
            </a:p>
            <a:p>
              <a:pPr marL="249369" indent="-249369" defTabSz="955888" fontAlgn="auto">
                <a:spcBef>
                  <a:spcPts val="582"/>
                </a:spcBef>
                <a:spcAft>
                  <a:spcPts val="0"/>
                </a:spcAft>
                <a:buSzPct val="120000"/>
                <a:buBlip>
                  <a:blip r:embed="rId8"/>
                </a:buBlip>
                <a:defRPr sz="1800"/>
              </a:pPr>
              <a:r>
                <a:rPr lang="en-GB" sz="1358" dirty="0">
                  <a:solidFill>
                    <a:prstClr val="white"/>
                  </a:solidFill>
                </a:rPr>
                <a:t>Secure students, staff, premises </a:t>
              </a:r>
            </a:p>
          </p:txBody>
        </p:sp>
        <p:sp>
          <p:nvSpPr>
            <p:cNvPr id="97" name="TextBox 37">
              <a:extLst/>
            </p:cNvPr>
            <p:cNvSpPr txBox="1"/>
            <p:nvPr/>
          </p:nvSpPr>
          <p:spPr>
            <a:xfrm>
              <a:off x="5293501" y="5217546"/>
              <a:ext cx="3812399" cy="701706"/>
            </a:xfrm>
            <a:prstGeom prst="rect">
              <a:avLst/>
            </a:prstGeom>
            <a:noFill/>
          </p:spPr>
          <p:txBody>
            <a:bodyPr wrap="square" rtlCol="0">
              <a:spAutoFit/>
            </a:bodyPr>
            <a:lstStyle/>
            <a:p>
              <a:pPr marL="175477" lvl="2" indent="-175477" defTabSz="955888" fontAlgn="auto">
                <a:spcBef>
                  <a:spcPts val="582"/>
                </a:spcBef>
                <a:spcAft>
                  <a:spcPts val="0"/>
                </a:spcAft>
                <a:buSzPct val="120000"/>
                <a:buBlip>
                  <a:blip r:embed="rId9"/>
                </a:buBlip>
                <a:defRPr sz="1800"/>
              </a:pPr>
              <a:r>
                <a:rPr lang="en-GB" sz="1358">
                  <a:solidFill>
                    <a:prstClr val="white"/>
                  </a:solidFill>
                </a:rPr>
                <a:t>Simplify the learning experience</a:t>
              </a:r>
            </a:p>
          </p:txBody>
        </p:sp>
        <p:sp>
          <p:nvSpPr>
            <p:cNvPr id="103" name="TextBox 26">
              <a:extLst/>
            </p:cNvPr>
            <p:cNvSpPr txBox="1"/>
            <p:nvPr/>
          </p:nvSpPr>
          <p:spPr>
            <a:xfrm>
              <a:off x="5177343" y="4943084"/>
              <a:ext cx="3588607" cy="311703"/>
            </a:xfrm>
            <a:prstGeom prst="rect">
              <a:avLst/>
            </a:prstGeom>
            <a:noFill/>
          </p:spPr>
          <p:txBody>
            <a:bodyPr wrap="square" rtlCol="0">
              <a:spAutoFit/>
            </a:bodyPr>
            <a:lstStyle/>
            <a:p>
              <a:pPr defTabSz="664982" fontAlgn="auto">
                <a:spcBef>
                  <a:spcPts val="0"/>
                </a:spcBef>
                <a:spcAft>
                  <a:spcPts val="0"/>
                </a:spcAft>
                <a:defRPr/>
              </a:pPr>
              <a:r>
                <a:rPr lang="en-US" sz="873" b="1">
                  <a:solidFill>
                    <a:prstClr val="white"/>
                  </a:solidFill>
                </a:rPr>
                <a:t>ALE Value Proposition:</a:t>
              </a:r>
            </a:p>
          </p:txBody>
        </p:sp>
      </p:grpSp>
    </p:spTree>
    <p:extLst>
      <p:ext uri="{BB962C8B-B14F-4D97-AF65-F5344CB8AC3E}">
        <p14:creationId xmlns:p14="http://schemas.microsoft.com/office/powerpoint/2010/main" val="77570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20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ítulo 4">
            <a:extLst>
              <a:ext uri="{FF2B5EF4-FFF2-40B4-BE49-F238E27FC236}">
                <a16:creationId xmlns:a16="http://schemas.microsoft.com/office/drawing/2014/main" id="{6EDE89E7-BA55-47B5-9642-A9AB400890AE}"/>
              </a:ext>
            </a:extLst>
          </p:cNvPr>
          <p:cNvSpPr>
            <a:spLocks noGrp="1"/>
          </p:cNvSpPr>
          <p:nvPr>
            <p:ph type="title"/>
          </p:nvPr>
        </p:nvSpPr>
        <p:spPr/>
        <p:txBody>
          <a:bodyPr/>
          <a:lstStyle/>
          <a:p>
            <a:r>
              <a:rPr lang="es-CO" dirty="0"/>
              <a:t>Demostración</a:t>
            </a:r>
          </a:p>
        </p:txBody>
      </p:sp>
      <p:sp>
        <p:nvSpPr>
          <p:cNvPr id="7" name="TextBox 7">
            <a:extLst>
              <a:ext uri="{FF2B5EF4-FFF2-40B4-BE49-F238E27FC236}">
                <a16:creationId xmlns:a16="http://schemas.microsoft.com/office/drawing/2014/main" id="{C9239811-003D-40C8-AE00-8AD6F1EA1521}"/>
              </a:ext>
            </a:extLst>
          </p:cNvPr>
          <p:cNvSpPr txBox="1"/>
          <p:nvPr/>
        </p:nvSpPr>
        <p:spPr>
          <a:xfrm>
            <a:off x="484118" y="1000125"/>
            <a:ext cx="4858406" cy="338554"/>
          </a:xfrm>
          <a:prstGeom prst="rect">
            <a:avLst/>
          </a:prstGeom>
          <a:noFill/>
        </p:spPr>
        <p:txBody>
          <a:bodyPr wrap="square" rtlCol="0">
            <a:spAutoFit/>
          </a:bodyPr>
          <a:lstStyle>
            <a:defPPr>
              <a:defRPr lang="en-US"/>
            </a:defPPr>
            <a:lvl1pPr algn="l" rtl="0" fontAlgn="base">
              <a:spcBef>
                <a:spcPct val="50000"/>
              </a:spcBef>
              <a:spcAft>
                <a:spcPct val="0"/>
              </a:spcAft>
              <a:defRPr kern="1200">
                <a:solidFill>
                  <a:schemeClr val="tx1"/>
                </a:solidFill>
                <a:latin typeface="Tahoma" pitchFamily="34" charset="0"/>
                <a:ea typeface="+mn-ea"/>
                <a:cs typeface="+mn-cs"/>
              </a:defRPr>
            </a:lvl1pPr>
            <a:lvl2pPr marL="348389" algn="l" rtl="0" fontAlgn="base">
              <a:spcBef>
                <a:spcPct val="50000"/>
              </a:spcBef>
              <a:spcAft>
                <a:spcPct val="0"/>
              </a:spcAft>
              <a:defRPr kern="1200">
                <a:solidFill>
                  <a:schemeClr val="tx1"/>
                </a:solidFill>
                <a:latin typeface="Tahoma" pitchFamily="34" charset="0"/>
                <a:ea typeface="+mn-ea"/>
                <a:cs typeface="+mn-cs"/>
              </a:defRPr>
            </a:lvl2pPr>
            <a:lvl3pPr marL="696777" algn="l" rtl="0" fontAlgn="base">
              <a:spcBef>
                <a:spcPct val="50000"/>
              </a:spcBef>
              <a:spcAft>
                <a:spcPct val="0"/>
              </a:spcAft>
              <a:defRPr kern="1200">
                <a:solidFill>
                  <a:schemeClr val="tx1"/>
                </a:solidFill>
                <a:latin typeface="Tahoma" pitchFamily="34" charset="0"/>
                <a:ea typeface="+mn-ea"/>
                <a:cs typeface="+mn-cs"/>
              </a:defRPr>
            </a:lvl3pPr>
            <a:lvl4pPr marL="1045165" algn="l" rtl="0" fontAlgn="base">
              <a:spcBef>
                <a:spcPct val="50000"/>
              </a:spcBef>
              <a:spcAft>
                <a:spcPct val="0"/>
              </a:spcAft>
              <a:defRPr kern="1200">
                <a:solidFill>
                  <a:schemeClr val="tx1"/>
                </a:solidFill>
                <a:latin typeface="Tahoma" pitchFamily="34" charset="0"/>
                <a:ea typeface="+mn-ea"/>
                <a:cs typeface="+mn-cs"/>
              </a:defRPr>
            </a:lvl4pPr>
            <a:lvl5pPr marL="1393554" algn="l" rtl="0" fontAlgn="base">
              <a:spcBef>
                <a:spcPct val="50000"/>
              </a:spcBef>
              <a:spcAft>
                <a:spcPct val="0"/>
              </a:spcAft>
              <a:defRPr kern="1200">
                <a:solidFill>
                  <a:schemeClr val="tx1"/>
                </a:solidFill>
                <a:latin typeface="Tahoma" pitchFamily="34" charset="0"/>
                <a:ea typeface="+mn-ea"/>
                <a:cs typeface="+mn-cs"/>
              </a:defRPr>
            </a:lvl5pPr>
            <a:lvl6pPr marL="1741943" algn="l" defTabSz="696777" rtl="0" eaLnBrk="1" latinLnBrk="0" hangingPunct="1">
              <a:defRPr kern="1200">
                <a:solidFill>
                  <a:schemeClr val="tx1"/>
                </a:solidFill>
                <a:latin typeface="Tahoma" pitchFamily="34" charset="0"/>
                <a:ea typeface="+mn-ea"/>
                <a:cs typeface="+mn-cs"/>
              </a:defRPr>
            </a:lvl6pPr>
            <a:lvl7pPr marL="2090332" algn="l" defTabSz="696777" rtl="0" eaLnBrk="1" latinLnBrk="0" hangingPunct="1">
              <a:defRPr kern="1200">
                <a:solidFill>
                  <a:schemeClr val="tx1"/>
                </a:solidFill>
                <a:latin typeface="Tahoma" pitchFamily="34" charset="0"/>
                <a:ea typeface="+mn-ea"/>
                <a:cs typeface="+mn-cs"/>
              </a:defRPr>
            </a:lvl7pPr>
            <a:lvl8pPr marL="2438721" algn="l" defTabSz="696777" rtl="0" eaLnBrk="1" latinLnBrk="0" hangingPunct="1">
              <a:defRPr kern="1200">
                <a:solidFill>
                  <a:schemeClr val="tx1"/>
                </a:solidFill>
                <a:latin typeface="Tahoma" pitchFamily="34" charset="0"/>
                <a:ea typeface="+mn-ea"/>
                <a:cs typeface="+mn-cs"/>
              </a:defRPr>
            </a:lvl8pPr>
            <a:lvl9pPr marL="2787109" algn="l" defTabSz="696777" rtl="0" eaLnBrk="1" latinLnBrk="0" hangingPunct="1">
              <a:defRPr kern="1200">
                <a:solidFill>
                  <a:schemeClr val="tx1"/>
                </a:solidFill>
                <a:latin typeface="Tahoma" pitchFamily="34" charset="0"/>
                <a:ea typeface="+mn-ea"/>
                <a:cs typeface="+mn-cs"/>
              </a:defRPr>
            </a:lvl9pPr>
          </a:lstStyle>
          <a:p>
            <a:pPr algn="ctr"/>
            <a:r>
              <a:rPr lang="en-US" sz="1600" b="1" dirty="0">
                <a:solidFill>
                  <a:srgbClr val="FF0000"/>
                </a:solidFill>
                <a:latin typeface="+mn-lt"/>
                <a:cs typeface="Segoe UI" panose="020B0502040204020203" pitchFamily="34" charset="0"/>
              </a:rPr>
              <a:t>URL: </a:t>
            </a:r>
            <a:r>
              <a:rPr lang="en-US" sz="1600" b="1" u="sng" dirty="0">
                <a:solidFill>
                  <a:srgbClr val="FF0000"/>
                </a:solidFill>
                <a:latin typeface="+mn-lt"/>
                <a:hlinkClick r:id="rId2"/>
              </a:rPr>
              <a:t>https://vrs-automation.ale-custo.com/vrs/</a:t>
            </a:r>
            <a:endParaRPr lang="en-US" sz="1600" b="1" dirty="0">
              <a:solidFill>
                <a:srgbClr val="FF0000"/>
              </a:solidFill>
              <a:latin typeface="+mn-lt"/>
              <a:cs typeface="Segoe UI" panose="020B0502040204020203" pitchFamily="34" charset="0"/>
            </a:endParaRPr>
          </a:p>
        </p:txBody>
      </p:sp>
    </p:spTree>
    <p:extLst>
      <p:ext uri="{BB962C8B-B14F-4D97-AF65-F5344CB8AC3E}">
        <p14:creationId xmlns:p14="http://schemas.microsoft.com/office/powerpoint/2010/main" val="18589837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54">
            <a:hlinkClick r:id="rId3"/>
          </p:cNvPr>
          <p:cNvSpPr>
            <a:spLocks noChangeArrowheads="1"/>
          </p:cNvSpPr>
          <p:nvPr/>
        </p:nvSpPr>
        <p:spPr bwMode="auto">
          <a:xfrm>
            <a:off x="2178744" y="2281785"/>
            <a:ext cx="3546264" cy="276999"/>
          </a:xfrm>
          <a:prstGeom prst="rect">
            <a:avLst/>
          </a:prstGeom>
          <a:noFill/>
          <a:ln w="9525">
            <a:noFill/>
            <a:miter lim="800000"/>
            <a:headEnd/>
            <a:tailEnd/>
          </a:ln>
        </p:spPr>
        <p:txBody>
          <a:bodyPr wrap="square">
            <a:spAutoFit/>
          </a:bodyPr>
          <a:lstStyle/>
          <a:p>
            <a:pPr>
              <a:spcBef>
                <a:spcPct val="50000"/>
              </a:spcBef>
            </a:pPr>
            <a:r>
              <a:rPr lang="en-US" sz="1200" dirty="0">
                <a:latin typeface="Trebuchet MS" charset="0"/>
                <a:cs typeface="Trebuchet MS" charset="0"/>
              </a:rPr>
              <a:t>linkedin.com/company/</a:t>
            </a:r>
            <a:r>
              <a:rPr lang="en-US" sz="1200" dirty="0" err="1">
                <a:latin typeface="Trebuchet MS" charset="0"/>
                <a:cs typeface="Trebuchet MS" charset="0"/>
              </a:rPr>
              <a:t>alcatellucententerprise</a:t>
            </a:r>
            <a:r>
              <a:rPr lang="en-US" sz="1200" dirty="0">
                <a:latin typeface="Trebuchet MS" charset="0"/>
                <a:cs typeface="Trebuchet MS" charset="0"/>
              </a:rPr>
              <a:t> </a:t>
            </a:r>
          </a:p>
        </p:txBody>
      </p:sp>
      <p:sp>
        <p:nvSpPr>
          <p:cNvPr id="21507" name="TextBox 6">
            <a:hlinkClick r:id="rId4"/>
          </p:cNvPr>
          <p:cNvSpPr txBox="1">
            <a:spLocks noChangeArrowheads="1"/>
          </p:cNvSpPr>
          <p:nvPr/>
        </p:nvSpPr>
        <p:spPr bwMode="auto">
          <a:xfrm>
            <a:off x="2137753" y="2773514"/>
            <a:ext cx="3587256" cy="276999"/>
          </a:xfrm>
          <a:prstGeom prst="rect">
            <a:avLst/>
          </a:prstGeom>
          <a:noFill/>
          <a:ln w="9525">
            <a:noFill/>
            <a:miter lim="800000"/>
            <a:headEnd/>
            <a:tailEnd/>
          </a:ln>
        </p:spPr>
        <p:txBody>
          <a:bodyPr wrap="square">
            <a:spAutoFit/>
          </a:bodyPr>
          <a:lstStyle/>
          <a:p>
            <a:pPr>
              <a:spcBef>
                <a:spcPct val="50000"/>
              </a:spcBef>
            </a:pPr>
            <a:r>
              <a:rPr lang="en-US" sz="1200" dirty="0">
                <a:latin typeface="Trebuchet MS" charset="0"/>
              </a:rPr>
              <a:t>twitter.com/</a:t>
            </a:r>
            <a:r>
              <a:rPr lang="en-US" sz="1200" dirty="0" err="1">
                <a:latin typeface="Trebuchet MS" charset="0"/>
              </a:rPr>
              <a:t>ALUEnterprise</a:t>
            </a:r>
            <a:r>
              <a:rPr lang="en-US" sz="1200" dirty="0">
                <a:latin typeface="Trebuchet MS" charset="0"/>
              </a:rPr>
              <a:t> </a:t>
            </a:r>
          </a:p>
        </p:txBody>
      </p:sp>
      <p:sp>
        <p:nvSpPr>
          <p:cNvPr id="21508" name="TextBox 5">
            <a:hlinkClick r:id="rId5"/>
          </p:cNvPr>
          <p:cNvSpPr txBox="1">
            <a:spLocks noChangeArrowheads="1"/>
          </p:cNvSpPr>
          <p:nvPr/>
        </p:nvSpPr>
        <p:spPr bwMode="auto">
          <a:xfrm>
            <a:off x="2178743" y="1837571"/>
            <a:ext cx="3546265" cy="276999"/>
          </a:xfrm>
          <a:prstGeom prst="rect">
            <a:avLst/>
          </a:prstGeom>
          <a:noFill/>
          <a:ln w="9525">
            <a:noFill/>
            <a:miter lim="800000"/>
            <a:headEnd/>
            <a:tailEnd/>
          </a:ln>
        </p:spPr>
        <p:txBody>
          <a:bodyPr wrap="square">
            <a:spAutoFit/>
          </a:bodyPr>
          <a:lstStyle/>
          <a:p>
            <a:pPr>
              <a:spcBef>
                <a:spcPct val="50000"/>
              </a:spcBef>
            </a:pPr>
            <a:r>
              <a:rPr lang="en-US" sz="1200" dirty="0">
                <a:latin typeface="Trebuchet MS" charset="0"/>
              </a:rPr>
              <a:t>facebook.com/</a:t>
            </a:r>
            <a:r>
              <a:rPr lang="en-US" sz="1200" dirty="0" err="1">
                <a:latin typeface="Trebuchet MS" charset="0"/>
              </a:rPr>
              <a:t>ALUEnterprise</a:t>
            </a:r>
            <a:endParaRPr lang="en-US" sz="1200" dirty="0">
              <a:latin typeface="Trebuchet MS" charset="0"/>
            </a:endParaRPr>
          </a:p>
        </p:txBody>
      </p:sp>
      <p:sp>
        <p:nvSpPr>
          <p:cNvPr id="21509" name="TextBox 10">
            <a:hlinkClick r:id="rId6"/>
          </p:cNvPr>
          <p:cNvSpPr txBox="1">
            <a:spLocks noChangeArrowheads="1"/>
          </p:cNvSpPr>
          <p:nvPr/>
        </p:nvSpPr>
        <p:spPr bwMode="auto">
          <a:xfrm>
            <a:off x="2137753" y="3200887"/>
            <a:ext cx="3587255" cy="276999"/>
          </a:xfrm>
          <a:prstGeom prst="rect">
            <a:avLst/>
          </a:prstGeom>
          <a:noFill/>
          <a:ln w="9525">
            <a:noFill/>
            <a:miter lim="800000"/>
            <a:headEnd/>
            <a:tailEnd/>
          </a:ln>
        </p:spPr>
        <p:txBody>
          <a:bodyPr wrap="square">
            <a:spAutoFit/>
          </a:bodyPr>
          <a:lstStyle/>
          <a:p>
            <a:pPr>
              <a:spcBef>
                <a:spcPct val="50000"/>
              </a:spcBef>
            </a:pPr>
            <a:r>
              <a:rPr lang="en-US" sz="1200" dirty="0">
                <a:latin typeface="Trebuchet MS" charset="0"/>
              </a:rPr>
              <a:t>youtube.com/user/</a:t>
            </a:r>
            <a:r>
              <a:rPr lang="en-US" sz="1200" dirty="0" err="1">
                <a:latin typeface="Trebuchet MS" charset="0"/>
              </a:rPr>
              <a:t>enterpriseALU</a:t>
            </a:r>
            <a:endParaRPr lang="en-US" sz="1200" dirty="0">
              <a:latin typeface="Trebuchet MS" charset="0"/>
            </a:endParaRPr>
          </a:p>
        </p:txBody>
      </p:sp>
      <p:sp>
        <p:nvSpPr>
          <p:cNvPr id="10" name="Rectangle 9"/>
          <p:cNvSpPr/>
          <p:nvPr/>
        </p:nvSpPr>
        <p:spPr>
          <a:xfrm>
            <a:off x="2178743" y="1404684"/>
            <a:ext cx="3628643" cy="276999"/>
          </a:xfrm>
          <a:prstGeom prst="rect">
            <a:avLst/>
          </a:prstGeom>
          <a:noFill/>
          <a:ln w="9525">
            <a:noFill/>
            <a:miter lim="800000"/>
            <a:headEnd/>
            <a:tailEnd/>
          </a:ln>
        </p:spPr>
        <p:txBody>
          <a:bodyPr wrap="square">
            <a:spAutoFit/>
          </a:bodyPr>
          <a:lstStyle/>
          <a:p>
            <a:r>
              <a:rPr lang="en-US" sz="1200" dirty="0">
                <a:latin typeface="Trebuchet MS" charset="0"/>
              </a:rPr>
              <a:t>www.al-enterprise.com</a:t>
            </a:r>
          </a:p>
        </p:txBody>
      </p:sp>
      <p:grpSp>
        <p:nvGrpSpPr>
          <p:cNvPr id="2" name="Group 11"/>
          <p:cNvGrpSpPr>
            <a:grpSpLocks noChangeAspect="1"/>
          </p:cNvGrpSpPr>
          <p:nvPr/>
        </p:nvGrpSpPr>
        <p:grpSpPr>
          <a:xfrm>
            <a:off x="1744235" y="1357683"/>
            <a:ext cx="324000" cy="324000"/>
            <a:chOff x="889000" y="1101058"/>
            <a:chExt cx="332708" cy="332708"/>
          </a:xfrm>
        </p:grpSpPr>
        <p:sp>
          <p:nvSpPr>
            <p:cNvPr id="13" name="Freeform 6"/>
            <p:cNvSpPr>
              <a:spLocks/>
            </p:cNvSpPr>
            <p:nvPr/>
          </p:nvSpPr>
          <p:spPr bwMode="auto">
            <a:xfrm>
              <a:off x="989769" y="1192262"/>
              <a:ext cx="30402" cy="26986"/>
            </a:xfrm>
            <a:custGeom>
              <a:avLst/>
              <a:gdLst>
                <a:gd name="T0" fmla="*/ 357 w 357"/>
                <a:gd name="T1" fmla="*/ 0 h 315"/>
                <a:gd name="T2" fmla="*/ 340 w 357"/>
                <a:gd name="T3" fmla="*/ 37 h 315"/>
                <a:gd name="T4" fmla="*/ 325 w 357"/>
                <a:gd name="T5" fmla="*/ 79 h 315"/>
                <a:gd name="T6" fmla="*/ 301 w 357"/>
                <a:gd name="T7" fmla="*/ 152 h 315"/>
                <a:gd name="T8" fmla="*/ 280 w 357"/>
                <a:gd name="T9" fmla="*/ 231 h 315"/>
                <a:gd name="T10" fmla="*/ 263 w 357"/>
                <a:gd name="T11" fmla="*/ 315 h 315"/>
                <a:gd name="T12" fmla="*/ 172 w 357"/>
                <a:gd name="T13" fmla="*/ 303 h 315"/>
                <a:gd name="T14" fmla="*/ 84 w 357"/>
                <a:gd name="T15" fmla="*/ 290 h 315"/>
                <a:gd name="T16" fmla="*/ 0 w 357"/>
                <a:gd name="T17" fmla="*/ 275 h 315"/>
                <a:gd name="T18" fmla="*/ 42 w 357"/>
                <a:gd name="T19" fmla="*/ 224 h 315"/>
                <a:gd name="T20" fmla="*/ 87 w 357"/>
                <a:gd name="T21" fmla="*/ 177 h 315"/>
                <a:gd name="T22" fmla="*/ 134 w 357"/>
                <a:gd name="T23" fmla="*/ 133 h 315"/>
                <a:gd name="T24" fmla="*/ 186 w 357"/>
                <a:gd name="T25" fmla="*/ 93 h 315"/>
                <a:gd name="T26" fmla="*/ 240 w 357"/>
                <a:gd name="T27" fmla="*/ 57 h 315"/>
                <a:gd name="T28" fmla="*/ 298 w 357"/>
                <a:gd name="T29" fmla="*/ 26 h 315"/>
                <a:gd name="T30" fmla="*/ 357 w 357"/>
                <a:gd name="T31"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 h="315">
                  <a:moveTo>
                    <a:pt x="357" y="0"/>
                  </a:moveTo>
                  <a:lnTo>
                    <a:pt x="340" y="37"/>
                  </a:lnTo>
                  <a:lnTo>
                    <a:pt x="325" y="79"/>
                  </a:lnTo>
                  <a:lnTo>
                    <a:pt x="301" y="152"/>
                  </a:lnTo>
                  <a:lnTo>
                    <a:pt x="280" y="231"/>
                  </a:lnTo>
                  <a:lnTo>
                    <a:pt x="263" y="315"/>
                  </a:lnTo>
                  <a:lnTo>
                    <a:pt x="172" y="303"/>
                  </a:lnTo>
                  <a:lnTo>
                    <a:pt x="84" y="290"/>
                  </a:lnTo>
                  <a:lnTo>
                    <a:pt x="0" y="275"/>
                  </a:lnTo>
                  <a:lnTo>
                    <a:pt x="42" y="224"/>
                  </a:lnTo>
                  <a:lnTo>
                    <a:pt x="87" y="177"/>
                  </a:lnTo>
                  <a:lnTo>
                    <a:pt x="134" y="133"/>
                  </a:lnTo>
                  <a:lnTo>
                    <a:pt x="186" y="93"/>
                  </a:lnTo>
                  <a:lnTo>
                    <a:pt x="240" y="57"/>
                  </a:lnTo>
                  <a:lnTo>
                    <a:pt x="298" y="26"/>
                  </a:lnTo>
                  <a:lnTo>
                    <a:pt x="35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4" name="Freeform 7"/>
            <p:cNvSpPr>
              <a:spLocks/>
            </p:cNvSpPr>
            <p:nvPr/>
          </p:nvSpPr>
          <p:spPr bwMode="auto">
            <a:xfrm>
              <a:off x="1028710" y="1188163"/>
              <a:ext cx="31768" cy="32793"/>
            </a:xfrm>
            <a:custGeom>
              <a:avLst/>
              <a:gdLst>
                <a:gd name="T0" fmla="*/ 184 w 369"/>
                <a:gd name="T1" fmla="*/ 0 h 385"/>
                <a:gd name="T2" fmla="*/ 194 w 369"/>
                <a:gd name="T3" fmla="*/ 2 h 385"/>
                <a:gd name="T4" fmla="*/ 207 w 369"/>
                <a:gd name="T5" fmla="*/ 9 h 385"/>
                <a:gd name="T6" fmla="*/ 220 w 369"/>
                <a:gd name="T7" fmla="*/ 21 h 385"/>
                <a:gd name="T8" fmla="*/ 234 w 369"/>
                <a:gd name="T9" fmla="*/ 35 h 385"/>
                <a:gd name="T10" fmla="*/ 257 w 369"/>
                <a:gd name="T11" fmla="*/ 66 h 385"/>
                <a:gd name="T12" fmla="*/ 278 w 369"/>
                <a:gd name="T13" fmla="*/ 103 h 385"/>
                <a:gd name="T14" fmla="*/ 299 w 369"/>
                <a:gd name="T15" fmla="*/ 146 h 385"/>
                <a:gd name="T16" fmla="*/ 318 w 369"/>
                <a:gd name="T17" fmla="*/ 196 h 385"/>
                <a:gd name="T18" fmla="*/ 337 w 369"/>
                <a:gd name="T19" fmla="*/ 253 h 385"/>
                <a:gd name="T20" fmla="*/ 354 w 369"/>
                <a:gd name="T21" fmla="*/ 315 h 385"/>
                <a:gd name="T22" fmla="*/ 369 w 369"/>
                <a:gd name="T23" fmla="*/ 380 h 385"/>
                <a:gd name="T24" fmla="*/ 277 w 369"/>
                <a:gd name="T25" fmla="*/ 384 h 385"/>
                <a:gd name="T26" fmla="*/ 184 w 369"/>
                <a:gd name="T27" fmla="*/ 385 h 385"/>
                <a:gd name="T28" fmla="*/ 92 w 369"/>
                <a:gd name="T29" fmla="*/ 384 h 385"/>
                <a:gd name="T30" fmla="*/ 0 w 369"/>
                <a:gd name="T31" fmla="*/ 380 h 385"/>
                <a:gd name="T32" fmla="*/ 14 w 369"/>
                <a:gd name="T33" fmla="*/ 315 h 385"/>
                <a:gd name="T34" fmla="*/ 31 w 369"/>
                <a:gd name="T35" fmla="*/ 253 h 385"/>
                <a:gd name="T36" fmla="*/ 50 w 369"/>
                <a:gd name="T37" fmla="*/ 196 h 385"/>
                <a:gd name="T38" fmla="*/ 69 w 369"/>
                <a:gd name="T39" fmla="*/ 146 h 385"/>
                <a:gd name="T40" fmla="*/ 90 w 369"/>
                <a:gd name="T41" fmla="*/ 103 h 385"/>
                <a:gd name="T42" fmla="*/ 112 w 369"/>
                <a:gd name="T43" fmla="*/ 66 h 385"/>
                <a:gd name="T44" fmla="*/ 134 w 369"/>
                <a:gd name="T45" fmla="*/ 35 h 385"/>
                <a:gd name="T46" fmla="*/ 148 w 369"/>
                <a:gd name="T47" fmla="*/ 21 h 385"/>
                <a:gd name="T48" fmla="*/ 161 w 369"/>
                <a:gd name="T49" fmla="*/ 9 h 385"/>
                <a:gd name="T50" fmla="*/ 174 w 369"/>
                <a:gd name="T51" fmla="*/ 2 h 385"/>
                <a:gd name="T52" fmla="*/ 184 w 369"/>
                <a:gd name="T53"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9" h="385">
                  <a:moveTo>
                    <a:pt x="184" y="0"/>
                  </a:moveTo>
                  <a:lnTo>
                    <a:pt x="194" y="2"/>
                  </a:lnTo>
                  <a:lnTo>
                    <a:pt x="207" y="9"/>
                  </a:lnTo>
                  <a:lnTo>
                    <a:pt x="220" y="21"/>
                  </a:lnTo>
                  <a:lnTo>
                    <a:pt x="234" y="35"/>
                  </a:lnTo>
                  <a:lnTo>
                    <a:pt x="257" y="66"/>
                  </a:lnTo>
                  <a:lnTo>
                    <a:pt x="278" y="103"/>
                  </a:lnTo>
                  <a:lnTo>
                    <a:pt x="299" y="146"/>
                  </a:lnTo>
                  <a:lnTo>
                    <a:pt x="318" y="196"/>
                  </a:lnTo>
                  <a:lnTo>
                    <a:pt x="337" y="253"/>
                  </a:lnTo>
                  <a:lnTo>
                    <a:pt x="354" y="315"/>
                  </a:lnTo>
                  <a:lnTo>
                    <a:pt x="369" y="380"/>
                  </a:lnTo>
                  <a:lnTo>
                    <a:pt x="277" y="384"/>
                  </a:lnTo>
                  <a:lnTo>
                    <a:pt x="184" y="385"/>
                  </a:lnTo>
                  <a:lnTo>
                    <a:pt x="92" y="384"/>
                  </a:lnTo>
                  <a:lnTo>
                    <a:pt x="0" y="380"/>
                  </a:lnTo>
                  <a:lnTo>
                    <a:pt x="14" y="315"/>
                  </a:lnTo>
                  <a:lnTo>
                    <a:pt x="31" y="253"/>
                  </a:lnTo>
                  <a:lnTo>
                    <a:pt x="50" y="196"/>
                  </a:lnTo>
                  <a:lnTo>
                    <a:pt x="69" y="146"/>
                  </a:lnTo>
                  <a:lnTo>
                    <a:pt x="90" y="103"/>
                  </a:lnTo>
                  <a:lnTo>
                    <a:pt x="112" y="66"/>
                  </a:lnTo>
                  <a:lnTo>
                    <a:pt x="134" y="35"/>
                  </a:lnTo>
                  <a:lnTo>
                    <a:pt x="148" y="21"/>
                  </a:lnTo>
                  <a:lnTo>
                    <a:pt x="161" y="9"/>
                  </a:lnTo>
                  <a:lnTo>
                    <a:pt x="174" y="2"/>
                  </a:lnTo>
                  <a:lnTo>
                    <a:pt x="18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5" name="Freeform 8"/>
            <p:cNvSpPr>
              <a:spLocks noEditPoints="1"/>
            </p:cNvSpPr>
            <p:nvPr/>
          </p:nvSpPr>
          <p:spPr bwMode="auto">
            <a:xfrm>
              <a:off x="889000" y="1101058"/>
              <a:ext cx="332708" cy="332708"/>
            </a:xfrm>
            <a:custGeom>
              <a:avLst/>
              <a:gdLst>
                <a:gd name="T0" fmla="*/ 3054 w 3896"/>
                <a:gd name="T1" fmla="*/ 2944 h 3896"/>
                <a:gd name="T2" fmla="*/ 1815 w 3896"/>
                <a:gd name="T3" fmla="*/ 821 h 3896"/>
                <a:gd name="T4" fmla="*/ 1580 w 3896"/>
                <a:gd name="T5" fmla="*/ 851 h 3896"/>
                <a:gd name="T6" fmla="*/ 1228 w 3896"/>
                <a:gd name="T7" fmla="*/ 1020 h 3896"/>
                <a:gd name="T8" fmla="*/ 1132 w 3896"/>
                <a:gd name="T9" fmla="*/ 1102 h 3896"/>
                <a:gd name="T10" fmla="*/ 1099 w 3896"/>
                <a:gd name="T11" fmla="*/ 1136 h 3896"/>
                <a:gd name="T12" fmla="*/ 1087 w 3896"/>
                <a:gd name="T13" fmla="*/ 1149 h 3896"/>
                <a:gd name="T14" fmla="*/ 1070 w 3896"/>
                <a:gd name="T15" fmla="*/ 1170 h 3896"/>
                <a:gd name="T16" fmla="*/ 902 w 3896"/>
                <a:gd name="T17" fmla="*/ 1440 h 3896"/>
                <a:gd name="T18" fmla="*/ 845 w 3896"/>
                <a:gd name="T19" fmla="*/ 1662 h 3896"/>
                <a:gd name="T20" fmla="*/ 862 w 3896"/>
                <a:gd name="T21" fmla="*/ 2040 h 3896"/>
                <a:gd name="T22" fmla="*/ 904 w 3896"/>
                <a:gd name="T23" fmla="*/ 2182 h 3896"/>
                <a:gd name="T24" fmla="*/ 1118 w 3896"/>
                <a:gd name="T25" fmla="*/ 2501 h 3896"/>
                <a:gd name="T26" fmla="*/ 1427 w 3896"/>
                <a:gd name="T27" fmla="*/ 2713 h 3896"/>
                <a:gd name="T28" fmla="*/ 1744 w 3896"/>
                <a:gd name="T29" fmla="*/ 2792 h 3896"/>
                <a:gd name="T30" fmla="*/ 2138 w 3896"/>
                <a:gd name="T31" fmla="*/ 2744 h 3896"/>
                <a:gd name="T32" fmla="*/ 1916 w 3896"/>
                <a:gd name="T33" fmla="*/ 2495 h 3896"/>
                <a:gd name="T34" fmla="*/ 1832 w 3896"/>
                <a:gd name="T35" fmla="*/ 2595 h 3896"/>
                <a:gd name="T36" fmla="*/ 1772 w 3896"/>
                <a:gd name="T37" fmla="*/ 2562 h 3896"/>
                <a:gd name="T38" fmla="*/ 1669 w 3896"/>
                <a:gd name="T39" fmla="*/ 2345 h 3896"/>
                <a:gd name="T40" fmla="*/ 1969 w 3896"/>
                <a:gd name="T41" fmla="*/ 2215 h 3896"/>
                <a:gd name="T42" fmla="*/ 1610 w 3896"/>
                <a:gd name="T43" fmla="*/ 2024 h 3896"/>
                <a:gd name="T44" fmla="*/ 1609 w 3896"/>
                <a:gd name="T45" fmla="*/ 1594 h 3896"/>
                <a:gd name="T46" fmla="*/ 2034 w 3896"/>
                <a:gd name="T47" fmla="*/ 1594 h 3896"/>
                <a:gd name="T48" fmla="*/ 2238 w 3896"/>
                <a:gd name="T49" fmla="*/ 1869 h 3896"/>
                <a:gd name="T50" fmla="*/ 2403 w 3896"/>
                <a:gd name="T51" fmla="*/ 1555 h 3896"/>
                <a:gd name="T52" fmla="*/ 2612 w 3896"/>
                <a:gd name="T53" fmla="*/ 1734 h 3896"/>
                <a:gd name="T54" fmla="*/ 2761 w 3896"/>
                <a:gd name="T55" fmla="*/ 2113 h 3896"/>
                <a:gd name="T56" fmla="*/ 2806 w 3896"/>
                <a:gd name="T57" fmla="*/ 1734 h 3896"/>
                <a:gd name="T58" fmla="*/ 2744 w 3896"/>
                <a:gd name="T59" fmla="*/ 1446 h 3896"/>
                <a:gd name="T60" fmla="*/ 2624 w 3896"/>
                <a:gd name="T61" fmla="*/ 1233 h 3896"/>
                <a:gd name="T62" fmla="*/ 2562 w 3896"/>
                <a:gd name="T63" fmla="*/ 1155 h 3896"/>
                <a:gd name="T64" fmla="*/ 2537 w 3896"/>
                <a:gd name="T65" fmla="*/ 1127 h 3896"/>
                <a:gd name="T66" fmla="*/ 2489 w 3896"/>
                <a:gd name="T67" fmla="*/ 1080 h 3896"/>
                <a:gd name="T68" fmla="*/ 2280 w 3896"/>
                <a:gd name="T69" fmla="*/ 933 h 3896"/>
                <a:gd name="T70" fmla="*/ 1916 w 3896"/>
                <a:gd name="T71" fmla="*/ 825 h 3896"/>
                <a:gd name="T72" fmla="*/ 1947 w 3896"/>
                <a:gd name="T73" fmla="*/ 0 h 3896"/>
                <a:gd name="T74" fmla="*/ 2521 w 3896"/>
                <a:gd name="T75" fmla="*/ 85 h 3896"/>
                <a:gd name="T76" fmla="*/ 3026 w 3896"/>
                <a:gd name="T77" fmla="*/ 325 h 3896"/>
                <a:gd name="T78" fmla="*/ 3438 w 3896"/>
                <a:gd name="T79" fmla="*/ 693 h 3896"/>
                <a:gd name="T80" fmla="*/ 3732 w 3896"/>
                <a:gd name="T81" fmla="*/ 1164 h 3896"/>
                <a:gd name="T82" fmla="*/ 3882 w 3896"/>
                <a:gd name="T83" fmla="*/ 1713 h 3896"/>
                <a:gd name="T84" fmla="*/ 3882 w 3896"/>
                <a:gd name="T85" fmla="*/ 2183 h 3896"/>
                <a:gd name="T86" fmla="*/ 3732 w 3896"/>
                <a:gd name="T87" fmla="*/ 2732 h 3896"/>
                <a:gd name="T88" fmla="*/ 3438 w 3896"/>
                <a:gd name="T89" fmla="*/ 3203 h 3896"/>
                <a:gd name="T90" fmla="*/ 3026 w 3896"/>
                <a:gd name="T91" fmla="*/ 3571 h 3896"/>
                <a:gd name="T92" fmla="*/ 2521 w 3896"/>
                <a:gd name="T93" fmla="*/ 3811 h 3896"/>
                <a:gd name="T94" fmla="*/ 1949 w 3896"/>
                <a:gd name="T95" fmla="*/ 3896 h 3896"/>
                <a:gd name="T96" fmla="*/ 1485 w 3896"/>
                <a:gd name="T97" fmla="*/ 3841 h 3896"/>
                <a:gd name="T98" fmla="*/ 965 w 3896"/>
                <a:gd name="T99" fmla="*/ 3630 h 3896"/>
                <a:gd name="T100" fmla="*/ 532 w 3896"/>
                <a:gd name="T101" fmla="*/ 3286 h 3896"/>
                <a:gd name="T102" fmla="*/ 213 w 3896"/>
                <a:gd name="T103" fmla="*/ 2833 h 3896"/>
                <a:gd name="T104" fmla="*/ 32 w 3896"/>
                <a:gd name="T105" fmla="*/ 2299 h 3896"/>
                <a:gd name="T106" fmla="*/ 14 w 3896"/>
                <a:gd name="T107" fmla="*/ 1713 h 3896"/>
                <a:gd name="T108" fmla="*/ 164 w 3896"/>
                <a:gd name="T109" fmla="*/ 1164 h 3896"/>
                <a:gd name="T110" fmla="*/ 458 w 3896"/>
                <a:gd name="T111" fmla="*/ 693 h 3896"/>
                <a:gd name="T112" fmla="*/ 870 w 3896"/>
                <a:gd name="T113" fmla="*/ 325 h 3896"/>
                <a:gd name="T114" fmla="*/ 1375 w 3896"/>
                <a:gd name="T115" fmla="*/ 85 h 3896"/>
                <a:gd name="T116" fmla="*/ 1947 w 3896"/>
                <a:gd name="T117" fmla="*/ 0 h 3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96" h="3896">
                  <a:moveTo>
                    <a:pt x="2088" y="1998"/>
                  </a:moveTo>
                  <a:lnTo>
                    <a:pt x="2417" y="3026"/>
                  </a:lnTo>
                  <a:lnTo>
                    <a:pt x="2589" y="2718"/>
                  </a:lnTo>
                  <a:lnTo>
                    <a:pt x="2908" y="3075"/>
                  </a:lnTo>
                  <a:lnTo>
                    <a:pt x="3054" y="2944"/>
                  </a:lnTo>
                  <a:lnTo>
                    <a:pt x="2733" y="2583"/>
                  </a:lnTo>
                  <a:lnTo>
                    <a:pt x="3061" y="2450"/>
                  </a:lnTo>
                  <a:lnTo>
                    <a:pt x="2088" y="1998"/>
                  </a:lnTo>
                  <a:close/>
                  <a:moveTo>
                    <a:pt x="1822" y="821"/>
                  </a:moveTo>
                  <a:lnTo>
                    <a:pt x="1815" y="821"/>
                  </a:lnTo>
                  <a:lnTo>
                    <a:pt x="1805" y="821"/>
                  </a:lnTo>
                  <a:lnTo>
                    <a:pt x="1804" y="821"/>
                  </a:lnTo>
                  <a:lnTo>
                    <a:pt x="1728" y="825"/>
                  </a:lnTo>
                  <a:lnTo>
                    <a:pt x="1654" y="835"/>
                  </a:lnTo>
                  <a:lnTo>
                    <a:pt x="1580" y="851"/>
                  </a:lnTo>
                  <a:lnTo>
                    <a:pt x="1509" y="871"/>
                  </a:lnTo>
                  <a:lnTo>
                    <a:pt x="1438" y="898"/>
                  </a:lnTo>
                  <a:lnTo>
                    <a:pt x="1365" y="933"/>
                  </a:lnTo>
                  <a:lnTo>
                    <a:pt x="1294" y="974"/>
                  </a:lnTo>
                  <a:lnTo>
                    <a:pt x="1228" y="1020"/>
                  </a:lnTo>
                  <a:lnTo>
                    <a:pt x="1165" y="1072"/>
                  </a:lnTo>
                  <a:lnTo>
                    <a:pt x="1161" y="1076"/>
                  </a:lnTo>
                  <a:lnTo>
                    <a:pt x="1155" y="1080"/>
                  </a:lnTo>
                  <a:lnTo>
                    <a:pt x="1133" y="1102"/>
                  </a:lnTo>
                  <a:lnTo>
                    <a:pt x="1132" y="1102"/>
                  </a:lnTo>
                  <a:lnTo>
                    <a:pt x="1107" y="1127"/>
                  </a:lnTo>
                  <a:lnTo>
                    <a:pt x="1107" y="1127"/>
                  </a:lnTo>
                  <a:lnTo>
                    <a:pt x="1107" y="1127"/>
                  </a:lnTo>
                  <a:lnTo>
                    <a:pt x="1103" y="1131"/>
                  </a:lnTo>
                  <a:lnTo>
                    <a:pt x="1099" y="1136"/>
                  </a:lnTo>
                  <a:lnTo>
                    <a:pt x="1099" y="1136"/>
                  </a:lnTo>
                  <a:lnTo>
                    <a:pt x="1098" y="1137"/>
                  </a:lnTo>
                  <a:lnTo>
                    <a:pt x="1087" y="1149"/>
                  </a:lnTo>
                  <a:lnTo>
                    <a:pt x="1087" y="1149"/>
                  </a:lnTo>
                  <a:lnTo>
                    <a:pt x="1087" y="1149"/>
                  </a:lnTo>
                  <a:lnTo>
                    <a:pt x="1083" y="1155"/>
                  </a:lnTo>
                  <a:lnTo>
                    <a:pt x="1078" y="1159"/>
                  </a:lnTo>
                  <a:lnTo>
                    <a:pt x="1071" y="1168"/>
                  </a:lnTo>
                  <a:lnTo>
                    <a:pt x="1070" y="1170"/>
                  </a:lnTo>
                  <a:lnTo>
                    <a:pt x="1070" y="1170"/>
                  </a:lnTo>
                  <a:lnTo>
                    <a:pt x="1020" y="1233"/>
                  </a:lnTo>
                  <a:lnTo>
                    <a:pt x="975" y="1300"/>
                  </a:lnTo>
                  <a:lnTo>
                    <a:pt x="936" y="1371"/>
                  </a:lnTo>
                  <a:lnTo>
                    <a:pt x="904" y="1434"/>
                  </a:lnTo>
                  <a:lnTo>
                    <a:pt x="902" y="1440"/>
                  </a:lnTo>
                  <a:lnTo>
                    <a:pt x="901" y="1446"/>
                  </a:lnTo>
                  <a:lnTo>
                    <a:pt x="901" y="1452"/>
                  </a:lnTo>
                  <a:lnTo>
                    <a:pt x="877" y="1521"/>
                  </a:lnTo>
                  <a:lnTo>
                    <a:pt x="858" y="1591"/>
                  </a:lnTo>
                  <a:lnTo>
                    <a:pt x="845" y="1662"/>
                  </a:lnTo>
                  <a:lnTo>
                    <a:pt x="837" y="1734"/>
                  </a:lnTo>
                  <a:lnTo>
                    <a:pt x="835" y="1809"/>
                  </a:lnTo>
                  <a:lnTo>
                    <a:pt x="838" y="1887"/>
                  </a:lnTo>
                  <a:lnTo>
                    <a:pt x="846" y="1963"/>
                  </a:lnTo>
                  <a:lnTo>
                    <a:pt x="862" y="2040"/>
                  </a:lnTo>
                  <a:lnTo>
                    <a:pt x="880" y="2103"/>
                  </a:lnTo>
                  <a:lnTo>
                    <a:pt x="901" y="2164"/>
                  </a:lnTo>
                  <a:lnTo>
                    <a:pt x="901" y="2170"/>
                  </a:lnTo>
                  <a:lnTo>
                    <a:pt x="902" y="2176"/>
                  </a:lnTo>
                  <a:lnTo>
                    <a:pt x="904" y="2182"/>
                  </a:lnTo>
                  <a:lnTo>
                    <a:pt x="940" y="2251"/>
                  </a:lnTo>
                  <a:lnTo>
                    <a:pt x="978" y="2319"/>
                  </a:lnTo>
                  <a:lnTo>
                    <a:pt x="1019" y="2384"/>
                  </a:lnTo>
                  <a:lnTo>
                    <a:pt x="1066" y="2444"/>
                  </a:lnTo>
                  <a:lnTo>
                    <a:pt x="1118" y="2501"/>
                  </a:lnTo>
                  <a:lnTo>
                    <a:pt x="1174" y="2552"/>
                  </a:lnTo>
                  <a:lnTo>
                    <a:pt x="1234" y="2601"/>
                  </a:lnTo>
                  <a:lnTo>
                    <a:pt x="1297" y="2645"/>
                  </a:lnTo>
                  <a:lnTo>
                    <a:pt x="1361" y="2681"/>
                  </a:lnTo>
                  <a:lnTo>
                    <a:pt x="1427" y="2713"/>
                  </a:lnTo>
                  <a:lnTo>
                    <a:pt x="1495" y="2740"/>
                  </a:lnTo>
                  <a:lnTo>
                    <a:pt x="1565" y="2761"/>
                  </a:lnTo>
                  <a:lnTo>
                    <a:pt x="1633" y="2777"/>
                  </a:lnTo>
                  <a:lnTo>
                    <a:pt x="1667" y="2783"/>
                  </a:lnTo>
                  <a:lnTo>
                    <a:pt x="1744" y="2792"/>
                  </a:lnTo>
                  <a:lnTo>
                    <a:pt x="1822" y="2796"/>
                  </a:lnTo>
                  <a:lnTo>
                    <a:pt x="1903" y="2792"/>
                  </a:lnTo>
                  <a:lnTo>
                    <a:pt x="1982" y="2783"/>
                  </a:lnTo>
                  <a:lnTo>
                    <a:pt x="2061" y="2766"/>
                  </a:lnTo>
                  <a:lnTo>
                    <a:pt x="2138" y="2744"/>
                  </a:lnTo>
                  <a:lnTo>
                    <a:pt x="1992" y="2286"/>
                  </a:lnTo>
                  <a:lnTo>
                    <a:pt x="1975" y="2346"/>
                  </a:lnTo>
                  <a:lnTo>
                    <a:pt x="1956" y="2401"/>
                  </a:lnTo>
                  <a:lnTo>
                    <a:pt x="1937" y="2451"/>
                  </a:lnTo>
                  <a:lnTo>
                    <a:pt x="1916" y="2495"/>
                  </a:lnTo>
                  <a:lnTo>
                    <a:pt x="1895" y="2531"/>
                  </a:lnTo>
                  <a:lnTo>
                    <a:pt x="1872" y="2562"/>
                  </a:lnTo>
                  <a:lnTo>
                    <a:pt x="1858" y="2576"/>
                  </a:lnTo>
                  <a:lnTo>
                    <a:pt x="1845" y="2588"/>
                  </a:lnTo>
                  <a:lnTo>
                    <a:pt x="1832" y="2595"/>
                  </a:lnTo>
                  <a:lnTo>
                    <a:pt x="1822" y="2597"/>
                  </a:lnTo>
                  <a:lnTo>
                    <a:pt x="1812" y="2595"/>
                  </a:lnTo>
                  <a:lnTo>
                    <a:pt x="1799" y="2588"/>
                  </a:lnTo>
                  <a:lnTo>
                    <a:pt x="1786" y="2576"/>
                  </a:lnTo>
                  <a:lnTo>
                    <a:pt x="1772" y="2562"/>
                  </a:lnTo>
                  <a:lnTo>
                    <a:pt x="1750" y="2531"/>
                  </a:lnTo>
                  <a:lnTo>
                    <a:pt x="1728" y="2495"/>
                  </a:lnTo>
                  <a:lnTo>
                    <a:pt x="1707" y="2451"/>
                  </a:lnTo>
                  <a:lnTo>
                    <a:pt x="1688" y="2401"/>
                  </a:lnTo>
                  <a:lnTo>
                    <a:pt x="1669" y="2345"/>
                  </a:lnTo>
                  <a:lnTo>
                    <a:pt x="1652" y="2283"/>
                  </a:lnTo>
                  <a:lnTo>
                    <a:pt x="1638" y="2217"/>
                  </a:lnTo>
                  <a:lnTo>
                    <a:pt x="1730" y="2214"/>
                  </a:lnTo>
                  <a:lnTo>
                    <a:pt x="1822" y="2212"/>
                  </a:lnTo>
                  <a:lnTo>
                    <a:pt x="1969" y="2215"/>
                  </a:lnTo>
                  <a:lnTo>
                    <a:pt x="1917" y="2052"/>
                  </a:lnTo>
                  <a:lnTo>
                    <a:pt x="1907" y="2019"/>
                  </a:lnTo>
                  <a:lnTo>
                    <a:pt x="1822" y="2018"/>
                  </a:lnTo>
                  <a:lnTo>
                    <a:pt x="1715" y="2019"/>
                  </a:lnTo>
                  <a:lnTo>
                    <a:pt x="1610" y="2024"/>
                  </a:lnTo>
                  <a:lnTo>
                    <a:pt x="1609" y="2024"/>
                  </a:lnTo>
                  <a:lnTo>
                    <a:pt x="1602" y="1917"/>
                  </a:lnTo>
                  <a:lnTo>
                    <a:pt x="1600" y="1809"/>
                  </a:lnTo>
                  <a:lnTo>
                    <a:pt x="1602" y="1699"/>
                  </a:lnTo>
                  <a:lnTo>
                    <a:pt x="1609" y="1594"/>
                  </a:lnTo>
                  <a:lnTo>
                    <a:pt x="1610" y="1594"/>
                  </a:lnTo>
                  <a:lnTo>
                    <a:pt x="1715" y="1597"/>
                  </a:lnTo>
                  <a:lnTo>
                    <a:pt x="1822" y="1599"/>
                  </a:lnTo>
                  <a:lnTo>
                    <a:pt x="1929" y="1597"/>
                  </a:lnTo>
                  <a:lnTo>
                    <a:pt x="2034" y="1594"/>
                  </a:lnTo>
                  <a:lnTo>
                    <a:pt x="2034" y="1594"/>
                  </a:lnTo>
                  <a:lnTo>
                    <a:pt x="2041" y="1685"/>
                  </a:lnTo>
                  <a:lnTo>
                    <a:pt x="2044" y="1779"/>
                  </a:lnTo>
                  <a:lnTo>
                    <a:pt x="2164" y="1835"/>
                  </a:lnTo>
                  <a:lnTo>
                    <a:pt x="2238" y="1869"/>
                  </a:lnTo>
                  <a:lnTo>
                    <a:pt x="2240" y="1809"/>
                  </a:lnTo>
                  <a:lnTo>
                    <a:pt x="2237" y="1692"/>
                  </a:lnTo>
                  <a:lnTo>
                    <a:pt x="2229" y="1577"/>
                  </a:lnTo>
                  <a:lnTo>
                    <a:pt x="2318" y="1568"/>
                  </a:lnTo>
                  <a:lnTo>
                    <a:pt x="2403" y="1555"/>
                  </a:lnTo>
                  <a:lnTo>
                    <a:pt x="2484" y="1540"/>
                  </a:lnTo>
                  <a:lnTo>
                    <a:pt x="2562" y="1523"/>
                  </a:lnTo>
                  <a:lnTo>
                    <a:pt x="2584" y="1593"/>
                  </a:lnTo>
                  <a:lnTo>
                    <a:pt x="2601" y="1662"/>
                  </a:lnTo>
                  <a:lnTo>
                    <a:pt x="2612" y="1734"/>
                  </a:lnTo>
                  <a:lnTo>
                    <a:pt x="2615" y="1809"/>
                  </a:lnTo>
                  <a:lnTo>
                    <a:pt x="2612" y="1883"/>
                  </a:lnTo>
                  <a:lnTo>
                    <a:pt x="2601" y="1957"/>
                  </a:lnTo>
                  <a:lnTo>
                    <a:pt x="2583" y="2029"/>
                  </a:lnTo>
                  <a:lnTo>
                    <a:pt x="2761" y="2113"/>
                  </a:lnTo>
                  <a:lnTo>
                    <a:pt x="2783" y="2040"/>
                  </a:lnTo>
                  <a:lnTo>
                    <a:pt x="2797" y="1963"/>
                  </a:lnTo>
                  <a:lnTo>
                    <a:pt x="2806" y="1887"/>
                  </a:lnTo>
                  <a:lnTo>
                    <a:pt x="2810" y="1809"/>
                  </a:lnTo>
                  <a:lnTo>
                    <a:pt x="2806" y="1734"/>
                  </a:lnTo>
                  <a:lnTo>
                    <a:pt x="2799" y="1662"/>
                  </a:lnTo>
                  <a:lnTo>
                    <a:pt x="2785" y="1591"/>
                  </a:lnTo>
                  <a:lnTo>
                    <a:pt x="2767" y="1521"/>
                  </a:lnTo>
                  <a:lnTo>
                    <a:pt x="2744" y="1452"/>
                  </a:lnTo>
                  <a:lnTo>
                    <a:pt x="2744" y="1446"/>
                  </a:lnTo>
                  <a:lnTo>
                    <a:pt x="2743" y="1440"/>
                  </a:lnTo>
                  <a:lnTo>
                    <a:pt x="2740" y="1434"/>
                  </a:lnTo>
                  <a:lnTo>
                    <a:pt x="2707" y="1371"/>
                  </a:lnTo>
                  <a:lnTo>
                    <a:pt x="2669" y="1300"/>
                  </a:lnTo>
                  <a:lnTo>
                    <a:pt x="2624" y="1233"/>
                  </a:lnTo>
                  <a:lnTo>
                    <a:pt x="2575" y="1170"/>
                  </a:lnTo>
                  <a:lnTo>
                    <a:pt x="2575" y="1170"/>
                  </a:lnTo>
                  <a:lnTo>
                    <a:pt x="2574" y="1168"/>
                  </a:lnTo>
                  <a:lnTo>
                    <a:pt x="2565" y="1159"/>
                  </a:lnTo>
                  <a:lnTo>
                    <a:pt x="2562" y="1155"/>
                  </a:lnTo>
                  <a:lnTo>
                    <a:pt x="2557" y="1149"/>
                  </a:lnTo>
                  <a:lnTo>
                    <a:pt x="2547" y="1137"/>
                  </a:lnTo>
                  <a:lnTo>
                    <a:pt x="2545" y="1136"/>
                  </a:lnTo>
                  <a:lnTo>
                    <a:pt x="2545" y="1136"/>
                  </a:lnTo>
                  <a:lnTo>
                    <a:pt x="2537" y="1127"/>
                  </a:lnTo>
                  <a:lnTo>
                    <a:pt x="2537" y="1127"/>
                  </a:lnTo>
                  <a:lnTo>
                    <a:pt x="2537" y="1127"/>
                  </a:lnTo>
                  <a:lnTo>
                    <a:pt x="2512" y="1102"/>
                  </a:lnTo>
                  <a:lnTo>
                    <a:pt x="2511" y="1102"/>
                  </a:lnTo>
                  <a:lnTo>
                    <a:pt x="2489" y="1080"/>
                  </a:lnTo>
                  <a:lnTo>
                    <a:pt x="2484" y="1076"/>
                  </a:lnTo>
                  <a:lnTo>
                    <a:pt x="2479" y="1071"/>
                  </a:lnTo>
                  <a:lnTo>
                    <a:pt x="2417" y="1020"/>
                  </a:lnTo>
                  <a:lnTo>
                    <a:pt x="2351" y="974"/>
                  </a:lnTo>
                  <a:lnTo>
                    <a:pt x="2280" y="933"/>
                  </a:lnTo>
                  <a:lnTo>
                    <a:pt x="2207" y="898"/>
                  </a:lnTo>
                  <a:lnTo>
                    <a:pt x="2136" y="871"/>
                  </a:lnTo>
                  <a:lnTo>
                    <a:pt x="2064" y="851"/>
                  </a:lnTo>
                  <a:lnTo>
                    <a:pt x="1991" y="835"/>
                  </a:lnTo>
                  <a:lnTo>
                    <a:pt x="1916" y="825"/>
                  </a:lnTo>
                  <a:lnTo>
                    <a:pt x="1841" y="821"/>
                  </a:lnTo>
                  <a:lnTo>
                    <a:pt x="1839" y="821"/>
                  </a:lnTo>
                  <a:lnTo>
                    <a:pt x="1830" y="821"/>
                  </a:lnTo>
                  <a:lnTo>
                    <a:pt x="1822" y="821"/>
                  </a:lnTo>
                  <a:close/>
                  <a:moveTo>
                    <a:pt x="1947" y="0"/>
                  </a:moveTo>
                  <a:lnTo>
                    <a:pt x="2066" y="4"/>
                  </a:lnTo>
                  <a:lnTo>
                    <a:pt x="2183" y="14"/>
                  </a:lnTo>
                  <a:lnTo>
                    <a:pt x="2299" y="32"/>
                  </a:lnTo>
                  <a:lnTo>
                    <a:pt x="2411" y="55"/>
                  </a:lnTo>
                  <a:lnTo>
                    <a:pt x="2521" y="85"/>
                  </a:lnTo>
                  <a:lnTo>
                    <a:pt x="2628" y="122"/>
                  </a:lnTo>
                  <a:lnTo>
                    <a:pt x="2732" y="164"/>
                  </a:lnTo>
                  <a:lnTo>
                    <a:pt x="2833" y="213"/>
                  </a:lnTo>
                  <a:lnTo>
                    <a:pt x="2931" y="266"/>
                  </a:lnTo>
                  <a:lnTo>
                    <a:pt x="3026" y="325"/>
                  </a:lnTo>
                  <a:lnTo>
                    <a:pt x="3117" y="390"/>
                  </a:lnTo>
                  <a:lnTo>
                    <a:pt x="3203" y="458"/>
                  </a:lnTo>
                  <a:lnTo>
                    <a:pt x="3286" y="532"/>
                  </a:lnTo>
                  <a:lnTo>
                    <a:pt x="3364" y="610"/>
                  </a:lnTo>
                  <a:lnTo>
                    <a:pt x="3438" y="693"/>
                  </a:lnTo>
                  <a:lnTo>
                    <a:pt x="3506" y="779"/>
                  </a:lnTo>
                  <a:lnTo>
                    <a:pt x="3571" y="870"/>
                  </a:lnTo>
                  <a:lnTo>
                    <a:pt x="3630" y="965"/>
                  </a:lnTo>
                  <a:lnTo>
                    <a:pt x="3683" y="1063"/>
                  </a:lnTo>
                  <a:lnTo>
                    <a:pt x="3732" y="1164"/>
                  </a:lnTo>
                  <a:lnTo>
                    <a:pt x="3774" y="1268"/>
                  </a:lnTo>
                  <a:lnTo>
                    <a:pt x="3811" y="1375"/>
                  </a:lnTo>
                  <a:lnTo>
                    <a:pt x="3841" y="1485"/>
                  </a:lnTo>
                  <a:lnTo>
                    <a:pt x="3864" y="1597"/>
                  </a:lnTo>
                  <a:lnTo>
                    <a:pt x="3882" y="1713"/>
                  </a:lnTo>
                  <a:lnTo>
                    <a:pt x="3892" y="1830"/>
                  </a:lnTo>
                  <a:lnTo>
                    <a:pt x="3896" y="1947"/>
                  </a:lnTo>
                  <a:lnTo>
                    <a:pt x="3896" y="1949"/>
                  </a:lnTo>
                  <a:lnTo>
                    <a:pt x="3892" y="2067"/>
                  </a:lnTo>
                  <a:lnTo>
                    <a:pt x="3882" y="2183"/>
                  </a:lnTo>
                  <a:lnTo>
                    <a:pt x="3864" y="2299"/>
                  </a:lnTo>
                  <a:lnTo>
                    <a:pt x="3841" y="2411"/>
                  </a:lnTo>
                  <a:lnTo>
                    <a:pt x="3811" y="2521"/>
                  </a:lnTo>
                  <a:lnTo>
                    <a:pt x="3774" y="2628"/>
                  </a:lnTo>
                  <a:lnTo>
                    <a:pt x="3732" y="2732"/>
                  </a:lnTo>
                  <a:lnTo>
                    <a:pt x="3683" y="2833"/>
                  </a:lnTo>
                  <a:lnTo>
                    <a:pt x="3630" y="2931"/>
                  </a:lnTo>
                  <a:lnTo>
                    <a:pt x="3571" y="3026"/>
                  </a:lnTo>
                  <a:lnTo>
                    <a:pt x="3506" y="3117"/>
                  </a:lnTo>
                  <a:lnTo>
                    <a:pt x="3438" y="3203"/>
                  </a:lnTo>
                  <a:lnTo>
                    <a:pt x="3364" y="3286"/>
                  </a:lnTo>
                  <a:lnTo>
                    <a:pt x="3286" y="3364"/>
                  </a:lnTo>
                  <a:lnTo>
                    <a:pt x="3203" y="3438"/>
                  </a:lnTo>
                  <a:lnTo>
                    <a:pt x="3117" y="3506"/>
                  </a:lnTo>
                  <a:lnTo>
                    <a:pt x="3026" y="3571"/>
                  </a:lnTo>
                  <a:lnTo>
                    <a:pt x="2931" y="3630"/>
                  </a:lnTo>
                  <a:lnTo>
                    <a:pt x="2833" y="3683"/>
                  </a:lnTo>
                  <a:lnTo>
                    <a:pt x="2732" y="3732"/>
                  </a:lnTo>
                  <a:lnTo>
                    <a:pt x="2628" y="3774"/>
                  </a:lnTo>
                  <a:lnTo>
                    <a:pt x="2521" y="3811"/>
                  </a:lnTo>
                  <a:lnTo>
                    <a:pt x="2411" y="3841"/>
                  </a:lnTo>
                  <a:lnTo>
                    <a:pt x="2299" y="3864"/>
                  </a:lnTo>
                  <a:lnTo>
                    <a:pt x="2183" y="3882"/>
                  </a:lnTo>
                  <a:lnTo>
                    <a:pt x="2066" y="3892"/>
                  </a:lnTo>
                  <a:lnTo>
                    <a:pt x="1949" y="3896"/>
                  </a:lnTo>
                  <a:lnTo>
                    <a:pt x="1947" y="3896"/>
                  </a:lnTo>
                  <a:lnTo>
                    <a:pt x="1829" y="3892"/>
                  </a:lnTo>
                  <a:lnTo>
                    <a:pt x="1713" y="3882"/>
                  </a:lnTo>
                  <a:lnTo>
                    <a:pt x="1597" y="3864"/>
                  </a:lnTo>
                  <a:lnTo>
                    <a:pt x="1485" y="3841"/>
                  </a:lnTo>
                  <a:lnTo>
                    <a:pt x="1375" y="3811"/>
                  </a:lnTo>
                  <a:lnTo>
                    <a:pt x="1268" y="3774"/>
                  </a:lnTo>
                  <a:lnTo>
                    <a:pt x="1164" y="3732"/>
                  </a:lnTo>
                  <a:lnTo>
                    <a:pt x="1063" y="3683"/>
                  </a:lnTo>
                  <a:lnTo>
                    <a:pt x="965" y="3630"/>
                  </a:lnTo>
                  <a:lnTo>
                    <a:pt x="870" y="3571"/>
                  </a:lnTo>
                  <a:lnTo>
                    <a:pt x="779" y="3506"/>
                  </a:lnTo>
                  <a:lnTo>
                    <a:pt x="693" y="3438"/>
                  </a:lnTo>
                  <a:lnTo>
                    <a:pt x="610" y="3364"/>
                  </a:lnTo>
                  <a:lnTo>
                    <a:pt x="532" y="3286"/>
                  </a:lnTo>
                  <a:lnTo>
                    <a:pt x="458" y="3203"/>
                  </a:lnTo>
                  <a:lnTo>
                    <a:pt x="390" y="3117"/>
                  </a:lnTo>
                  <a:lnTo>
                    <a:pt x="325" y="3026"/>
                  </a:lnTo>
                  <a:lnTo>
                    <a:pt x="266" y="2931"/>
                  </a:lnTo>
                  <a:lnTo>
                    <a:pt x="213" y="2833"/>
                  </a:lnTo>
                  <a:lnTo>
                    <a:pt x="164" y="2732"/>
                  </a:lnTo>
                  <a:lnTo>
                    <a:pt x="122" y="2628"/>
                  </a:lnTo>
                  <a:lnTo>
                    <a:pt x="85" y="2521"/>
                  </a:lnTo>
                  <a:lnTo>
                    <a:pt x="55" y="2411"/>
                  </a:lnTo>
                  <a:lnTo>
                    <a:pt x="32" y="2299"/>
                  </a:lnTo>
                  <a:lnTo>
                    <a:pt x="14" y="2183"/>
                  </a:lnTo>
                  <a:lnTo>
                    <a:pt x="4" y="2067"/>
                  </a:lnTo>
                  <a:lnTo>
                    <a:pt x="0" y="1948"/>
                  </a:lnTo>
                  <a:lnTo>
                    <a:pt x="4" y="1830"/>
                  </a:lnTo>
                  <a:lnTo>
                    <a:pt x="14" y="1713"/>
                  </a:lnTo>
                  <a:lnTo>
                    <a:pt x="32" y="1597"/>
                  </a:lnTo>
                  <a:lnTo>
                    <a:pt x="55" y="1485"/>
                  </a:lnTo>
                  <a:lnTo>
                    <a:pt x="85" y="1375"/>
                  </a:lnTo>
                  <a:lnTo>
                    <a:pt x="122" y="1268"/>
                  </a:lnTo>
                  <a:lnTo>
                    <a:pt x="164" y="1164"/>
                  </a:lnTo>
                  <a:lnTo>
                    <a:pt x="213" y="1063"/>
                  </a:lnTo>
                  <a:lnTo>
                    <a:pt x="266" y="965"/>
                  </a:lnTo>
                  <a:lnTo>
                    <a:pt x="325" y="870"/>
                  </a:lnTo>
                  <a:lnTo>
                    <a:pt x="390" y="779"/>
                  </a:lnTo>
                  <a:lnTo>
                    <a:pt x="458" y="693"/>
                  </a:lnTo>
                  <a:lnTo>
                    <a:pt x="532" y="610"/>
                  </a:lnTo>
                  <a:lnTo>
                    <a:pt x="610" y="532"/>
                  </a:lnTo>
                  <a:lnTo>
                    <a:pt x="693" y="458"/>
                  </a:lnTo>
                  <a:lnTo>
                    <a:pt x="779" y="390"/>
                  </a:lnTo>
                  <a:lnTo>
                    <a:pt x="870" y="325"/>
                  </a:lnTo>
                  <a:lnTo>
                    <a:pt x="965" y="266"/>
                  </a:lnTo>
                  <a:lnTo>
                    <a:pt x="1063" y="213"/>
                  </a:lnTo>
                  <a:lnTo>
                    <a:pt x="1164" y="164"/>
                  </a:lnTo>
                  <a:lnTo>
                    <a:pt x="1268" y="122"/>
                  </a:lnTo>
                  <a:lnTo>
                    <a:pt x="1375" y="85"/>
                  </a:lnTo>
                  <a:lnTo>
                    <a:pt x="1485" y="55"/>
                  </a:lnTo>
                  <a:lnTo>
                    <a:pt x="1597" y="32"/>
                  </a:lnTo>
                  <a:lnTo>
                    <a:pt x="1713" y="14"/>
                  </a:lnTo>
                  <a:lnTo>
                    <a:pt x="1829" y="4"/>
                  </a:lnTo>
                  <a:lnTo>
                    <a:pt x="1947"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6" name="Freeform 9"/>
            <p:cNvSpPr>
              <a:spLocks/>
            </p:cNvSpPr>
            <p:nvPr/>
          </p:nvSpPr>
          <p:spPr bwMode="auto">
            <a:xfrm>
              <a:off x="976789" y="1231204"/>
              <a:ext cx="33134" cy="48506"/>
            </a:xfrm>
            <a:custGeom>
              <a:avLst/>
              <a:gdLst>
                <a:gd name="T0" fmla="*/ 54 w 387"/>
                <a:gd name="T1" fmla="*/ 0 h 570"/>
                <a:gd name="T2" fmla="*/ 132 w 387"/>
                <a:gd name="T3" fmla="*/ 17 h 570"/>
                <a:gd name="T4" fmla="*/ 213 w 387"/>
                <a:gd name="T5" fmla="*/ 32 h 570"/>
                <a:gd name="T6" fmla="*/ 298 w 387"/>
                <a:gd name="T7" fmla="*/ 45 h 570"/>
                <a:gd name="T8" fmla="*/ 387 w 387"/>
                <a:gd name="T9" fmla="*/ 54 h 570"/>
                <a:gd name="T10" fmla="*/ 378 w 387"/>
                <a:gd name="T11" fmla="*/ 169 h 570"/>
                <a:gd name="T12" fmla="*/ 376 w 387"/>
                <a:gd name="T13" fmla="*/ 286 h 570"/>
                <a:gd name="T14" fmla="*/ 378 w 387"/>
                <a:gd name="T15" fmla="*/ 401 h 570"/>
                <a:gd name="T16" fmla="*/ 387 w 387"/>
                <a:gd name="T17" fmla="*/ 516 h 570"/>
                <a:gd name="T18" fmla="*/ 298 w 387"/>
                <a:gd name="T19" fmla="*/ 527 h 570"/>
                <a:gd name="T20" fmla="*/ 213 w 387"/>
                <a:gd name="T21" fmla="*/ 538 h 570"/>
                <a:gd name="T22" fmla="*/ 132 w 387"/>
                <a:gd name="T23" fmla="*/ 554 h 570"/>
                <a:gd name="T24" fmla="*/ 54 w 387"/>
                <a:gd name="T25" fmla="*/ 570 h 570"/>
                <a:gd name="T26" fmla="*/ 31 w 387"/>
                <a:gd name="T27" fmla="*/ 502 h 570"/>
                <a:gd name="T28" fmla="*/ 15 w 387"/>
                <a:gd name="T29" fmla="*/ 431 h 570"/>
                <a:gd name="T30" fmla="*/ 4 w 387"/>
                <a:gd name="T31" fmla="*/ 359 h 570"/>
                <a:gd name="T32" fmla="*/ 0 w 387"/>
                <a:gd name="T33" fmla="*/ 286 h 570"/>
                <a:gd name="T34" fmla="*/ 4 w 387"/>
                <a:gd name="T35" fmla="*/ 211 h 570"/>
                <a:gd name="T36" fmla="*/ 15 w 387"/>
                <a:gd name="T37" fmla="*/ 139 h 570"/>
                <a:gd name="T38" fmla="*/ 31 w 387"/>
                <a:gd name="T39" fmla="*/ 70 h 570"/>
                <a:gd name="T40" fmla="*/ 54 w 387"/>
                <a:gd name="T41" fmla="*/ 0 h 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7" h="570">
                  <a:moveTo>
                    <a:pt x="54" y="0"/>
                  </a:moveTo>
                  <a:lnTo>
                    <a:pt x="132" y="17"/>
                  </a:lnTo>
                  <a:lnTo>
                    <a:pt x="213" y="32"/>
                  </a:lnTo>
                  <a:lnTo>
                    <a:pt x="298" y="45"/>
                  </a:lnTo>
                  <a:lnTo>
                    <a:pt x="387" y="54"/>
                  </a:lnTo>
                  <a:lnTo>
                    <a:pt x="378" y="169"/>
                  </a:lnTo>
                  <a:lnTo>
                    <a:pt x="376" y="286"/>
                  </a:lnTo>
                  <a:lnTo>
                    <a:pt x="378" y="401"/>
                  </a:lnTo>
                  <a:lnTo>
                    <a:pt x="387" y="516"/>
                  </a:lnTo>
                  <a:lnTo>
                    <a:pt x="298" y="527"/>
                  </a:lnTo>
                  <a:lnTo>
                    <a:pt x="213" y="538"/>
                  </a:lnTo>
                  <a:lnTo>
                    <a:pt x="132" y="554"/>
                  </a:lnTo>
                  <a:lnTo>
                    <a:pt x="54" y="570"/>
                  </a:lnTo>
                  <a:lnTo>
                    <a:pt x="31" y="502"/>
                  </a:lnTo>
                  <a:lnTo>
                    <a:pt x="15" y="431"/>
                  </a:lnTo>
                  <a:lnTo>
                    <a:pt x="4" y="359"/>
                  </a:lnTo>
                  <a:lnTo>
                    <a:pt x="0" y="286"/>
                  </a:lnTo>
                  <a:lnTo>
                    <a:pt x="4" y="211"/>
                  </a:lnTo>
                  <a:lnTo>
                    <a:pt x="15" y="139"/>
                  </a:lnTo>
                  <a:lnTo>
                    <a:pt x="31" y="70"/>
                  </a:lnTo>
                  <a:lnTo>
                    <a:pt x="54"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7" name="Freeform 10"/>
            <p:cNvSpPr>
              <a:spLocks/>
            </p:cNvSpPr>
            <p:nvPr/>
          </p:nvSpPr>
          <p:spPr bwMode="auto">
            <a:xfrm>
              <a:off x="1069018" y="1192262"/>
              <a:ext cx="30402" cy="26986"/>
            </a:xfrm>
            <a:custGeom>
              <a:avLst/>
              <a:gdLst>
                <a:gd name="T0" fmla="*/ 0 w 357"/>
                <a:gd name="T1" fmla="*/ 0 h 315"/>
                <a:gd name="T2" fmla="*/ 61 w 357"/>
                <a:gd name="T3" fmla="*/ 26 h 315"/>
                <a:gd name="T4" fmla="*/ 117 w 357"/>
                <a:gd name="T5" fmla="*/ 57 h 315"/>
                <a:gd name="T6" fmla="*/ 173 w 357"/>
                <a:gd name="T7" fmla="*/ 93 h 315"/>
                <a:gd name="T8" fmla="*/ 224 w 357"/>
                <a:gd name="T9" fmla="*/ 133 h 315"/>
                <a:gd name="T10" fmla="*/ 272 w 357"/>
                <a:gd name="T11" fmla="*/ 177 h 315"/>
                <a:gd name="T12" fmla="*/ 317 w 357"/>
                <a:gd name="T13" fmla="*/ 224 h 315"/>
                <a:gd name="T14" fmla="*/ 357 w 357"/>
                <a:gd name="T15" fmla="*/ 275 h 315"/>
                <a:gd name="T16" fmla="*/ 274 w 357"/>
                <a:gd name="T17" fmla="*/ 290 h 315"/>
                <a:gd name="T18" fmla="*/ 187 w 357"/>
                <a:gd name="T19" fmla="*/ 303 h 315"/>
                <a:gd name="T20" fmla="*/ 96 w 357"/>
                <a:gd name="T21" fmla="*/ 315 h 315"/>
                <a:gd name="T22" fmla="*/ 78 w 357"/>
                <a:gd name="T23" fmla="*/ 231 h 315"/>
                <a:gd name="T24" fmla="*/ 57 w 357"/>
                <a:gd name="T25" fmla="*/ 152 h 315"/>
                <a:gd name="T26" fmla="*/ 33 w 357"/>
                <a:gd name="T27" fmla="*/ 79 h 315"/>
                <a:gd name="T28" fmla="*/ 17 w 357"/>
                <a:gd name="T29" fmla="*/ 37 h 315"/>
                <a:gd name="T30" fmla="*/ 0 w 357"/>
                <a:gd name="T31" fmla="*/ 0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7" h="315">
                  <a:moveTo>
                    <a:pt x="0" y="0"/>
                  </a:moveTo>
                  <a:lnTo>
                    <a:pt x="61" y="26"/>
                  </a:lnTo>
                  <a:lnTo>
                    <a:pt x="117" y="57"/>
                  </a:lnTo>
                  <a:lnTo>
                    <a:pt x="173" y="93"/>
                  </a:lnTo>
                  <a:lnTo>
                    <a:pt x="224" y="133"/>
                  </a:lnTo>
                  <a:lnTo>
                    <a:pt x="272" y="177"/>
                  </a:lnTo>
                  <a:lnTo>
                    <a:pt x="317" y="224"/>
                  </a:lnTo>
                  <a:lnTo>
                    <a:pt x="357" y="275"/>
                  </a:lnTo>
                  <a:lnTo>
                    <a:pt x="274" y="290"/>
                  </a:lnTo>
                  <a:lnTo>
                    <a:pt x="187" y="303"/>
                  </a:lnTo>
                  <a:lnTo>
                    <a:pt x="96" y="315"/>
                  </a:lnTo>
                  <a:lnTo>
                    <a:pt x="78" y="231"/>
                  </a:lnTo>
                  <a:lnTo>
                    <a:pt x="57" y="152"/>
                  </a:lnTo>
                  <a:lnTo>
                    <a:pt x="33" y="79"/>
                  </a:lnTo>
                  <a:lnTo>
                    <a:pt x="17" y="37"/>
                  </a:lnTo>
                  <a:lnTo>
                    <a:pt x="0"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18" name="Freeform 11"/>
            <p:cNvSpPr>
              <a:spLocks/>
            </p:cNvSpPr>
            <p:nvPr/>
          </p:nvSpPr>
          <p:spPr bwMode="auto">
            <a:xfrm>
              <a:off x="989769" y="1291665"/>
              <a:ext cx="30402" cy="26986"/>
            </a:xfrm>
            <a:custGeom>
              <a:avLst/>
              <a:gdLst>
                <a:gd name="T0" fmla="*/ 301 w 358"/>
                <a:gd name="T1" fmla="*/ 163 h 317"/>
                <a:gd name="T2" fmla="*/ 358 w 358"/>
                <a:gd name="T3" fmla="*/ 317 h 317"/>
                <a:gd name="T4" fmla="*/ 351 w 358"/>
                <a:gd name="T5" fmla="*/ 314 h 317"/>
                <a:gd name="T6" fmla="*/ 343 w 358"/>
                <a:gd name="T7" fmla="*/ 311 h 317"/>
                <a:gd name="T8" fmla="*/ 335 w 358"/>
                <a:gd name="T9" fmla="*/ 307 h 317"/>
                <a:gd name="T10" fmla="*/ 327 w 358"/>
                <a:gd name="T11" fmla="*/ 305 h 317"/>
                <a:gd name="T12" fmla="*/ 320 w 358"/>
                <a:gd name="T13" fmla="*/ 301 h 317"/>
                <a:gd name="T14" fmla="*/ 319 w 358"/>
                <a:gd name="T15" fmla="*/ 301 h 317"/>
                <a:gd name="T16" fmla="*/ 287 w 358"/>
                <a:gd name="T17" fmla="*/ 286 h 317"/>
                <a:gd name="T18" fmla="*/ 280 w 358"/>
                <a:gd name="T19" fmla="*/ 283 h 317"/>
                <a:gd name="T20" fmla="*/ 277 w 358"/>
                <a:gd name="T21" fmla="*/ 280 h 317"/>
                <a:gd name="T22" fmla="*/ 266 w 358"/>
                <a:gd name="T23" fmla="*/ 274 h 317"/>
                <a:gd name="T24" fmla="*/ 258 w 358"/>
                <a:gd name="T25" fmla="*/ 270 h 317"/>
                <a:gd name="T26" fmla="*/ 254 w 358"/>
                <a:gd name="T27" fmla="*/ 268 h 317"/>
                <a:gd name="T28" fmla="*/ 246 w 358"/>
                <a:gd name="T29" fmla="*/ 264 h 317"/>
                <a:gd name="T30" fmla="*/ 234 w 358"/>
                <a:gd name="T31" fmla="*/ 257 h 317"/>
                <a:gd name="T32" fmla="*/ 222 w 358"/>
                <a:gd name="T33" fmla="*/ 249 h 317"/>
                <a:gd name="T34" fmla="*/ 212 w 358"/>
                <a:gd name="T35" fmla="*/ 242 h 317"/>
                <a:gd name="T36" fmla="*/ 207 w 358"/>
                <a:gd name="T37" fmla="*/ 239 h 317"/>
                <a:gd name="T38" fmla="*/ 200 w 358"/>
                <a:gd name="T39" fmla="*/ 234 h 317"/>
                <a:gd name="T40" fmla="*/ 185 w 358"/>
                <a:gd name="T41" fmla="*/ 225 h 317"/>
                <a:gd name="T42" fmla="*/ 168 w 358"/>
                <a:gd name="T43" fmla="*/ 212 h 317"/>
                <a:gd name="T44" fmla="*/ 153 w 358"/>
                <a:gd name="T45" fmla="*/ 201 h 317"/>
                <a:gd name="T46" fmla="*/ 137 w 358"/>
                <a:gd name="T47" fmla="*/ 188 h 317"/>
                <a:gd name="T48" fmla="*/ 127 w 358"/>
                <a:gd name="T49" fmla="*/ 179 h 317"/>
                <a:gd name="T50" fmla="*/ 114 w 358"/>
                <a:gd name="T51" fmla="*/ 167 h 317"/>
                <a:gd name="T52" fmla="*/ 113 w 358"/>
                <a:gd name="T53" fmla="*/ 167 h 317"/>
                <a:gd name="T54" fmla="*/ 103 w 358"/>
                <a:gd name="T55" fmla="*/ 157 h 317"/>
                <a:gd name="T56" fmla="*/ 95 w 358"/>
                <a:gd name="T57" fmla="*/ 149 h 317"/>
                <a:gd name="T58" fmla="*/ 88 w 358"/>
                <a:gd name="T59" fmla="*/ 143 h 317"/>
                <a:gd name="T60" fmla="*/ 83 w 358"/>
                <a:gd name="T61" fmla="*/ 138 h 317"/>
                <a:gd name="T62" fmla="*/ 76 w 358"/>
                <a:gd name="T63" fmla="*/ 131 h 317"/>
                <a:gd name="T64" fmla="*/ 74 w 358"/>
                <a:gd name="T65" fmla="*/ 128 h 317"/>
                <a:gd name="T66" fmla="*/ 67 w 358"/>
                <a:gd name="T67" fmla="*/ 122 h 317"/>
                <a:gd name="T68" fmla="*/ 59 w 358"/>
                <a:gd name="T69" fmla="*/ 114 h 317"/>
                <a:gd name="T70" fmla="*/ 58 w 358"/>
                <a:gd name="T71" fmla="*/ 111 h 317"/>
                <a:gd name="T72" fmla="*/ 51 w 358"/>
                <a:gd name="T73" fmla="*/ 104 h 317"/>
                <a:gd name="T74" fmla="*/ 48 w 358"/>
                <a:gd name="T75" fmla="*/ 101 h 317"/>
                <a:gd name="T76" fmla="*/ 29 w 358"/>
                <a:gd name="T77" fmla="*/ 78 h 317"/>
                <a:gd name="T78" fmla="*/ 25 w 358"/>
                <a:gd name="T79" fmla="*/ 74 h 317"/>
                <a:gd name="T80" fmla="*/ 19 w 358"/>
                <a:gd name="T81" fmla="*/ 66 h 317"/>
                <a:gd name="T82" fmla="*/ 15 w 358"/>
                <a:gd name="T83" fmla="*/ 59 h 317"/>
                <a:gd name="T84" fmla="*/ 11 w 358"/>
                <a:gd name="T85" fmla="*/ 56 h 317"/>
                <a:gd name="T86" fmla="*/ 6 w 358"/>
                <a:gd name="T87" fmla="*/ 49 h 317"/>
                <a:gd name="T88" fmla="*/ 0 w 358"/>
                <a:gd name="T89" fmla="*/ 42 h 317"/>
                <a:gd name="T90" fmla="*/ 172 w 358"/>
                <a:gd name="T91" fmla="*/ 12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8" h="317">
                  <a:moveTo>
                    <a:pt x="263" y="0"/>
                  </a:moveTo>
                  <a:lnTo>
                    <a:pt x="280" y="85"/>
                  </a:lnTo>
                  <a:lnTo>
                    <a:pt x="301" y="163"/>
                  </a:lnTo>
                  <a:lnTo>
                    <a:pt x="325" y="236"/>
                  </a:lnTo>
                  <a:lnTo>
                    <a:pt x="342" y="278"/>
                  </a:lnTo>
                  <a:lnTo>
                    <a:pt x="358" y="317"/>
                  </a:lnTo>
                  <a:lnTo>
                    <a:pt x="356" y="316"/>
                  </a:lnTo>
                  <a:lnTo>
                    <a:pt x="351" y="314"/>
                  </a:lnTo>
                  <a:lnTo>
                    <a:pt x="351" y="314"/>
                  </a:lnTo>
                  <a:lnTo>
                    <a:pt x="346" y="312"/>
                  </a:lnTo>
                  <a:lnTo>
                    <a:pt x="344" y="311"/>
                  </a:lnTo>
                  <a:lnTo>
                    <a:pt x="343" y="311"/>
                  </a:lnTo>
                  <a:lnTo>
                    <a:pt x="339" y="310"/>
                  </a:lnTo>
                  <a:lnTo>
                    <a:pt x="339" y="310"/>
                  </a:lnTo>
                  <a:lnTo>
                    <a:pt x="335" y="307"/>
                  </a:lnTo>
                  <a:lnTo>
                    <a:pt x="332" y="306"/>
                  </a:lnTo>
                  <a:lnTo>
                    <a:pt x="331" y="306"/>
                  </a:lnTo>
                  <a:lnTo>
                    <a:pt x="327" y="305"/>
                  </a:lnTo>
                  <a:lnTo>
                    <a:pt x="327" y="305"/>
                  </a:lnTo>
                  <a:lnTo>
                    <a:pt x="322" y="303"/>
                  </a:lnTo>
                  <a:lnTo>
                    <a:pt x="320" y="301"/>
                  </a:lnTo>
                  <a:lnTo>
                    <a:pt x="320" y="301"/>
                  </a:lnTo>
                  <a:lnTo>
                    <a:pt x="319" y="301"/>
                  </a:lnTo>
                  <a:lnTo>
                    <a:pt x="319" y="301"/>
                  </a:lnTo>
                  <a:lnTo>
                    <a:pt x="290" y="287"/>
                  </a:lnTo>
                  <a:lnTo>
                    <a:pt x="290" y="287"/>
                  </a:lnTo>
                  <a:lnTo>
                    <a:pt x="287" y="286"/>
                  </a:lnTo>
                  <a:lnTo>
                    <a:pt x="287" y="286"/>
                  </a:lnTo>
                  <a:lnTo>
                    <a:pt x="286" y="285"/>
                  </a:lnTo>
                  <a:lnTo>
                    <a:pt x="280" y="283"/>
                  </a:lnTo>
                  <a:lnTo>
                    <a:pt x="280" y="283"/>
                  </a:lnTo>
                  <a:lnTo>
                    <a:pt x="277" y="280"/>
                  </a:lnTo>
                  <a:lnTo>
                    <a:pt x="277" y="280"/>
                  </a:lnTo>
                  <a:lnTo>
                    <a:pt x="274" y="279"/>
                  </a:lnTo>
                  <a:lnTo>
                    <a:pt x="268" y="277"/>
                  </a:lnTo>
                  <a:lnTo>
                    <a:pt x="266" y="274"/>
                  </a:lnTo>
                  <a:lnTo>
                    <a:pt x="266" y="274"/>
                  </a:lnTo>
                  <a:lnTo>
                    <a:pt x="263" y="273"/>
                  </a:lnTo>
                  <a:lnTo>
                    <a:pt x="258" y="270"/>
                  </a:lnTo>
                  <a:lnTo>
                    <a:pt x="258" y="270"/>
                  </a:lnTo>
                  <a:lnTo>
                    <a:pt x="254" y="268"/>
                  </a:lnTo>
                  <a:lnTo>
                    <a:pt x="254" y="268"/>
                  </a:lnTo>
                  <a:lnTo>
                    <a:pt x="252" y="267"/>
                  </a:lnTo>
                  <a:lnTo>
                    <a:pt x="246" y="264"/>
                  </a:lnTo>
                  <a:lnTo>
                    <a:pt x="246" y="264"/>
                  </a:lnTo>
                  <a:lnTo>
                    <a:pt x="244" y="262"/>
                  </a:lnTo>
                  <a:lnTo>
                    <a:pt x="240" y="260"/>
                  </a:lnTo>
                  <a:lnTo>
                    <a:pt x="234" y="257"/>
                  </a:lnTo>
                  <a:lnTo>
                    <a:pt x="232" y="255"/>
                  </a:lnTo>
                  <a:lnTo>
                    <a:pt x="228" y="253"/>
                  </a:lnTo>
                  <a:lnTo>
                    <a:pt x="222" y="249"/>
                  </a:lnTo>
                  <a:lnTo>
                    <a:pt x="221" y="248"/>
                  </a:lnTo>
                  <a:lnTo>
                    <a:pt x="218" y="246"/>
                  </a:lnTo>
                  <a:lnTo>
                    <a:pt x="212" y="242"/>
                  </a:lnTo>
                  <a:lnTo>
                    <a:pt x="212" y="242"/>
                  </a:lnTo>
                  <a:lnTo>
                    <a:pt x="211" y="242"/>
                  </a:lnTo>
                  <a:lnTo>
                    <a:pt x="207" y="239"/>
                  </a:lnTo>
                  <a:lnTo>
                    <a:pt x="200" y="235"/>
                  </a:lnTo>
                  <a:lnTo>
                    <a:pt x="200" y="235"/>
                  </a:lnTo>
                  <a:lnTo>
                    <a:pt x="200" y="234"/>
                  </a:lnTo>
                  <a:lnTo>
                    <a:pt x="195" y="232"/>
                  </a:lnTo>
                  <a:lnTo>
                    <a:pt x="189" y="227"/>
                  </a:lnTo>
                  <a:lnTo>
                    <a:pt x="185" y="225"/>
                  </a:lnTo>
                  <a:lnTo>
                    <a:pt x="179" y="220"/>
                  </a:lnTo>
                  <a:lnTo>
                    <a:pt x="174" y="216"/>
                  </a:lnTo>
                  <a:lnTo>
                    <a:pt x="168" y="212"/>
                  </a:lnTo>
                  <a:lnTo>
                    <a:pt x="163" y="208"/>
                  </a:lnTo>
                  <a:lnTo>
                    <a:pt x="157" y="205"/>
                  </a:lnTo>
                  <a:lnTo>
                    <a:pt x="153" y="201"/>
                  </a:lnTo>
                  <a:lnTo>
                    <a:pt x="147" y="196"/>
                  </a:lnTo>
                  <a:lnTo>
                    <a:pt x="142" y="193"/>
                  </a:lnTo>
                  <a:lnTo>
                    <a:pt x="137" y="188"/>
                  </a:lnTo>
                  <a:lnTo>
                    <a:pt x="133" y="185"/>
                  </a:lnTo>
                  <a:lnTo>
                    <a:pt x="133" y="183"/>
                  </a:lnTo>
                  <a:lnTo>
                    <a:pt x="127" y="179"/>
                  </a:lnTo>
                  <a:lnTo>
                    <a:pt x="122" y="175"/>
                  </a:lnTo>
                  <a:lnTo>
                    <a:pt x="117" y="170"/>
                  </a:lnTo>
                  <a:lnTo>
                    <a:pt x="114" y="167"/>
                  </a:lnTo>
                  <a:lnTo>
                    <a:pt x="113" y="167"/>
                  </a:lnTo>
                  <a:lnTo>
                    <a:pt x="113" y="167"/>
                  </a:lnTo>
                  <a:lnTo>
                    <a:pt x="113" y="167"/>
                  </a:lnTo>
                  <a:lnTo>
                    <a:pt x="107" y="161"/>
                  </a:lnTo>
                  <a:lnTo>
                    <a:pt x="103" y="159"/>
                  </a:lnTo>
                  <a:lnTo>
                    <a:pt x="103" y="157"/>
                  </a:lnTo>
                  <a:lnTo>
                    <a:pt x="102" y="157"/>
                  </a:lnTo>
                  <a:lnTo>
                    <a:pt x="97" y="153"/>
                  </a:lnTo>
                  <a:lnTo>
                    <a:pt x="95" y="149"/>
                  </a:lnTo>
                  <a:lnTo>
                    <a:pt x="94" y="149"/>
                  </a:lnTo>
                  <a:lnTo>
                    <a:pt x="93" y="148"/>
                  </a:lnTo>
                  <a:lnTo>
                    <a:pt x="88" y="143"/>
                  </a:lnTo>
                  <a:lnTo>
                    <a:pt x="85" y="141"/>
                  </a:lnTo>
                  <a:lnTo>
                    <a:pt x="85" y="141"/>
                  </a:lnTo>
                  <a:lnTo>
                    <a:pt x="83" y="138"/>
                  </a:lnTo>
                  <a:lnTo>
                    <a:pt x="83" y="137"/>
                  </a:lnTo>
                  <a:lnTo>
                    <a:pt x="78" y="134"/>
                  </a:lnTo>
                  <a:lnTo>
                    <a:pt x="76" y="131"/>
                  </a:lnTo>
                  <a:lnTo>
                    <a:pt x="76" y="131"/>
                  </a:lnTo>
                  <a:lnTo>
                    <a:pt x="74" y="128"/>
                  </a:lnTo>
                  <a:lnTo>
                    <a:pt x="74" y="128"/>
                  </a:lnTo>
                  <a:lnTo>
                    <a:pt x="69" y="124"/>
                  </a:lnTo>
                  <a:lnTo>
                    <a:pt x="67" y="122"/>
                  </a:lnTo>
                  <a:lnTo>
                    <a:pt x="67" y="122"/>
                  </a:lnTo>
                  <a:lnTo>
                    <a:pt x="64" y="118"/>
                  </a:lnTo>
                  <a:lnTo>
                    <a:pt x="64" y="118"/>
                  </a:lnTo>
                  <a:lnTo>
                    <a:pt x="59" y="114"/>
                  </a:lnTo>
                  <a:lnTo>
                    <a:pt x="58" y="113"/>
                  </a:lnTo>
                  <a:lnTo>
                    <a:pt x="58" y="111"/>
                  </a:lnTo>
                  <a:lnTo>
                    <a:pt x="58" y="111"/>
                  </a:lnTo>
                  <a:lnTo>
                    <a:pt x="55" y="109"/>
                  </a:lnTo>
                  <a:lnTo>
                    <a:pt x="55" y="109"/>
                  </a:lnTo>
                  <a:lnTo>
                    <a:pt x="51" y="104"/>
                  </a:lnTo>
                  <a:lnTo>
                    <a:pt x="50" y="103"/>
                  </a:lnTo>
                  <a:lnTo>
                    <a:pt x="50" y="102"/>
                  </a:lnTo>
                  <a:lnTo>
                    <a:pt x="48" y="101"/>
                  </a:lnTo>
                  <a:lnTo>
                    <a:pt x="48" y="101"/>
                  </a:lnTo>
                  <a:lnTo>
                    <a:pt x="29" y="78"/>
                  </a:lnTo>
                  <a:lnTo>
                    <a:pt x="29" y="78"/>
                  </a:lnTo>
                  <a:lnTo>
                    <a:pt x="28" y="76"/>
                  </a:lnTo>
                  <a:lnTo>
                    <a:pt x="28" y="76"/>
                  </a:lnTo>
                  <a:lnTo>
                    <a:pt x="25" y="74"/>
                  </a:lnTo>
                  <a:lnTo>
                    <a:pt x="23" y="70"/>
                  </a:lnTo>
                  <a:lnTo>
                    <a:pt x="23" y="70"/>
                  </a:lnTo>
                  <a:lnTo>
                    <a:pt x="19" y="66"/>
                  </a:lnTo>
                  <a:lnTo>
                    <a:pt x="19" y="66"/>
                  </a:lnTo>
                  <a:lnTo>
                    <a:pt x="17" y="63"/>
                  </a:lnTo>
                  <a:lnTo>
                    <a:pt x="15" y="59"/>
                  </a:lnTo>
                  <a:lnTo>
                    <a:pt x="15" y="59"/>
                  </a:lnTo>
                  <a:lnTo>
                    <a:pt x="11" y="56"/>
                  </a:lnTo>
                  <a:lnTo>
                    <a:pt x="11" y="56"/>
                  </a:lnTo>
                  <a:lnTo>
                    <a:pt x="9" y="52"/>
                  </a:lnTo>
                  <a:lnTo>
                    <a:pt x="6" y="49"/>
                  </a:lnTo>
                  <a:lnTo>
                    <a:pt x="6" y="49"/>
                  </a:lnTo>
                  <a:lnTo>
                    <a:pt x="4" y="45"/>
                  </a:lnTo>
                  <a:lnTo>
                    <a:pt x="3" y="45"/>
                  </a:lnTo>
                  <a:lnTo>
                    <a:pt x="0" y="42"/>
                  </a:lnTo>
                  <a:lnTo>
                    <a:pt x="0" y="40"/>
                  </a:lnTo>
                  <a:lnTo>
                    <a:pt x="83" y="25"/>
                  </a:lnTo>
                  <a:lnTo>
                    <a:pt x="172" y="12"/>
                  </a:lnTo>
                  <a:lnTo>
                    <a:pt x="263" y="0"/>
                  </a:lnTo>
                  <a:close/>
                </a:path>
              </a:pathLst>
            </a:custGeom>
            <a:solidFill>
              <a:schemeClr val="accent4"/>
            </a:solidFill>
            <a:ln w="0">
              <a:solidFill>
                <a:srgbClr val="3830FF"/>
              </a:solid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
        <p:nvSpPr>
          <p:cNvPr id="19" name="Freeform 16"/>
          <p:cNvSpPr>
            <a:spLocks noChangeAspect="1" noEditPoints="1"/>
          </p:cNvSpPr>
          <p:nvPr/>
        </p:nvSpPr>
        <p:spPr bwMode="auto">
          <a:xfrm>
            <a:off x="1744235" y="1815928"/>
            <a:ext cx="324000" cy="324000"/>
          </a:xfrm>
          <a:custGeom>
            <a:avLst/>
            <a:gdLst>
              <a:gd name="T0" fmla="*/ 1933 w 3498"/>
              <a:gd name="T1" fmla="*/ 554 h 3498"/>
              <a:gd name="T2" fmla="*/ 1785 w 3498"/>
              <a:gd name="T3" fmla="*/ 597 h 3498"/>
              <a:gd name="T4" fmla="*/ 1663 w 3498"/>
              <a:gd name="T5" fmla="*/ 675 h 3498"/>
              <a:gd name="T6" fmla="*/ 1572 w 3498"/>
              <a:gd name="T7" fmla="*/ 788 h 3498"/>
              <a:gd name="T8" fmla="*/ 1514 w 3498"/>
              <a:gd name="T9" fmla="*/ 934 h 3498"/>
              <a:gd name="T10" fmla="*/ 1494 w 3498"/>
              <a:gd name="T11" fmla="*/ 1111 h 3498"/>
              <a:gd name="T12" fmla="*/ 1125 w 3498"/>
              <a:gd name="T13" fmla="*/ 1855 h 3498"/>
              <a:gd name="T14" fmla="*/ 1936 w 3498"/>
              <a:gd name="T15" fmla="*/ 2952 h 3498"/>
              <a:gd name="T16" fmla="*/ 2360 w 3498"/>
              <a:gd name="T17" fmla="*/ 1427 h 3498"/>
              <a:gd name="T18" fmla="*/ 1937 w 3498"/>
              <a:gd name="T19" fmla="*/ 1126 h 3498"/>
              <a:gd name="T20" fmla="*/ 1948 w 3498"/>
              <a:gd name="T21" fmla="*/ 1052 h 3498"/>
              <a:gd name="T22" fmla="*/ 1982 w 3498"/>
              <a:gd name="T23" fmla="*/ 995 h 3498"/>
              <a:gd name="T24" fmla="*/ 2045 w 3498"/>
              <a:gd name="T25" fmla="*/ 958 h 3498"/>
              <a:gd name="T26" fmla="*/ 2147 w 3498"/>
              <a:gd name="T27" fmla="*/ 946 h 3498"/>
              <a:gd name="T28" fmla="*/ 2357 w 3498"/>
              <a:gd name="T29" fmla="*/ 561 h 3498"/>
              <a:gd name="T30" fmla="*/ 2272 w 3498"/>
              <a:gd name="T31" fmla="*/ 553 h 3498"/>
              <a:gd name="T32" fmla="*/ 2144 w 3498"/>
              <a:gd name="T33" fmla="*/ 548 h 3498"/>
              <a:gd name="T34" fmla="*/ 1748 w 3498"/>
              <a:gd name="T35" fmla="*/ 0 h 3498"/>
              <a:gd name="T36" fmla="*/ 2064 w 3498"/>
              <a:gd name="T37" fmla="*/ 29 h 3498"/>
              <a:gd name="T38" fmla="*/ 2360 w 3498"/>
              <a:gd name="T39" fmla="*/ 109 h 3498"/>
              <a:gd name="T40" fmla="*/ 2632 w 3498"/>
              <a:gd name="T41" fmla="*/ 239 h 3498"/>
              <a:gd name="T42" fmla="*/ 2876 w 3498"/>
              <a:gd name="T43" fmla="*/ 411 h 3498"/>
              <a:gd name="T44" fmla="*/ 3087 w 3498"/>
              <a:gd name="T45" fmla="*/ 622 h 3498"/>
              <a:gd name="T46" fmla="*/ 3260 w 3498"/>
              <a:gd name="T47" fmla="*/ 866 h 3498"/>
              <a:gd name="T48" fmla="*/ 3389 w 3498"/>
              <a:gd name="T49" fmla="*/ 1138 h 3498"/>
              <a:gd name="T50" fmla="*/ 3469 w 3498"/>
              <a:gd name="T51" fmla="*/ 1434 h 3498"/>
              <a:gd name="T52" fmla="*/ 3498 w 3498"/>
              <a:gd name="T53" fmla="*/ 1748 h 3498"/>
              <a:gd name="T54" fmla="*/ 3485 w 3498"/>
              <a:gd name="T55" fmla="*/ 1960 h 3498"/>
              <a:gd name="T56" fmla="*/ 3422 w 3498"/>
              <a:gd name="T57" fmla="*/ 2263 h 3498"/>
              <a:gd name="T58" fmla="*/ 3307 w 3498"/>
              <a:gd name="T59" fmla="*/ 2544 h 3498"/>
              <a:gd name="T60" fmla="*/ 3148 w 3498"/>
              <a:gd name="T61" fmla="*/ 2798 h 3498"/>
              <a:gd name="T62" fmla="*/ 2950 w 3498"/>
              <a:gd name="T63" fmla="*/ 3020 h 3498"/>
              <a:gd name="T64" fmla="*/ 2717 w 3498"/>
              <a:gd name="T65" fmla="*/ 3207 h 3498"/>
              <a:gd name="T66" fmla="*/ 2453 w 3498"/>
              <a:gd name="T67" fmla="*/ 3351 h 3498"/>
              <a:gd name="T68" fmla="*/ 2165 w 3498"/>
              <a:gd name="T69" fmla="*/ 3448 h 3498"/>
              <a:gd name="T70" fmla="*/ 1855 w 3498"/>
              <a:gd name="T71" fmla="*/ 3495 h 3498"/>
              <a:gd name="T72" fmla="*/ 1642 w 3498"/>
              <a:gd name="T73" fmla="*/ 3495 h 3498"/>
              <a:gd name="T74" fmla="*/ 1333 w 3498"/>
              <a:gd name="T75" fmla="*/ 3448 h 3498"/>
              <a:gd name="T76" fmla="*/ 1045 w 3498"/>
              <a:gd name="T77" fmla="*/ 3351 h 3498"/>
              <a:gd name="T78" fmla="*/ 781 w 3498"/>
              <a:gd name="T79" fmla="*/ 3207 h 3498"/>
              <a:gd name="T80" fmla="*/ 548 w 3498"/>
              <a:gd name="T81" fmla="*/ 3020 h 3498"/>
              <a:gd name="T82" fmla="*/ 350 w 3498"/>
              <a:gd name="T83" fmla="*/ 2798 h 3498"/>
              <a:gd name="T84" fmla="*/ 191 w 3498"/>
              <a:gd name="T85" fmla="*/ 2544 h 3498"/>
              <a:gd name="T86" fmla="*/ 76 w 3498"/>
              <a:gd name="T87" fmla="*/ 2263 h 3498"/>
              <a:gd name="T88" fmla="*/ 13 w 3498"/>
              <a:gd name="T89" fmla="*/ 1960 h 3498"/>
              <a:gd name="T90" fmla="*/ 3 w 3498"/>
              <a:gd name="T91" fmla="*/ 1643 h 3498"/>
              <a:gd name="T92" fmla="*/ 50 w 3498"/>
              <a:gd name="T93" fmla="*/ 1333 h 3498"/>
              <a:gd name="T94" fmla="*/ 147 w 3498"/>
              <a:gd name="T95" fmla="*/ 1045 h 3498"/>
              <a:gd name="T96" fmla="*/ 292 w 3498"/>
              <a:gd name="T97" fmla="*/ 781 h 3498"/>
              <a:gd name="T98" fmla="*/ 478 w 3498"/>
              <a:gd name="T99" fmla="*/ 548 h 3498"/>
              <a:gd name="T100" fmla="*/ 700 w 3498"/>
              <a:gd name="T101" fmla="*/ 350 h 3498"/>
              <a:gd name="T102" fmla="*/ 954 w 3498"/>
              <a:gd name="T103" fmla="*/ 191 h 3498"/>
              <a:gd name="T104" fmla="*/ 1235 w 3498"/>
              <a:gd name="T105" fmla="*/ 76 h 3498"/>
              <a:gd name="T106" fmla="*/ 1538 w 3498"/>
              <a:gd name="T107" fmla="*/ 13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98" h="3498">
                <a:moveTo>
                  <a:pt x="2044" y="546"/>
                </a:moveTo>
                <a:lnTo>
                  <a:pt x="1988" y="548"/>
                </a:lnTo>
                <a:lnTo>
                  <a:pt x="1933" y="554"/>
                </a:lnTo>
                <a:lnTo>
                  <a:pt x="1882" y="565"/>
                </a:lnTo>
                <a:lnTo>
                  <a:pt x="1832" y="579"/>
                </a:lnTo>
                <a:lnTo>
                  <a:pt x="1785" y="597"/>
                </a:lnTo>
                <a:lnTo>
                  <a:pt x="1742" y="619"/>
                </a:lnTo>
                <a:lnTo>
                  <a:pt x="1701" y="646"/>
                </a:lnTo>
                <a:lnTo>
                  <a:pt x="1663" y="675"/>
                </a:lnTo>
                <a:lnTo>
                  <a:pt x="1629" y="709"/>
                </a:lnTo>
                <a:lnTo>
                  <a:pt x="1598" y="746"/>
                </a:lnTo>
                <a:lnTo>
                  <a:pt x="1572" y="788"/>
                </a:lnTo>
                <a:lnTo>
                  <a:pt x="1549" y="832"/>
                </a:lnTo>
                <a:lnTo>
                  <a:pt x="1529" y="881"/>
                </a:lnTo>
                <a:lnTo>
                  <a:pt x="1514" y="934"/>
                </a:lnTo>
                <a:lnTo>
                  <a:pt x="1502" y="989"/>
                </a:lnTo>
                <a:lnTo>
                  <a:pt x="1496" y="1048"/>
                </a:lnTo>
                <a:lnTo>
                  <a:pt x="1494" y="1111"/>
                </a:lnTo>
                <a:lnTo>
                  <a:pt x="1494" y="1427"/>
                </a:lnTo>
                <a:lnTo>
                  <a:pt x="1125" y="1427"/>
                </a:lnTo>
                <a:lnTo>
                  <a:pt x="1125" y="1855"/>
                </a:lnTo>
                <a:lnTo>
                  <a:pt x="1494" y="1855"/>
                </a:lnTo>
                <a:lnTo>
                  <a:pt x="1494" y="2952"/>
                </a:lnTo>
                <a:lnTo>
                  <a:pt x="1936" y="2952"/>
                </a:lnTo>
                <a:lnTo>
                  <a:pt x="1936" y="1855"/>
                </a:lnTo>
                <a:lnTo>
                  <a:pt x="2302" y="1855"/>
                </a:lnTo>
                <a:lnTo>
                  <a:pt x="2360" y="1427"/>
                </a:lnTo>
                <a:lnTo>
                  <a:pt x="1936" y="1427"/>
                </a:lnTo>
                <a:lnTo>
                  <a:pt x="1936" y="1153"/>
                </a:lnTo>
                <a:lnTo>
                  <a:pt x="1937" y="1126"/>
                </a:lnTo>
                <a:lnTo>
                  <a:pt x="1939" y="1099"/>
                </a:lnTo>
                <a:lnTo>
                  <a:pt x="1942" y="1075"/>
                </a:lnTo>
                <a:lnTo>
                  <a:pt x="1948" y="1052"/>
                </a:lnTo>
                <a:lnTo>
                  <a:pt x="1957" y="1031"/>
                </a:lnTo>
                <a:lnTo>
                  <a:pt x="1967" y="1012"/>
                </a:lnTo>
                <a:lnTo>
                  <a:pt x="1982" y="995"/>
                </a:lnTo>
                <a:lnTo>
                  <a:pt x="1999" y="981"/>
                </a:lnTo>
                <a:lnTo>
                  <a:pt x="2020" y="968"/>
                </a:lnTo>
                <a:lnTo>
                  <a:pt x="2045" y="958"/>
                </a:lnTo>
                <a:lnTo>
                  <a:pt x="2074" y="951"/>
                </a:lnTo>
                <a:lnTo>
                  <a:pt x="2108" y="947"/>
                </a:lnTo>
                <a:lnTo>
                  <a:pt x="2147" y="946"/>
                </a:lnTo>
                <a:lnTo>
                  <a:pt x="2373" y="946"/>
                </a:lnTo>
                <a:lnTo>
                  <a:pt x="2373" y="563"/>
                </a:lnTo>
                <a:lnTo>
                  <a:pt x="2357" y="561"/>
                </a:lnTo>
                <a:lnTo>
                  <a:pt x="2334" y="559"/>
                </a:lnTo>
                <a:lnTo>
                  <a:pt x="2306" y="557"/>
                </a:lnTo>
                <a:lnTo>
                  <a:pt x="2272" y="553"/>
                </a:lnTo>
                <a:lnTo>
                  <a:pt x="2232" y="551"/>
                </a:lnTo>
                <a:lnTo>
                  <a:pt x="2190" y="549"/>
                </a:lnTo>
                <a:lnTo>
                  <a:pt x="2144" y="548"/>
                </a:lnTo>
                <a:lnTo>
                  <a:pt x="2096" y="547"/>
                </a:lnTo>
                <a:lnTo>
                  <a:pt x="2044" y="546"/>
                </a:lnTo>
                <a:close/>
                <a:moveTo>
                  <a:pt x="1748" y="0"/>
                </a:moveTo>
                <a:lnTo>
                  <a:pt x="1855" y="3"/>
                </a:lnTo>
                <a:lnTo>
                  <a:pt x="1960" y="13"/>
                </a:lnTo>
                <a:lnTo>
                  <a:pt x="2064" y="29"/>
                </a:lnTo>
                <a:lnTo>
                  <a:pt x="2165" y="50"/>
                </a:lnTo>
                <a:lnTo>
                  <a:pt x="2263" y="76"/>
                </a:lnTo>
                <a:lnTo>
                  <a:pt x="2360" y="109"/>
                </a:lnTo>
                <a:lnTo>
                  <a:pt x="2453" y="147"/>
                </a:lnTo>
                <a:lnTo>
                  <a:pt x="2544" y="191"/>
                </a:lnTo>
                <a:lnTo>
                  <a:pt x="2632" y="239"/>
                </a:lnTo>
                <a:lnTo>
                  <a:pt x="2717" y="292"/>
                </a:lnTo>
                <a:lnTo>
                  <a:pt x="2798" y="350"/>
                </a:lnTo>
                <a:lnTo>
                  <a:pt x="2876" y="411"/>
                </a:lnTo>
                <a:lnTo>
                  <a:pt x="2950" y="478"/>
                </a:lnTo>
                <a:lnTo>
                  <a:pt x="3020" y="548"/>
                </a:lnTo>
                <a:lnTo>
                  <a:pt x="3087" y="622"/>
                </a:lnTo>
                <a:lnTo>
                  <a:pt x="3148" y="700"/>
                </a:lnTo>
                <a:lnTo>
                  <a:pt x="3207" y="781"/>
                </a:lnTo>
                <a:lnTo>
                  <a:pt x="3260" y="866"/>
                </a:lnTo>
                <a:lnTo>
                  <a:pt x="3307" y="954"/>
                </a:lnTo>
                <a:lnTo>
                  <a:pt x="3351" y="1045"/>
                </a:lnTo>
                <a:lnTo>
                  <a:pt x="3389" y="1138"/>
                </a:lnTo>
                <a:lnTo>
                  <a:pt x="3422" y="1235"/>
                </a:lnTo>
                <a:lnTo>
                  <a:pt x="3448" y="1333"/>
                </a:lnTo>
                <a:lnTo>
                  <a:pt x="3469" y="1434"/>
                </a:lnTo>
                <a:lnTo>
                  <a:pt x="3485" y="1538"/>
                </a:lnTo>
                <a:lnTo>
                  <a:pt x="3495" y="1643"/>
                </a:lnTo>
                <a:lnTo>
                  <a:pt x="3498" y="1748"/>
                </a:lnTo>
                <a:lnTo>
                  <a:pt x="3498" y="1750"/>
                </a:lnTo>
                <a:lnTo>
                  <a:pt x="3495" y="1856"/>
                </a:lnTo>
                <a:lnTo>
                  <a:pt x="3485" y="1960"/>
                </a:lnTo>
                <a:lnTo>
                  <a:pt x="3469" y="2064"/>
                </a:lnTo>
                <a:lnTo>
                  <a:pt x="3448" y="2165"/>
                </a:lnTo>
                <a:lnTo>
                  <a:pt x="3422" y="2263"/>
                </a:lnTo>
                <a:lnTo>
                  <a:pt x="3389" y="2360"/>
                </a:lnTo>
                <a:lnTo>
                  <a:pt x="3351" y="2453"/>
                </a:lnTo>
                <a:lnTo>
                  <a:pt x="3307" y="2544"/>
                </a:lnTo>
                <a:lnTo>
                  <a:pt x="3260" y="2632"/>
                </a:lnTo>
                <a:lnTo>
                  <a:pt x="3207" y="2717"/>
                </a:lnTo>
                <a:lnTo>
                  <a:pt x="3148" y="2798"/>
                </a:lnTo>
                <a:lnTo>
                  <a:pt x="3087" y="2876"/>
                </a:lnTo>
                <a:lnTo>
                  <a:pt x="3020" y="2950"/>
                </a:lnTo>
                <a:lnTo>
                  <a:pt x="2950" y="3020"/>
                </a:lnTo>
                <a:lnTo>
                  <a:pt x="2876" y="3087"/>
                </a:lnTo>
                <a:lnTo>
                  <a:pt x="2798" y="3148"/>
                </a:lnTo>
                <a:lnTo>
                  <a:pt x="2717" y="3207"/>
                </a:lnTo>
                <a:lnTo>
                  <a:pt x="2632" y="3260"/>
                </a:lnTo>
                <a:lnTo>
                  <a:pt x="2544" y="3307"/>
                </a:lnTo>
                <a:lnTo>
                  <a:pt x="2453" y="3351"/>
                </a:lnTo>
                <a:lnTo>
                  <a:pt x="2360" y="3389"/>
                </a:lnTo>
                <a:lnTo>
                  <a:pt x="2263" y="3422"/>
                </a:lnTo>
                <a:lnTo>
                  <a:pt x="2165" y="3448"/>
                </a:lnTo>
                <a:lnTo>
                  <a:pt x="2064" y="3469"/>
                </a:lnTo>
                <a:lnTo>
                  <a:pt x="1960" y="3485"/>
                </a:lnTo>
                <a:lnTo>
                  <a:pt x="1855" y="3495"/>
                </a:lnTo>
                <a:lnTo>
                  <a:pt x="1750" y="3498"/>
                </a:lnTo>
                <a:lnTo>
                  <a:pt x="1748" y="3498"/>
                </a:lnTo>
                <a:lnTo>
                  <a:pt x="1642" y="3495"/>
                </a:lnTo>
                <a:lnTo>
                  <a:pt x="1538" y="3485"/>
                </a:lnTo>
                <a:lnTo>
                  <a:pt x="1434" y="3469"/>
                </a:lnTo>
                <a:lnTo>
                  <a:pt x="1333" y="3448"/>
                </a:lnTo>
                <a:lnTo>
                  <a:pt x="1235" y="3422"/>
                </a:lnTo>
                <a:lnTo>
                  <a:pt x="1138" y="3389"/>
                </a:lnTo>
                <a:lnTo>
                  <a:pt x="1045" y="3351"/>
                </a:lnTo>
                <a:lnTo>
                  <a:pt x="954" y="3307"/>
                </a:lnTo>
                <a:lnTo>
                  <a:pt x="866" y="3260"/>
                </a:lnTo>
                <a:lnTo>
                  <a:pt x="781" y="3207"/>
                </a:lnTo>
                <a:lnTo>
                  <a:pt x="700" y="3148"/>
                </a:lnTo>
                <a:lnTo>
                  <a:pt x="622" y="3087"/>
                </a:lnTo>
                <a:lnTo>
                  <a:pt x="548" y="3020"/>
                </a:lnTo>
                <a:lnTo>
                  <a:pt x="478" y="2950"/>
                </a:lnTo>
                <a:lnTo>
                  <a:pt x="411" y="2876"/>
                </a:lnTo>
                <a:lnTo>
                  <a:pt x="350" y="2798"/>
                </a:lnTo>
                <a:lnTo>
                  <a:pt x="292" y="2717"/>
                </a:lnTo>
                <a:lnTo>
                  <a:pt x="239" y="2632"/>
                </a:lnTo>
                <a:lnTo>
                  <a:pt x="191" y="2544"/>
                </a:lnTo>
                <a:lnTo>
                  <a:pt x="147" y="2453"/>
                </a:lnTo>
                <a:lnTo>
                  <a:pt x="109" y="2360"/>
                </a:lnTo>
                <a:lnTo>
                  <a:pt x="76" y="2263"/>
                </a:lnTo>
                <a:lnTo>
                  <a:pt x="50" y="2165"/>
                </a:lnTo>
                <a:lnTo>
                  <a:pt x="29" y="2064"/>
                </a:lnTo>
                <a:lnTo>
                  <a:pt x="13" y="1960"/>
                </a:lnTo>
                <a:lnTo>
                  <a:pt x="3" y="1856"/>
                </a:lnTo>
                <a:lnTo>
                  <a:pt x="0" y="1749"/>
                </a:lnTo>
                <a:lnTo>
                  <a:pt x="3" y="1643"/>
                </a:lnTo>
                <a:lnTo>
                  <a:pt x="13" y="1538"/>
                </a:lnTo>
                <a:lnTo>
                  <a:pt x="29" y="1434"/>
                </a:lnTo>
                <a:lnTo>
                  <a:pt x="50" y="1333"/>
                </a:lnTo>
                <a:lnTo>
                  <a:pt x="76" y="1235"/>
                </a:lnTo>
                <a:lnTo>
                  <a:pt x="109" y="1138"/>
                </a:lnTo>
                <a:lnTo>
                  <a:pt x="147" y="1045"/>
                </a:lnTo>
                <a:lnTo>
                  <a:pt x="191" y="954"/>
                </a:lnTo>
                <a:lnTo>
                  <a:pt x="239" y="866"/>
                </a:lnTo>
                <a:lnTo>
                  <a:pt x="292" y="781"/>
                </a:lnTo>
                <a:lnTo>
                  <a:pt x="350" y="700"/>
                </a:lnTo>
                <a:lnTo>
                  <a:pt x="411" y="622"/>
                </a:lnTo>
                <a:lnTo>
                  <a:pt x="478" y="548"/>
                </a:lnTo>
                <a:lnTo>
                  <a:pt x="548" y="478"/>
                </a:lnTo>
                <a:lnTo>
                  <a:pt x="622" y="411"/>
                </a:lnTo>
                <a:lnTo>
                  <a:pt x="700" y="350"/>
                </a:lnTo>
                <a:lnTo>
                  <a:pt x="781" y="292"/>
                </a:lnTo>
                <a:lnTo>
                  <a:pt x="866" y="239"/>
                </a:lnTo>
                <a:lnTo>
                  <a:pt x="954" y="191"/>
                </a:lnTo>
                <a:lnTo>
                  <a:pt x="1045" y="147"/>
                </a:lnTo>
                <a:lnTo>
                  <a:pt x="1138" y="109"/>
                </a:lnTo>
                <a:lnTo>
                  <a:pt x="1235" y="76"/>
                </a:lnTo>
                <a:lnTo>
                  <a:pt x="1333" y="50"/>
                </a:lnTo>
                <a:lnTo>
                  <a:pt x="1434" y="29"/>
                </a:lnTo>
                <a:lnTo>
                  <a:pt x="1538" y="13"/>
                </a:lnTo>
                <a:lnTo>
                  <a:pt x="1642" y="3"/>
                </a:lnTo>
                <a:lnTo>
                  <a:pt x="174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0" name="Freeform 21"/>
          <p:cNvSpPr>
            <a:spLocks noChangeAspect="1" noEditPoints="1"/>
          </p:cNvSpPr>
          <p:nvPr/>
        </p:nvSpPr>
        <p:spPr bwMode="auto">
          <a:xfrm>
            <a:off x="1744235" y="2274173"/>
            <a:ext cx="324000" cy="324000"/>
          </a:xfrm>
          <a:custGeom>
            <a:avLst/>
            <a:gdLst>
              <a:gd name="T0" fmla="*/ 1264 w 3498"/>
              <a:gd name="T1" fmla="*/ 1451 h 3498"/>
              <a:gd name="T2" fmla="*/ 2114 w 3498"/>
              <a:gd name="T3" fmla="*/ 1432 h 3498"/>
              <a:gd name="T4" fmla="*/ 1983 w 3498"/>
              <a:gd name="T5" fmla="*/ 1482 h 3498"/>
              <a:gd name="T6" fmla="*/ 1897 w 3498"/>
              <a:gd name="T7" fmla="*/ 1557 h 3498"/>
              <a:gd name="T8" fmla="*/ 1855 w 3498"/>
              <a:gd name="T9" fmla="*/ 1451 h 3498"/>
              <a:gd name="T10" fmla="*/ 1474 w 3498"/>
              <a:gd name="T11" fmla="*/ 1458 h 3498"/>
              <a:gd name="T12" fmla="*/ 1476 w 3498"/>
              <a:gd name="T13" fmla="*/ 1491 h 3498"/>
              <a:gd name="T14" fmla="*/ 1477 w 3498"/>
              <a:gd name="T15" fmla="*/ 1572 h 3498"/>
              <a:gd name="T16" fmla="*/ 1477 w 3498"/>
              <a:gd name="T17" fmla="*/ 1717 h 3498"/>
              <a:gd name="T18" fmla="*/ 1477 w 3498"/>
              <a:gd name="T19" fmla="*/ 1945 h 3498"/>
              <a:gd name="T20" fmla="*/ 1476 w 3498"/>
              <a:gd name="T21" fmla="*/ 2275 h 3498"/>
              <a:gd name="T22" fmla="*/ 1855 w 3498"/>
              <a:gd name="T23" fmla="*/ 2598 h 3498"/>
              <a:gd name="T24" fmla="*/ 1862 w 3498"/>
              <a:gd name="T25" fmla="*/ 1886 h 3498"/>
              <a:gd name="T26" fmla="*/ 1908 w 3498"/>
              <a:gd name="T27" fmla="*/ 1799 h 3498"/>
              <a:gd name="T28" fmla="*/ 2000 w 3498"/>
              <a:gd name="T29" fmla="*/ 1735 h 3498"/>
              <a:gd name="T30" fmla="*/ 2126 w 3498"/>
              <a:gd name="T31" fmla="*/ 1734 h 3498"/>
              <a:gd name="T32" fmla="*/ 2212 w 3498"/>
              <a:gd name="T33" fmla="*/ 1798 h 3498"/>
              <a:gd name="T34" fmla="*/ 2253 w 3498"/>
              <a:gd name="T35" fmla="*/ 1912 h 3498"/>
              <a:gd name="T36" fmla="*/ 2638 w 3498"/>
              <a:gd name="T37" fmla="*/ 2598 h 3498"/>
              <a:gd name="T38" fmla="*/ 2621 w 3498"/>
              <a:gd name="T39" fmla="*/ 1772 h 3498"/>
              <a:gd name="T40" fmla="*/ 2551 w 3498"/>
              <a:gd name="T41" fmla="*/ 1601 h 3498"/>
              <a:gd name="T42" fmla="*/ 2436 w 3498"/>
              <a:gd name="T43" fmla="*/ 1487 h 3498"/>
              <a:gd name="T44" fmla="*/ 2285 w 3498"/>
              <a:gd name="T45" fmla="*/ 1432 h 3498"/>
              <a:gd name="T46" fmla="*/ 1038 w 3498"/>
              <a:gd name="T47" fmla="*/ 902 h 3498"/>
              <a:gd name="T48" fmla="*/ 919 w 3498"/>
              <a:gd name="T49" fmla="*/ 956 h 3498"/>
              <a:gd name="T50" fmla="*/ 863 w 3498"/>
              <a:gd name="T51" fmla="*/ 1064 h 3498"/>
              <a:gd name="T52" fmla="*/ 881 w 3498"/>
              <a:gd name="T53" fmla="*/ 1188 h 3498"/>
              <a:gd name="T54" fmla="*/ 969 w 3498"/>
              <a:gd name="T55" fmla="*/ 1273 h 3498"/>
              <a:gd name="T56" fmla="*/ 1073 w 3498"/>
              <a:gd name="T57" fmla="*/ 1295 h 3498"/>
              <a:gd name="T58" fmla="*/ 1206 w 3498"/>
              <a:gd name="T59" fmla="*/ 1257 h 3498"/>
              <a:gd name="T60" fmla="*/ 1279 w 3498"/>
              <a:gd name="T61" fmla="*/ 1161 h 3498"/>
              <a:gd name="T62" fmla="*/ 1278 w 3498"/>
              <a:gd name="T63" fmla="*/ 1034 h 3498"/>
              <a:gd name="T64" fmla="*/ 1206 w 3498"/>
              <a:gd name="T65" fmla="*/ 937 h 3498"/>
              <a:gd name="T66" fmla="*/ 1076 w 3498"/>
              <a:gd name="T67" fmla="*/ 900 h 3498"/>
              <a:gd name="T68" fmla="*/ 2064 w 3498"/>
              <a:gd name="T69" fmla="*/ 29 h 3498"/>
              <a:gd name="T70" fmla="*/ 2453 w 3498"/>
              <a:gd name="T71" fmla="*/ 147 h 3498"/>
              <a:gd name="T72" fmla="*/ 2798 w 3498"/>
              <a:gd name="T73" fmla="*/ 350 h 3498"/>
              <a:gd name="T74" fmla="*/ 3087 w 3498"/>
              <a:gd name="T75" fmla="*/ 622 h 3498"/>
              <a:gd name="T76" fmla="*/ 3307 w 3498"/>
              <a:gd name="T77" fmla="*/ 954 h 3498"/>
              <a:gd name="T78" fmla="*/ 3448 w 3498"/>
              <a:gd name="T79" fmla="*/ 1333 h 3498"/>
              <a:gd name="T80" fmla="*/ 3498 w 3498"/>
              <a:gd name="T81" fmla="*/ 1748 h 3498"/>
              <a:gd name="T82" fmla="*/ 3469 w 3498"/>
              <a:gd name="T83" fmla="*/ 2064 h 3498"/>
              <a:gd name="T84" fmla="*/ 3351 w 3498"/>
              <a:gd name="T85" fmla="*/ 2453 h 3498"/>
              <a:gd name="T86" fmla="*/ 3148 w 3498"/>
              <a:gd name="T87" fmla="*/ 2798 h 3498"/>
              <a:gd name="T88" fmla="*/ 2876 w 3498"/>
              <a:gd name="T89" fmla="*/ 3087 h 3498"/>
              <a:gd name="T90" fmla="*/ 2544 w 3498"/>
              <a:gd name="T91" fmla="*/ 3307 h 3498"/>
              <a:gd name="T92" fmla="*/ 2165 w 3498"/>
              <a:gd name="T93" fmla="*/ 3448 h 3498"/>
              <a:gd name="T94" fmla="*/ 1750 w 3498"/>
              <a:gd name="T95" fmla="*/ 3498 h 3498"/>
              <a:gd name="T96" fmla="*/ 1434 w 3498"/>
              <a:gd name="T97" fmla="*/ 3469 h 3498"/>
              <a:gd name="T98" fmla="*/ 1045 w 3498"/>
              <a:gd name="T99" fmla="*/ 3351 h 3498"/>
              <a:gd name="T100" fmla="*/ 700 w 3498"/>
              <a:gd name="T101" fmla="*/ 3148 h 3498"/>
              <a:gd name="T102" fmla="*/ 411 w 3498"/>
              <a:gd name="T103" fmla="*/ 2876 h 3498"/>
              <a:gd name="T104" fmla="*/ 191 w 3498"/>
              <a:gd name="T105" fmla="*/ 2544 h 3498"/>
              <a:gd name="T106" fmla="*/ 50 w 3498"/>
              <a:gd name="T107" fmla="*/ 2165 h 3498"/>
              <a:gd name="T108" fmla="*/ 0 w 3498"/>
              <a:gd name="T109" fmla="*/ 1749 h 3498"/>
              <a:gd name="T110" fmla="*/ 50 w 3498"/>
              <a:gd name="T111" fmla="*/ 1333 h 3498"/>
              <a:gd name="T112" fmla="*/ 191 w 3498"/>
              <a:gd name="T113" fmla="*/ 954 h 3498"/>
              <a:gd name="T114" fmla="*/ 411 w 3498"/>
              <a:gd name="T115" fmla="*/ 622 h 3498"/>
              <a:gd name="T116" fmla="*/ 700 w 3498"/>
              <a:gd name="T117" fmla="*/ 350 h 3498"/>
              <a:gd name="T118" fmla="*/ 1045 w 3498"/>
              <a:gd name="T119" fmla="*/ 147 h 3498"/>
              <a:gd name="T120" fmla="*/ 1434 w 3498"/>
              <a:gd name="T121" fmla="*/ 29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8" h="3498">
                <a:moveTo>
                  <a:pt x="882" y="1451"/>
                </a:moveTo>
                <a:lnTo>
                  <a:pt x="882" y="2598"/>
                </a:lnTo>
                <a:lnTo>
                  <a:pt x="1264" y="2598"/>
                </a:lnTo>
                <a:lnTo>
                  <a:pt x="1264" y="1451"/>
                </a:lnTo>
                <a:lnTo>
                  <a:pt x="882" y="1451"/>
                </a:lnTo>
                <a:close/>
                <a:moveTo>
                  <a:pt x="2200" y="1425"/>
                </a:moveTo>
                <a:lnTo>
                  <a:pt x="2154" y="1427"/>
                </a:lnTo>
                <a:lnTo>
                  <a:pt x="2114" y="1432"/>
                </a:lnTo>
                <a:lnTo>
                  <a:pt x="2075" y="1441"/>
                </a:lnTo>
                <a:lnTo>
                  <a:pt x="2042" y="1452"/>
                </a:lnTo>
                <a:lnTo>
                  <a:pt x="2011" y="1466"/>
                </a:lnTo>
                <a:lnTo>
                  <a:pt x="1983" y="1482"/>
                </a:lnTo>
                <a:lnTo>
                  <a:pt x="1958" y="1499"/>
                </a:lnTo>
                <a:lnTo>
                  <a:pt x="1936" y="1518"/>
                </a:lnTo>
                <a:lnTo>
                  <a:pt x="1915" y="1537"/>
                </a:lnTo>
                <a:lnTo>
                  <a:pt x="1897" y="1557"/>
                </a:lnTo>
                <a:lnTo>
                  <a:pt x="1882" y="1577"/>
                </a:lnTo>
                <a:lnTo>
                  <a:pt x="1868" y="1596"/>
                </a:lnTo>
                <a:lnTo>
                  <a:pt x="1855" y="1614"/>
                </a:lnTo>
                <a:lnTo>
                  <a:pt x="1855" y="1451"/>
                </a:lnTo>
                <a:lnTo>
                  <a:pt x="1474" y="1451"/>
                </a:lnTo>
                <a:lnTo>
                  <a:pt x="1474" y="1452"/>
                </a:lnTo>
                <a:lnTo>
                  <a:pt x="1474" y="1454"/>
                </a:lnTo>
                <a:lnTo>
                  <a:pt x="1474" y="1458"/>
                </a:lnTo>
                <a:lnTo>
                  <a:pt x="1474" y="1462"/>
                </a:lnTo>
                <a:lnTo>
                  <a:pt x="1476" y="1469"/>
                </a:lnTo>
                <a:lnTo>
                  <a:pt x="1476" y="1479"/>
                </a:lnTo>
                <a:lnTo>
                  <a:pt x="1476" y="1491"/>
                </a:lnTo>
                <a:lnTo>
                  <a:pt x="1476" y="1506"/>
                </a:lnTo>
                <a:lnTo>
                  <a:pt x="1476" y="1524"/>
                </a:lnTo>
                <a:lnTo>
                  <a:pt x="1476" y="1547"/>
                </a:lnTo>
                <a:lnTo>
                  <a:pt x="1477" y="1572"/>
                </a:lnTo>
                <a:lnTo>
                  <a:pt x="1477" y="1602"/>
                </a:lnTo>
                <a:lnTo>
                  <a:pt x="1477" y="1636"/>
                </a:lnTo>
                <a:lnTo>
                  <a:pt x="1477" y="1674"/>
                </a:lnTo>
                <a:lnTo>
                  <a:pt x="1477" y="1717"/>
                </a:lnTo>
                <a:lnTo>
                  <a:pt x="1477" y="1766"/>
                </a:lnTo>
                <a:lnTo>
                  <a:pt x="1477" y="1820"/>
                </a:lnTo>
                <a:lnTo>
                  <a:pt x="1477" y="1879"/>
                </a:lnTo>
                <a:lnTo>
                  <a:pt x="1477" y="1945"/>
                </a:lnTo>
                <a:lnTo>
                  <a:pt x="1477" y="2018"/>
                </a:lnTo>
                <a:lnTo>
                  <a:pt x="1477" y="2097"/>
                </a:lnTo>
                <a:lnTo>
                  <a:pt x="1477" y="2181"/>
                </a:lnTo>
                <a:lnTo>
                  <a:pt x="1476" y="2275"/>
                </a:lnTo>
                <a:lnTo>
                  <a:pt x="1476" y="2374"/>
                </a:lnTo>
                <a:lnTo>
                  <a:pt x="1476" y="2483"/>
                </a:lnTo>
                <a:lnTo>
                  <a:pt x="1474" y="2598"/>
                </a:lnTo>
                <a:lnTo>
                  <a:pt x="1855" y="2598"/>
                </a:lnTo>
                <a:lnTo>
                  <a:pt x="1855" y="1959"/>
                </a:lnTo>
                <a:lnTo>
                  <a:pt x="1856" y="1932"/>
                </a:lnTo>
                <a:lnTo>
                  <a:pt x="1858" y="1908"/>
                </a:lnTo>
                <a:lnTo>
                  <a:pt x="1862" y="1886"/>
                </a:lnTo>
                <a:lnTo>
                  <a:pt x="1868" y="1865"/>
                </a:lnTo>
                <a:lnTo>
                  <a:pt x="1878" y="1842"/>
                </a:lnTo>
                <a:lnTo>
                  <a:pt x="1892" y="1820"/>
                </a:lnTo>
                <a:lnTo>
                  <a:pt x="1908" y="1799"/>
                </a:lnTo>
                <a:lnTo>
                  <a:pt x="1926" y="1779"/>
                </a:lnTo>
                <a:lnTo>
                  <a:pt x="1948" y="1762"/>
                </a:lnTo>
                <a:lnTo>
                  <a:pt x="1973" y="1747"/>
                </a:lnTo>
                <a:lnTo>
                  <a:pt x="2000" y="1735"/>
                </a:lnTo>
                <a:lnTo>
                  <a:pt x="2030" y="1729"/>
                </a:lnTo>
                <a:lnTo>
                  <a:pt x="2064" y="1726"/>
                </a:lnTo>
                <a:lnTo>
                  <a:pt x="2097" y="1728"/>
                </a:lnTo>
                <a:lnTo>
                  <a:pt x="2126" y="1734"/>
                </a:lnTo>
                <a:lnTo>
                  <a:pt x="2152" y="1745"/>
                </a:lnTo>
                <a:lnTo>
                  <a:pt x="2175" y="1759"/>
                </a:lnTo>
                <a:lnTo>
                  <a:pt x="2195" y="1777"/>
                </a:lnTo>
                <a:lnTo>
                  <a:pt x="2212" y="1798"/>
                </a:lnTo>
                <a:lnTo>
                  <a:pt x="2226" y="1822"/>
                </a:lnTo>
                <a:lnTo>
                  <a:pt x="2238" y="1850"/>
                </a:lnTo>
                <a:lnTo>
                  <a:pt x="2246" y="1879"/>
                </a:lnTo>
                <a:lnTo>
                  <a:pt x="2253" y="1912"/>
                </a:lnTo>
                <a:lnTo>
                  <a:pt x="2256" y="1947"/>
                </a:lnTo>
                <a:lnTo>
                  <a:pt x="2257" y="1985"/>
                </a:lnTo>
                <a:lnTo>
                  <a:pt x="2257" y="2598"/>
                </a:lnTo>
                <a:lnTo>
                  <a:pt x="2638" y="2598"/>
                </a:lnTo>
                <a:lnTo>
                  <a:pt x="2638" y="1941"/>
                </a:lnTo>
                <a:lnTo>
                  <a:pt x="2636" y="1880"/>
                </a:lnTo>
                <a:lnTo>
                  <a:pt x="2630" y="1824"/>
                </a:lnTo>
                <a:lnTo>
                  <a:pt x="2621" y="1772"/>
                </a:lnTo>
                <a:lnTo>
                  <a:pt x="2609" y="1724"/>
                </a:lnTo>
                <a:lnTo>
                  <a:pt x="2593" y="1679"/>
                </a:lnTo>
                <a:lnTo>
                  <a:pt x="2574" y="1638"/>
                </a:lnTo>
                <a:lnTo>
                  <a:pt x="2551" y="1601"/>
                </a:lnTo>
                <a:lnTo>
                  <a:pt x="2526" y="1567"/>
                </a:lnTo>
                <a:lnTo>
                  <a:pt x="2498" y="1537"/>
                </a:lnTo>
                <a:lnTo>
                  <a:pt x="2469" y="1511"/>
                </a:lnTo>
                <a:lnTo>
                  <a:pt x="2436" y="1487"/>
                </a:lnTo>
                <a:lnTo>
                  <a:pt x="2401" y="1468"/>
                </a:lnTo>
                <a:lnTo>
                  <a:pt x="2364" y="1452"/>
                </a:lnTo>
                <a:lnTo>
                  <a:pt x="2326" y="1441"/>
                </a:lnTo>
                <a:lnTo>
                  <a:pt x="2285" y="1432"/>
                </a:lnTo>
                <a:lnTo>
                  <a:pt x="2243" y="1427"/>
                </a:lnTo>
                <a:lnTo>
                  <a:pt x="2200" y="1425"/>
                </a:lnTo>
                <a:close/>
                <a:moveTo>
                  <a:pt x="1076" y="900"/>
                </a:moveTo>
                <a:lnTo>
                  <a:pt x="1038" y="902"/>
                </a:lnTo>
                <a:lnTo>
                  <a:pt x="1003" y="909"/>
                </a:lnTo>
                <a:lnTo>
                  <a:pt x="972" y="921"/>
                </a:lnTo>
                <a:lnTo>
                  <a:pt x="943" y="937"/>
                </a:lnTo>
                <a:lnTo>
                  <a:pt x="919" y="956"/>
                </a:lnTo>
                <a:lnTo>
                  <a:pt x="899" y="979"/>
                </a:lnTo>
                <a:lnTo>
                  <a:pt x="882" y="1005"/>
                </a:lnTo>
                <a:lnTo>
                  <a:pt x="870" y="1034"/>
                </a:lnTo>
                <a:lnTo>
                  <a:pt x="863" y="1064"/>
                </a:lnTo>
                <a:lnTo>
                  <a:pt x="860" y="1097"/>
                </a:lnTo>
                <a:lnTo>
                  <a:pt x="863" y="1130"/>
                </a:lnTo>
                <a:lnTo>
                  <a:pt x="869" y="1161"/>
                </a:lnTo>
                <a:lnTo>
                  <a:pt x="881" y="1188"/>
                </a:lnTo>
                <a:lnTo>
                  <a:pt x="897" y="1215"/>
                </a:lnTo>
                <a:lnTo>
                  <a:pt x="917" y="1238"/>
                </a:lnTo>
                <a:lnTo>
                  <a:pt x="941" y="1257"/>
                </a:lnTo>
                <a:lnTo>
                  <a:pt x="969" y="1273"/>
                </a:lnTo>
                <a:lnTo>
                  <a:pt x="1000" y="1286"/>
                </a:lnTo>
                <a:lnTo>
                  <a:pt x="1034" y="1293"/>
                </a:lnTo>
                <a:lnTo>
                  <a:pt x="1071" y="1295"/>
                </a:lnTo>
                <a:lnTo>
                  <a:pt x="1073" y="1295"/>
                </a:lnTo>
                <a:lnTo>
                  <a:pt x="1112" y="1293"/>
                </a:lnTo>
                <a:lnTo>
                  <a:pt x="1147" y="1286"/>
                </a:lnTo>
                <a:lnTo>
                  <a:pt x="1179" y="1273"/>
                </a:lnTo>
                <a:lnTo>
                  <a:pt x="1206" y="1257"/>
                </a:lnTo>
                <a:lnTo>
                  <a:pt x="1231" y="1238"/>
                </a:lnTo>
                <a:lnTo>
                  <a:pt x="1252" y="1215"/>
                </a:lnTo>
                <a:lnTo>
                  <a:pt x="1268" y="1188"/>
                </a:lnTo>
                <a:lnTo>
                  <a:pt x="1279" y="1161"/>
                </a:lnTo>
                <a:lnTo>
                  <a:pt x="1286" y="1130"/>
                </a:lnTo>
                <a:lnTo>
                  <a:pt x="1288" y="1097"/>
                </a:lnTo>
                <a:lnTo>
                  <a:pt x="1286" y="1064"/>
                </a:lnTo>
                <a:lnTo>
                  <a:pt x="1278" y="1034"/>
                </a:lnTo>
                <a:lnTo>
                  <a:pt x="1267" y="1005"/>
                </a:lnTo>
                <a:lnTo>
                  <a:pt x="1251" y="979"/>
                </a:lnTo>
                <a:lnTo>
                  <a:pt x="1231" y="956"/>
                </a:lnTo>
                <a:lnTo>
                  <a:pt x="1206" y="937"/>
                </a:lnTo>
                <a:lnTo>
                  <a:pt x="1179" y="921"/>
                </a:lnTo>
                <a:lnTo>
                  <a:pt x="1148" y="909"/>
                </a:lnTo>
                <a:lnTo>
                  <a:pt x="1113" y="902"/>
                </a:lnTo>
                <a:lnTo>
                  <a:pt x="1076" y="900"/>
                </a:lnTo>
                <a:close/>
                <a:moveTo>
                  <a:pt x="1748" y="0"/>
                </a:moveTo>
                <a:lnTo>
                  <a:pt x="1855" y="3"/>
                </a:lnTo>
                <a:lnTo>
                  <a:pt x="1960" y="13"/>
                </a:lnTo>
                <a:lnTo>
                  <a:pt x="2064" y="29"/>
                </a:lnTo>
                <a:lnTo>
                  <a:pt x="2165" y="50"/>
                </a:lnTo>
                <a:lnTo>
                  <a:pt x="2263" y="76"/>
                </a:lnTo>
                <a:lnTo>
                  <a:pt x="2360" y="109"/>
                </a:lnTo>
                <a:lnTo>
                  <a:pt x="2453" y="147"/>
                </a:lnTo>
                <a:lnTo>
                  <a:pt x="2544" y="191"/>
                </a:lnTo>
                <a:lnTo>
                  <a:pt x="2632" y="239"/>
                </a:lnTo>
                <a:lnTo>
                  <a:pt x="2717" y="292"/>
                </a:lnTo>
                <a:lnTo>
                  <a:pt x="2798" y="350"/>
                </a:lnTo>
                <a:lnTo>
                  <a:pt x="2876" y="411"/>
                </a:lnTo>
                <a:lnTo>
                  <a:pt x="2950" y="478"/>
                </a:lnTo>
                <a:lnTo>
                  <a:pt x="3020" y="548"/>
                </a:lnTo>
                <a:lnTo>
                  <a:pt x="3087" y="622"/>
                </a:lnTo>
                <a:lnTo>
                  <a:pt x="3148" y="700"/>
                </a:lnTo>
                <a:lnTo>
                  <a:pt x="3207" y="781"/>
                </a:lnTo>
                <a:lnTo>
                  <a:pt x="3260" y="866"/>
                </a:lnTo>
                <a:lnTo>
                  <a:pt x="3307" y="954"/>
                </a:lnTo>
                <a:lnTo>
                  <a:pt x="3351" y="1045"/>
                </a:lnTo>
                <a:lnTo>
                  <a:pt x="3389" y="1138"/>
                </a:lnTo>
                <a:lnTo>
                  <a:pt x="3422" y="1235"/>
                </a:lnTo>
                <a:lnTo>
                  <a:pt x="3448" y="1333"/>
                </a:lnTo>
                <a:lnTo>
                  <a:pt x="3469" y="1434"/>
                </a:lnTo>
                <a:lnTo>
                  <a:pt x="3485" y="1538"/>
                </a:lnTo>
                <a:lnTo>
                  <a:pt x="3495" y="1643"/>
                </a:lnTo>
                <a:lnTo>
                  <a:pt x="3498" y="1748"/>
                </a:lnTo>
                <a:lnTo>
                  <a:pt x="3498" y="1750"/>
                </a:lnTo>
                <a:lnTo>
                  <a:pt x="3495" y="1856"/>
                </a:lnTo>
                <a:lnTo>
                  <a:pt x="3485" y="1960"/>
                </a:lnTo>
                <a:lnTo>
                  <a:pt x="3469" y="2064"/>
                </a:lnTo>
                <a:lnTo>
                  <a:pt x="3448" y="2165"/>
                </a:lnTo>
                <a:lnTo>
                  <a:pt x="3422" y="2263"/>
                </a:lnTo>
                <a:lnTo>
                  <a:pt x="3389" y="2360"/>
                </a:lnTo>
                <a:lnTo>
                  <a:pt x="3351" y="2453"/>
                </a:lnTo>
                <a:lnTo>
                  <a:pt x="3307" y="2544"/>
                </a:lnTo>
                <a:lnTo>
                  <a:pt x="3260" y="2632"/>
                </a:lnTo>
                <a:lnTo>
                  <a:pt x="3207" y="2717"/>
                </a:lnTo>
                <a:lnTo>
                  <a:pt x="3148" y="2798"/>
                </a:lnTo>
                <a:lnTo>
                  <a:pt x="3087" y="2876"/>
                </a:lnTo>
                <a:lnTo>
                  <a:pt x="3020" y="2950"/>
                </a:lnTo>
                <a:lnTo>
                  <a:pt x="2950" y="3020"/>
                </a:lnTo>
                <a:lnTo>
                  <a:pt x="2876" y="3087"/>
                </a:lnTo>
                <a:lnTo>
                  <a:pt x="2798" y="3148"/>
                </a:lnTo>
                <a:lnTo>
                  <a:pt x="2717" y="3207"/>
                </a:lnTo>
                <a:lnTo>
                  <a:pt x="2632" y="3260"/>
                </a:lnTo>
                <a:lnTo>
                  <a:pt x="2544" y="3307"/>
                </a:lnTo>
                <a:lnTo>
                  <a:pt x="2453" y="3351"/>
                </a:lnTo>
                <a:lnTo>
                  <a:pt x="2360" y="3389"/>
                </a:lnTo>
                <a:lnTo>
                  <a:pt x="2263" y="3422"/>
                </a:lnTo>
                <a:lnTo>
                  <a:pt x="2165" y="3448"/>
                </a:lnTo>
                <a:lnTo>
                  <a:pt x="2064" y="3469"/>
                </a:lnTo>
                <a:lnTo>
                  <a:pt x="1960" y="3485"/>
                </a:lnTo>
                <a:lnTo>
                  <a:pt x="1855" y="3495"/>
                </a:lnTo>
                <a:lnTo>
                  <a:pt x="1750" y="3498"/>
                </a:lnTo>
                <a:lnTo>
                  <a:pt x="1748" y="3498"/>
                </a:lnTo>
                <a:lnTo>
                  <a:pt x="1642" y="3495"/>
                </a:lnTo>
                <a:lnTo>
                  <a:pt x="1538" y="3485"/>
                </a:lnTo>
                <a:lnTo>
                  <a:pt x="1434" y="3469"/>
                </a:lnTo>
                <a:lnTo>
                  <a:pt x="1333" y="3448"/>
                </a:lnTo>
                <a:lnTo>
                  <a:pt x="1235" y="3422"/>
                </a:lnTo>
                <a:lnTo>
                  <a:pt x="1138" y="3389"/>
                </a:lnTo>
                <a:lnTo>
                  <a:pt x="1045" y="3351"/>
                </a:lnTo>
                <a:lnTo>
                  <a:pt x="954" y="3307"/>
                </a:lnTo>
                <a:lnTo>
                  <a:pt x="866" y="3260"/>
                </a:lnTo>
                <a:lnTo>
                  <a:pt x="781" y="3207"/>
                </a:lnTo>
                <a:lnTo>
                  <a:pt x="700" y="3148"/>
                </a:lnTo>
                <a:lnTo>
                  <a:pt x="622" y="3087"/>
                </a:lnTo>
                <a:lnTo>
                  <a:pt x="548" y="3020"/>
                </a:lnTo>
                <a:lnTo>
                  <a:pt x="478" y="2950"/>
                </a:lnTo>
                <a:lnTo>
                  <a:pt x="411" y="2876"/>
                </a:lnTo>
                <a:lnTo>
                  <a:pt x="350" y="2798"/>
                </a:lnTo>
                <a:lnTo>
                  <a:pt x="292" y="2717"/>
                </a:lnTo>
                <a:lnTo>
                  <a:pt x="239" y="2632"/>
                </a:lnTo>
                <a:lnTo>
                  <a:pt x="191" y="2544"/>
                </a:lnTo>
                <a:lnTo>
                  <a:pt x="147" y="2453"/>
                </a:lnTo>
                <a:lnTo>
                  <a:pt x="109" y="2360"/>
                </a:lnTo>
                <a:lnTo>
                  <a:pt x="76" y="2263"/>
                </a:lnTo>
                <a:lnTo>
                  <a:pt x="50" y="2165"/>
                </a:lnTo>
                <a:lnTo>
                  <a:pt x="29" y="2064"/>
                </a:lnTo>
                <a:lnTo>
                  <a:pt x="13" y="1960"/>
                </a:lnTo>
                <a:lnTo>
                  <a:pt x="3" y="1856"/>
                </a:lnTo>
                <a:lnTo>
                  <a:pt x="0" y="1749"/>
                </a:lnTo>
                <a:lnTo>
                  <a:pt x="3" y="1643"/>
                </a:lnTo>
                <a:lnTo>
                  <a:pt x="13" y="1538"/>
                </a:lnTo>
                <a:lnTo>
                  <a:pt x="29" y="1434"/>
                </a:lnTo>
                <a:lnTo>
                  <a:pt x="50" y="1333"/>
                </a:lnTo>
                <a:lnTo>
                  <a:pt x="76" y="1235"/>
                </a:lnTo>
                <a:lnTo>
                  <a:pt x="109" y="1138"/>
                </a:lnTo>
                <a:lnTo>
                  <a:pt x="147" y="1045"/>
                </a:lnTo>
                <a:lnTo>
                  <a:pt x="191" y="954"/>
                </a:lnTo>
                <a:lnTo>
                  <a:pt x="239" y="866"/>
                </a:lnTo>
                <a:lnTo>
                  <a:pt x="292" y="781"/>
                </a:lnTo>
                <a:lnTo>
                  <a:pt x="350" y="700"/>
                </a:lnTo>
                <a:lnTo>
                  <a:pt x="411" y="622"/>
                </a:lnTo>
                <a:lnTo>
                  <a:pt x="478" y="548"/>
                </a:lnTo>
                <a:lnTo>
                  <a:pt x="548" y="478"/>
                </a:lnTo>
                <a:lnTo>
                  <a:pt x="622" y="411"/>
                </a:lnTo>
                <a:lnTo>
                  <a:pt x="700" y="350"/>
                </a:lnTo>
                <a:lnTo>
                  <a:pt x="781" y="292"/>
                </a:lnTo>
                <a:lnTo>
                  <a:pt x="866" y="239"/>
                </a:lnTo>
                <a:lnTo>
                  <a:pt x="954" y="191"/>
                </a:lnTo>
                <a:lnTo>
                  <a:pt x="1045" y="147"/>
                </a:lnTo>
                <a:lnTo>
                  <a:pt x="1138" y="109"/>
                </a:lnTo>
                <a:lnTo>
                  <a:pt x="1235" y="76"/>
                </a:lnTo>
                <a:lnTo>
                  <a:pt x="1333" y="50"/>
                </a:lnTo>
                <a:lnTo>
                  <a:pt x="1434" y="29"/>
                </a:lnTo>
                <a:lnTo>
                  <a:pt x="1538" y="13"/>
                </a:lnTo>
                <a:lnTo>
                  <a:pt x="1642" y="3"/>
                </a:lnTo>
                <a:lnTo>
                  <a:pt x="174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1" name="Freeform 26"/>
          <p:cNvSpPr>
            <a:spLocks noChangeAspect="1" noEditPoints="1"/>
          </p:cNvSpPr>
          <p:nvPr/>
        </p:nvSpPr>
        <p:spPr bwMode="auto">
          <a:xfrm>
            <a:off x="1744235" y="2732417"/>
            <a:ext cx="324000" cy="324000"/>
          </a:xfrm>
          <a:custGeom>
            <a:avLst/>
            <a:gdLst>
              <a:gd name="T0" fmla="*/ 1973 w 3498"/>
              <a:gd name="T1" fmla="*/ 1004 h 3498"/>
              <a:gd name="T2" fmla="*/ 1823 w 3498"/>
              <a:gd name="T3" fmla="*/ 1109 h 3498"/>
              <a:gd name="T4" fmla="*/ 1736 w 3498"/>
              <a:gd name="T5" fmla="*/ 1271 h 3498"/>
              <a:gd name="T6" fmla="*/ 1734 w 3498"/>
              <a:gd name="T7" fmla="*/ 1456 h 3498"/>
              <a:gd name="T8" fmla="*/ 1426 w 3498"/>
              <a:gd name="T9" fmla="*/ 1396 h 3498"/>
              <a:gd name="T10" fmla="*/ 1153 w 3498"/>
              <a:gd name="T11" fmla="*/ 1256 h 3498"/>
              <a:gd name="T12" fmla="*/ 932 w 3498"/>
              <a:gd name="T13" fmla="*/ 1049 h 3498"/>
              <a:gd name="T14" fmla="*/ 881 w 3498"/>
              <a:gd name="T15" fmla="*/ 1203 h 3498"/>
              <a:gd name="T16" fmla="*/ 906 w 3498"/>
              <a:gd name="T17" fmla="*/ 1389 h 3498"/>
              <a:gd name="T18" fmla="*/ 1015 w 3498"/>
              <a:gd name="T19" fmla="*/ 1541 h 3498"/>
              <a:gd name="T20" fmla="*/ 917 w 3498"/>
              <a:gd name="T21" fmla="*/ 1540 h 3498"/>
              <a:gd name="T22" fmla="*/ 880 w 3498"/>
              <a:gd name="T23" fmla="*/ 1575 h 3498"/>
              <a:gd name="T24" fmla="*/ 951 w 3498"/>
              <a:gd name="T25" fmla="*/ 1754 h 3498"/>
              <a:gd name="T26" fmla="*/ 1096 w 3498"/>
              <a:gd name="T27" fmla="*/ 1876 h 3498"/>
              <a:gd name="T28" fmla="*/ 1121 w 3498"/>
              <a:gd name="T29" fmla="*/ 1919 h 3498"/>
              <a:gd name="T30" fmla="*/ 1030 w 3498"/>
              <a:gd name="T31" fmla="*/ 1959 h 3498"/>
              <a:gd name="T32" fmla="*/ 1149 w 3498"/>
              <a:gd name="T33" fmla="*/ 2105 h 3498"/>
              <a:gd name="T34" fmla="*/ 1326 w 3498"/>
              <a:gd name="T35" fmla="*/ 2179 h 3498"/>
              <a:gd name="T36" fmla="*/ 1213 w 3498"/>
              <a:gd name="T37" fmla="*/ 2282 h 3498"/>
              <a:gd name="T38" fmla="*/ 961 w 3498"/>
              <a:gd name="T39" fmla="*/ 2348 h 3498"/>
              <a:gd name="T40" fmla="*/ 866 w 3498"/>
              <a:gd name="T41" fmla="*/ 2385 h 3498"/>
              <a:gd name="T42" fmla="*/ 1156 w 3498"/>
              <a:gd name="T43" fmla="*/ 2494 h 3498"/>
              <a:gd name="T44" fmla="*/ 1479 w 3498"/>
              <a:gd name="T45" fmla="*/ 2518 h 3498"/>
              <a:gd name="T46" fmla="*/ 1773 w 3498"/>
              <a:gd name="T47" fmla="*/ 2459 h 3498"/>
              <a:gd name="T48" fmla="*/ 2021 w 3498"/>
              <a:gd name="T49" fmla="*/ 2335 h 3498"/>
              <a:gd name="T50" fmla="*/ 2220 w 3498"/>
              <a:gd name="T51" fmla="*/ 2159 h 3498"/>
              <a:gd name="T52" fmla="*/ 2367 w 3498"/>
              <a:gd name="T53" fmla="*/ 1947 h 3498"/>
              <a:gd name="T54" fmla="*/ 2461 w 3498"/>
              <a:gd name="T55" fmla="*/ 1714 h 3498"/>
              <a:gd name="T56" fmla="*/ 2503 w 3498"/>
              <a:gd name="T57" fmla="*/ 1472 h 3498"/>
              <a:gd name="T58" fmla="*/ 2590 w 3498"/>
              <a:gd name="T59" fmla="*/ 1290 h 3498"/>
              <a:gd name="T60" fmla="*/ 2645 w 3498"/>
              <a:gd name="T61" fmla="*/ 1182 h 3498"/>
              <a:gd name="T62" fmla="*/ 2513 w 3498"/>
              <a:gd name="T63" fmla="*/ 1195 h 3498"/>
              <a:gd name="T64" fmla="*/ 2628 w 3498"/>
              <a:gd name="T65" fmla="*/ 1050 h 3498"/>
              <a:gd name="T66" fmla="*/ 2463 w 3498"/>
              <a:gd name="T67" fmla="*/ 1085 h 3498"/>
              <a:gd name="T68" fmla="*/ 2292 w 3498"/>
              <a:gd name="T69" fmla="*/ 1021 h 3498"/>
              <a:gd name="T70" fmla="*/ 2114 w 3498"/>
              <a:gd name="T71" fmla="*/ 978 h 3498"/>
              <a:gd name="T72" fmla="*/ 2064 w 3498"/>
              <a:gd name="T73" fmla="*/ 29 h 3498"/>
              <a:gd name="T74" fmla="*/ 2453 w 3498"/>
              <a:gd name="T75" fmla="*/ 147 h 3498"/>
              <a:gd name="T76" fmla="*/ 2798 w 3498"/>
              <a:gd name="T77" fmla="*/ 350 h 3498"/>
              <a:gd name="T78" fmla="*/ 3087 w 3498"/>
              <a:gd name="T79" fmla="*/ 622 h 3498"/>
              <a:gd name="T80" fmla="*/ 3307 w 3498"/>
              <a:gd name="T81" fmla="*/ 954 h 3498"/>
              <a:gd name="T82" fmla="*/ 3448 w 3498"/>
              <a:gd name="T83" fmla="*/ 1333 h 3498"/>
              <a:gd name="T84" fmla="*/ 3498 w 3498"/>
              <a:gd name="T85" fmla="*/ 1748 h 3498"/>
              <a:gd name="T86" fmla="*/ 3469 w 3498"/>
              <a:gd name="T87" fmla="*/ 2064 h 3498"/>
              <a:gd name="T88" fmla="*/ 3351 w 3498"/>
              <a:gd name="T89" fmla="*/ 2453 h 3498"/>
              <a:gd name="T90" fmla="*/ 3148 w 3498"/>
              <a:gd name="T91" fmla="*/ 2798 h 3498"/>
              <a:gd name="T92" fmla="*/ 2876 w 3498"/>
              <a:gd name="T93" fmla="*/ 3087 h 3498"/>
              <a:gd name="T94" fmla="*/ 2544 w 3498"/>
              <a:gd name="T95" fmla="*/ 3307 h 3498"/>
              <a:gd name="T96" fmla="*/ 2165 w 3498"/>
              <a:gd name="T97" fmla="*/ 3448 h 3498"/>
              <a:gd name="T98" fmla="*/ 1750 w 3498"/>
              <a:gd name="T99" fmla="*/ 3498 h 3498"/>
              <a:gd name="T100" fmla="*/ 1434 w 3498"/>
              <a:gd name="T101" fmla="*/ 3469 h 3498"/>
              <a:gd name="T102" fmla="*/ 1045 w 3498"/>
              <a:gd name="T103" fmla="*/ 3351 h 3498"/>
              <a:gd name="T104" fmla="*/ 700 w 3498"/>
              <a:gd name="T105" fmla="*/ 3148 h 3498"/>
              <a:gd name="T106" fmla="*/ 411 w 3498"/>
              <a:gd name="T107" fmla="*/ 2876 h 3498"/>
              <a:gd name="T108" fmla="*/ 191 w 3498"/>
              <a:gd name="T109" fmla="*/ 2544 h 3498"/>
              <a:gd name="T110" fmla="*/ 50 w 3498"/>
              <a:gd name="T111" fmla="*/ 2165 h 3498"/>
              <a:gd name="T112" fmla="*/ 0 w 3498"/>
              <a:gd name="T113" fmla="*/ 1749 h 3498"/>
              <a:gd name="T114" fmla="*/ 50 w 3498"/>
              <a:gd name="T115" fmla="*/ 1333 h 3498"/>
              <a:gd name="T116" fmla="*/ 191 w 3498"/>
              <a:gd name="T117" fmla="*/ 954 h 3498"/>
              <a:gd name="T118" fmla="*/ 411 w 3498"/>
              <a:gd name="T119" fmla="*/ 622 h 3498"/>
              <a:gd name="T120" fmla="*/ 700 w 3498"/>
              <a:gd name="T121" fmla="*/ 350 h 3498"/>
              <a:gd name="T122" fmla="*/ 1045 w 3498"/>
              <a:gd name="T123" fmla="*/ 147 h 3498"/>
              <a:gd name="T124" fmla="*/ 1434 w 3498"/>
              <a:gd name="T125" fmla="*/ 29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98" h="3498">
                <a:moveTo>
                  <a:pt x="2114" y="978"/>
                </a:moveTo>
                <a:lnTo>
                  <a:pt x="2065" y="981"/>
                </a:lnTo>
                <a:lnTo>
                  <a:pt x="2018" y="990"/>
                </a:lnTo>
                <a:lnTo>
                  <a:pt x="1973" y="1004"/>
                </a:lnTo>
                <a:lnTo>
                  <a:pt x="1930" y="1024"/>
                </a:lnTo>
                <a:lnTo>
                  <a:pt x="1891" y="1047"/>
                </a:lnTo>
                <a:lnTo>
                  <a:pt x="1855" y="1076"/>
                </a:lnTo>
                <a:lnTo>
                  <a:pt x="1823" y="1109"/>
                </a:lnTo>
                <a:lnTo>
                  <a:pt x="1795" y="1145"/>
                </a:lnTo>
                <a:lnTo>
                  <a:pt x="1770" y="1184"/>
                </a:lnTo>
                <a:lnTo>
                  <a:pt x="1751" y="1226"/>
                </a:lnTo>
                <a:lnTo>
                  <a:pt x="1736" y="1271"/>
                </a:lnTo>
                <a:lnTo>
                  <a:pt x="1728" y="1319"/>
                </a:lnTo>
                <a:lnTo>
                  <a:pt x="1725" y="1367"/>
                </a:lnTo>
                <a:lnTo>
                  <a:pt x="1728" y="1412"/>
                </a:lnTo>
                <a:lnTo>
                  <a:pt x="1734" y="1456"/>
                </a:lnTo>
                <a:lnTo>
                  <a:pt x="1655" y="1449"/>
                </a:lnTo>
                <a:lnTo>
                  <a:pt x="1576" y="1436"/>
                </a:lnTo>
                <a:lnTo>
                  <a:pt x="1500" y="1418"/>
                </a:lnTo>
                <a:lnTo>
                  <a:pt x="1426" y="1396"/>
                </a:lnTo>
                <a:lnTo>
                  <a:pt x="1354" y="1367"/>
                </a:lnTo>
                <a:lnTo>
                  <a:pt x="1284" y="1335"/>
                </a:lnTo>
                <a:lnTo>
                  <a:pt x="1217" y="1297"/>
                </a:lnTo>
                <a:lnTo>
                  <a:pt x="1153" y="1256"/>
                </a:lnTo>
                <a:lnTo>
                  <a:pt x="1093" y="1209"/>
                </a:lnTo>
                <a:lnTo>
                  <a:pt x="1036" y="1160"/>
                </a:lnTo>
                <a:lnTo>
                  <a:pt x="982" y="1107"/>
                </a:lnTo>
                <a:lnTo>
                  <a:pt x="932" y="1049"/>
                </a:lnTo>
                <a:lnTo>
                  <a:pt x="914" y="1084"/>
                </a:lnTo>
                <a:lnTo>
                  <a:pt x="899" y="1123"/>
                </a:lnTo>
                <a:lnTo>
                  <a:pt x="888" y="1162"/>
                </a:lnTo>
                <a:lnTo>
                  <a:pt x="881" y="1203"/>
                </a:lnTo>
                <a:lnTo>
                  <a:pt x="879" y="1246"/>
                </a:lnTo>
                <a:lnTo>
                  <a:pt x="882" y="1295"/>
                </a:lnTo>
                <a:lnTo>
                  <a:pt x="891" y="1343"/>
                </a:lnTo>
                <a:lnTo>
                  <a:pt x="906" y="1389"/>
                </a:lnTo>
                <a:lnTo>
                  <a:pt x="926" y="1432"/>
                </a:lnTo>
                <a:lnTo>
                  <a:pt x="952" y="1472"/>
                </a:lnTo>
                <a:lnTo>
                  <a:pt x="982" y="1508"/>
                </a:lnTo>
                <a:lnTo>
                  <a:pt x="1015" y="1541"/>
                </a:lnTo>
                <a:lnTo>
                  <a:pt x="1053" y="1570"/>
                </a:lnTo>
                <a:lnTo>
                  <a:pt x="1006" y="1565"/>
                </a:lnTo>
                <a:lnTo>
                  <a:pt x="960" y="1555"/>
                </a:lnTo>
                <a:lnTo>
                  <a:pt x="917" y="1540"/>
                </a:lnTo>
                <a:lnTo>
                  <a:pt x="877" y="1520"/>
                </a:lnTo>
                <a:lnTo>
                  <a:pt x="877" y="1522"/>
                </a:lnTo>
                <a:lnTo>
                  <a:pt x="877" y="1525"/>
                </a:lnTo>
                <a:lnTo>
                  <a:pt x="880" y="1575"/>
                </a:lnTo>
                <a:lnTo>
                  <a:pt x="889" y="1624"/>
                </a:lnTo>
                <a:lnTo>
                  <a:pt x="904" y="1671"/>
                </a:lnTo>
                <a:lnTo>
                  <a:pt x="925" y="1714"/>
                </a:lnTo>
                <a:lnTo>
                  <a:pt x="951" y="1754"/>
                </a:lnTo>
                <a:lnTo>
                  <a:pt x="982" y="1791"/>
                </a:lnTo>
                <a:lnTo>
                  <a:pt x="1017" y="1824"/>
                </a:lnTo>
                <a:lnTo>
                  <a:pt x="1055" y="1852"/>
                </a:lnTo>
                <a:lnTo>
                  <a:pt x="1096" y="1876"/>
                </a:lnTo>
                <a:lnTo>
                  <a:pt x="1142" y="1894"/>
                </a:lnTo>
                <a:lnTo>
                  <a:pt x="1188" y="1907"/>
                </a:lnTo>
                <a:lnTo>
                  <a:pt x="1155" y="1914"/>
                </a:lnTo>
                <a:lnTo>
                  <a:pt x="1121" y="1919"/>
                </a:lnTo>
                <a:lnTo>
                  <a:pt x="1087" y="1920"/>
                </a:lnTo>
                <a:lnTo>
                  <a:pt x="1049" y="1919"/>
                </a:lnTo>
                <a:lnTo>
                  <a:pt x="1012" y="1914"/>
                </a:lnTo>
                <a:lnTo>
                  <a:pt x="1030" y="1959"/>
                </a:lnTo>
                <a:lnTo>
                  <a:pt x="1054" y="2001"/>
                </a:lnTo>
                <a:lnTo>
                  <a:pt x="1081" y="2039"/>
                </a:lnTo>
                <a:lnTo>
                  <a:pt x="1113" y="2074"/>
                </a:lnTo>
                <a:lnTo>
                  <a:pt x="1149" y="2105"/>
                </a:lnTo>
                <a:lnTo>
                  <a:pt x="1189" y="2132"/>
                </a:lnTo>
                <a:lnTo>
                  <a:pt x="1232" y="2153"/>
                </a:lnTo>
                <a:lnTo>
                  <a:pt x="1278" y="2170"/>
                </a:lnTo>
                <a:lnTo>
                  <a:pt x="1326" y="2179"/>
                </a:lnTo>
                <a:lnTo>
                  <a:pt x="1377" y="2184"/>
                </a:lnTo>
                <a:lnTo>
                  <a:pt x="1325" y="2221"/>
                </a:lnTo>
                <a:lnTo>
                  <a:pt x="1270" y="2255"/>
                </a:lnTo>
                <a:lnTo>
                  <a:pt x="1213" y="2282"/>
                </a:lnTo>
                <a:lnTo>
                  <a:pt x="1153" y="2307"/>
                </a:lnTo>
                <a:lnTo>
                  <a:pt x="1091" y="2326"/>
                </a:lnTo>
                <a:lnTo>
                  <a:pt x="1027" y="2339"/>
                </a:lnTo>
                <a:lnTo>
                  <a:pt x="961" y="2348"/>
                </a:lnTo>
                <a:lnTo>
                  <a:pt x="894" y="2350"/>
                </a:lnTo>
                <a:lnTo>
                  <a:pt x="846" y="2349"/>
                </a:lnTo>
                <a:lnTo>
                  <a:pt x="799" y="2346"/>
                </a:lnTo>
                <a:lnTo>
                  <a:pt x="866" y="2385"/>
                </a:lnTo>
                <a:lnTo>
                  <a:pt x="935" y="2420"/>
                </a:lnTo>
                <a:lnTo>
                  <a:pt x="1006" y="2450"/>
                </a:lnTo>
                <a:lnTo>
                  <a:pt x="1080" y="2474"/>
                </a:lnTo>
                <a:lnTo>
                  <a:pt x="1156" y="2494"/>
                </a:lnTo>
                <a:lnTo>
                  <a:pt x="1235" y="2508"/>
                </a:lnTo>
                <a:lnTo>
                  <a:pt x="1315" y="2518"/>
                </a:lnTo>
                <a:lnTo>
                  <a:pt x="1397" y="2520"/>
                </a:lnTo>
                <a:lnTo>
                  <a:pt x="1479" y="2518"/>
                </a:lnTo>
                <a:lnTo>
                  <a:pt x="1556" y="2510"/>
                </a:lnTo>
                <a:lnTo>
                  <a:pt x="1631" y="2497"/>
                </a:lnTo>
                <a:lnTo>
                  <a:pt x="1704" y="2480"/>
                </a:lnTo>
                <a:lnTo>
                  <a:pt x="1773" y="2459"/>
                </a:lnTo>
                <a:lnTo>
                  <a:pt x="1840" y="2434"/>
                </a:lnTo>
                <a:lnTo>
                  <a:pt x="1904" y="2404"/>
                </a:lnTo>
                <a:lnTo>
                  <a:pt x="1964" y="2371"/>
                </a:lnTo>
                <a:lnTo>
                  <a:pt x="2021" y="2335"/>
                </a:lnTo>
                <a:lnTo>
                  <a:pt x="2075" y="2295"/>
                </a:lnTo>
                <a:lnTo>
                  <a:pt x="2126" y="2253"/>
                </a:lnTo>
                <a:lnTo>
                  <a:pt x="2174" y="2207"/>
                </a:lnTo>
                <a:lnTo>
                  <a:pt x="2220" y="2159"/>
                </a:lnTo>
                <a:lnTo>
                  <a:pt x="2261" y="2109"/>
                </a:lnTo>
                <a:lnTo>
                  <a:pt x="2299" y="2057"/>
                </a:lnTo>
                <a:lnTo>
                  <a:pt x="2334" y="2003"/>
                </a:lnTo>
                <a:lnTo>
                  <a:pt x="2367" y="1947"/>
                </a:lnTo>
                <a:lnTo>
                  <a:pt x="2396" y="1890"/>
                </a:lnTo>
                <a:lnTo>
                  <a:pt x="2421" y="1833"/>
                </a:lnTo>
                <a:lnTo>
                  <a:pt x="2442" y="1773"/>
                </a:lnTo>
                <a:lnTo>
                  <a:pt x="2461" y="1714"/>
                </a:lnTo>
                <a:lnTo>
                  <a:pt x="2477" y="1654"/>
                </a:lnTo>
                <a:lnTo>
                  <a:pt x="2489" y="1593"/>
                </a:lnTo>
                <a:lnTo>
                  <a:pt x="2497" y="1533"/>
                </a:lnTo>
                <a:lnTo>
                  <a:pt x="2503" y="1472"/>
                </a:lnTo>
                <a:lnTo>
                  <a:pt x="2505" y="1413"/>
                </a:lnTo>
                <a:lnTo>
                  <a:pt x="2504" y="1362"/>
                </a:lnTo>
                <a:lnTo>
                  <a:pt x="2547" y="1327"/>
                </a:lnTo>
                <a:lnTo>
                  <a:pt x="2590" y="1290"/>
                </a:lnTo>
                <a:lnTo>
                  <a:pt x="2629" y="1250"/>
                </a:lnTo>
                <a:lnTo>
                  <a:pt x="2665" y="1206"/>
                </a:lnTo>
                <a:lnTo>
                  <a:pt x="2699" y="1161"/>
                </a:lnTo>
                <a:lnTo>
                  <a:pt x="2645" y="1182"/>
                </a:lnTo>
                <a:lnTo>
                  <a:pt x="2590" y="1199"/>
                </a:lnTo>
                <a:lnTo>
                  <a:pt x="2532" y="1213"/>
                </a:lnTo>
                <a:lnTo>
                  <a:pt x="2474" y="1221"/>
                </a:lnTo>
                <a:lnTo>
                  <a:pt x="2513" y="1195"/>
                </a:lnTo>
                <a:lnTo>
                  <a:pt x="2548" y="1164"/>
                </a:lnTo>
                <a:lnTo>
                  <a:pt x="2579" y="1130"/>
                </a:lnTo>
                <a:lnTo>
                  <a:pt x="2607" y="1092"/>
                </a:lnTo>
                <a:lnTo>
                  <a:pt x="2628" y="1050"/>
                </a:lnTo>
                <a:lnTo>
                  <a:pt x="2646" y="1007"/>
                </a:lnTo>
                <a:lnTo>
                  <a:pt x="2587" y="1038"/>
                </a:lnTo>
                <a:lnTo>
                  <a:pt x="2527" y="1064"/>
                </a:lnTo>
                <a:lnTo>
                  <a:pt x="2463" y="1085"/>
                </a:lnTo>
                <a:lnTo>
                  <a:pt x="2399" y="1100"/>
                </a:lnTo>
                <a:lnTo>
                  <a:pt x="2366" y="1071"/>
                </a:lnTo>
                <a:lnTo>
                  <a:pt x="2331" y="1043"/>
                </a:lnTo>
                <a:lnTo>
                  <a:pt x="2292" y="1021"/>
                </a:lnTo>
                <a:lnTo>
                  <a:pt x="2250" y="1003"/>
                </a:lnTo>
                <a:lnTo>
                  <a:pt x="2207" y="989"/>
                </a:lnTo>
                <a:lnTo>
                  <a:pt x="2161" y="981"/>
                </a:lnTo>
                <a:lnTo>
                  <a:pt x="2114" y="978"/>
                </a:lnTo>
                <a:close/>
                <a:moveTo>
                  <a:pt x="1748" y="0"/>
                </a:moveTo>
                <a:lnTo>
                  <a:pt x="1855" y="3"/>
                </a:lnTo>
                <a:lnTo>
                  <a:pt x="1960" y="13"/>
                </a:lnTo>
                <a:lnTo>
                  <a:pt x="2064" y="29"/>
                </a:lnTo>
                <a:lnTo>
                  <a:pt x="2165" y="50"/>
                </a:lnTo>
                <a:lnTo>
                  <a:pt x="2263" y="76"/>
                </a:lnTo>
                <a:lnTo>
                  <a:pt x="2360" y="109"/>
                </a:lnTo>
                <a:lnTo>
                  <a:pt x="2453" y="147"/>
                </a:lnTo>
                <a:lnTo>
                  <a:pt x="2544" y="191"/>
                </a:lnTo>
                <a:lnTo>
                  <a:pt x="2632" y="239"/>
                </a:lnTo>
                <a:lnTo>
                  <a:pt x="2717" y="292"/>
                </a:lnTo>
                <a:lnTo>
                  <a:pt x="2798" y="350"/>
                </a:lnTo>
                <a:lnTo>
                  <a:pt x="2876" y="411"/>
                </a:lnTo>
                <a:lnTo>
                  <a:pt x="2950" y="478"/>
                </a:lnTo>
                <a:lnTo>
                  <a:pt x="3020" y="548"/>
                </a:lnTo>
                <a:lnTo>
                  <a:pt x="3087" y="622"/>
                </a:lnTo>
                <a:lnTo>
                  <a:pt x="3148" y="700"/>
                </a:lnTo>
                <a:lnTo>
                  <a:pt x="3207" y="781"/>
                </a:lnTo>
                <a:lnTo>
                  <a:pt x="3260" y="866"/>
                </a:lnTo>
                <a:lnTo>
                  <a:pt x="3307" y="954"/>
                </a:lnTo>
                <a:lnTo>
                  <a:pt x="3351" y="1045"/>
                </a:lnTo>
                <a:lnTo>
                  <a:pt x="3389" y="1138"/>
                </a:lnTo>
                <a:lnTo>
                  <a:pt x="3422" y="1235"/>
                </a:lnTo>
                <a:lnTo>
                  <a:pt x="3448" y="1333"/>
                </a:lnTo>
                <a:lnTo>
                  <a:pt x="3469" y="1434"/>
                </a:lnTo>
                <a:lnTo>
                  <a:pt x="3485" y="1538"/>
                </a:lnTo>
                <a:lnTo>
                  <a:pt x="3495" y="1643"/>
                </a:lnTo>
                <a:lnTo>
                  <a:pt x="3498" y="1748"/>
                </a:lnTo>
                <a:lnTo>
                  <a:pt x="3498" y="1750"/>
                </a:lnTo>
                <a:lnTo>
                  <a:pt x="3495" y="1856"/>
                </a:lnTo>
                <a:lnTo>
                  <a:pt x="3485" y="1960"/>
                </a:lnTo>
                <a:lnTo>
                  <a:pt x="3469" y="2064"/>
                </a:lnTo>
                <a:lnTo>
                  <a:pt x="3448" y="2165"/>
                </a:lnTo>
                <a:lnTo>
                  <a:pt x="3422" y="2263"/>
                </a:lnTo>
                <a:lnTo>
                  <a:pt x="3389" y="2360"/>
                </a:lnTo>
                <a:lnTo>
                  <a:pt x="3351" y="2453"/>
                </a:lnTo>
                <a:lnTo>
                  <a:pt x="3307" y="2544"/>
                </a:lnTo>
                <a:lnTo>
                  <a:pt x="3260" y="2632"/>
                </a:lnTo>
                <a:lnTo>
                  <a:pt x="3207" y="2717"/>
                </a:lnTo>
                <a:lnTo>
                  <a:pt x="3148" y="2798"/>
                </a:lnTo>
                <a:lnTo>
                  <a:pt x="3087" y="2876"/>
                </a:lnTo>
                <a:lnTo>
                  <a:pt x="3020" y="2950"/>
                </a:lnTo>
                <a:lnTo>
                  <a:pt x="2950" y="3020"/>
                </a:lnTo>
                <a:lnTo>
                  <a:pt x="2876" y="3087"/>
                </a:lnTo>
                <a:lnTo>
                  <a:pt x="2798" y="3148"/>
                </a:lnTo>
                <a:lnTo>
                  <a:pt x="2717" y="3207"/>
                </a:lnTo>
                <a:lnTo>
                  <a:pt x="2632" y="3260"/>
                </a:lnTo>
                <a:lnTo>
                  <a:pt x="2544" y="3307"/>
                </a:lnTo>
                <a:lnTo>
                  <a:pt x="2453" y="3351"/>
                </a:lnTo>
                <a:lnTo>
                  <a:pt x="2360" y="3389"/>
                </a:lnTo>
                <a:lnTo>
                  <a:pt x="2263" y="3422"/>
                </a:lnTo>
                <a:lnTo>
                  <a:pt x="2165" y="3448"/>
                </a:lnTo>
                <a:lnTo>
                  <a:pt x="2064" y="3469"/>
                </a:lnTo>
                <a:lnTo>
                  <a:pt x="1960" y="3485"/>
                </a:lnTo>
                <a:lnTo>
                  <a:pt x="1855" y="3495"/>
                </a:lnTo>
                <a:lnTo>
                  <a:pt x="1750" y="3498"/>
                </a:lnTo>
                <a:lnTo>
                  <a:pt x="1748" y="3498"/>
                </a:lnTo>
                <a:lnTo>
                  <a:pt x="1642" y="3495"/>
                </a:lnTo>
                <a:lnTo>
                  <a:pt x="1538" y="3485"/>
                </a:lnTo>
                <a:lnTo>
                  <a:pt x="1434" y="3469"/>
                </a:lnTo>
                <a:lnTo>
                  <a:pt x="1333" y="3448"/>
                </a:lnTo>
                <a:lnTo>
                  <a:pt x="1235" y="3422"/>
                </a:lnTo>
                <a:lnTo>
                  <a:pt x="1138" y="3389"/>
                </a:lnTo>
                <a:lnTo>
                  <a:pt x="1045" y="3351"/>
                </a:lnTo>
                <a:lnTo>
                  <a:pt x="954" y="3307"/>
                </a:lnTo>
                <a:lnTo>
                  <a:pt x="866" y="3260"/>
                </a:lnTo>
                <a:lnTo>
                  <a:pt x="781" y="3207"/>
                </a:lnTo>
                <a:lnTo>
                  <a:pt x="700" y="3148"/>
                </a:lnTo>
                <a:lnTo>
                  <a:pt x="622" y="3087"/>
                </a:lnTo>
                <a:lnTo>
                  <a:pt x="548" y="3020"/>
                </a:lnTo>
                <a:lnTo>
                  <a:pt x="478" y="2950"/>
                </a:lnTo>
                <a:lnTo>
                  <a:pt x="411" y="2876"/>
                </a:lnTo>
                <a:lnTo>
                  <a:pt x="350" y="2798"/>
                </a:lnTo>
                <a:lnTo>
                  <a:pt x="292" y="2717"/>
                </a:lnTo>
                <a:lnTo>
                  <a:pt x="239" y="2632"/>
                </a:lnTo>
                <a:lnTo>
                  <a:pt x="191" y="2544"/>
                </a:lnTo>
                <a:lnTo>
                  <a:pt x="147" y="2453"/>
                </a:lnTo>
                <a:lnTo>
                  <a:pt x="109" y="2360"/>
                </a:lnTo>
                <a:lnTo>
                  <a:pt x="76" y="2263"/>
                </a:lnTo>
                <a:lnTo>
                  <a:pt x="50" y="2165"/>
                </a:lnTo>
                <a:lnTo>
                  <a:pt x="29" y="2064"/>
                </a:lnTo>
                <a:lnTo>
                  <a:pt x="13" y="1960"/>
                </a:lnTo>
                <a:lnTo>
                  <a:pt x="3" y="1856"/>
                </a:lnTo>
                <a:lnTo>
                  <a:pt x="0" y="1749"/>
                </a:lnTo>
                <a:lnTo>
                  <a:pt x="3" y="1643"/>
                </a:lnTo>
                <a:lnTo>
                  <a:pt x="13" y="1538"/>
                </a:lnTo>
                <a:lnTo>
                  <a:pt x="29" y="1434"/>
                </a:lnTo>
                <a:lnTo>
                  <a:pt x="50" y="1333"/>
                </a:lnTo>
                <a:lnTo>
                  <a:pt x="76" y="1235"/>
                </a:lnTo>
                <a:lnTo>
                  <a:pt x="109" y="1138"/>
                </a:lnTo>
                <a:lnTo>
                  <a:pt x="147" y="1045"/>
                </a:lnTo>
                <a:lnTo>
                  <a:pt x="191" y="954"/>
                </a:lnTo>
                <a:lnTo>
                  <a:pt x="239" y="866"/>
                </a:lnTo>
                <a:lnTo>
                  <a:pt x="292" y="781"/>
                </a:lnTo>
                <a:lnTo>
                  <a:pt x="350" y="700"/>
                </a:lnTo>
                <a:lnTo>
                  <a:pt x="411" y="622"/>
                </a:lnTo>
                <a:lnTo>
                  <a:pt x="478" y="548"/>
                </a:lnTo>
                <a:lnTo>
                  <a:pt x="548" y="478"/>
                </a:lnTo>
                <a:lnTo>
                  <a:pt x="622" y="411"/>
                </a:lnTo>
                <a:lnTo>
                  <a:pt x="700" y="350"/>
                </a:lnTo>
                <a:lnTo>
                  <a:pt x="781" y="292"/>
                </a:lnTo>
                <a:lnTo>
                  <a:pt x="866" y="239"/>
                </a:lnTo>
                <a:lnTo>
                  <a:pt x="954" y="191"/>
                </a:lnTo>
                <a:lnTo>
                  <a:pt x="1045" y="147"/>
                </a:lnTo>
                <a:lnTo>
                  <a:pt x="1138" y="109"/>
                </a:lnTo>
                <a:lnTo>
                  <a:pt x="1235" y="76"/>
                </a:lnTo>
                <a:lnTo>
                  <a:pt x="1333" y="50"/>
                </a:lnTo>
                <a:lnTo>
                  <a:pt x="1434" y="29"/>
                </a:lnTo>
                <a:lnTo>
                  <a:pt x="1538" y="13"/>
                </a:lnTo>
                <a:lnTo>
                  <a:pt x="1642" y="3"/>
                </a:lnTo>
                <a:lnTo>
                  <a:pt x="1748" y="0"/>
                </a:lnTo>
                <a:close/>
              </a:path>
            </a:pathLst>
          </a:custGeom>
          <a:solidFill>
            <a:schemeClr val="accent4"/>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nvGrpSpPr>
          <p:cNvPr id="3" name="Group 21"/>
          <p:cNvGrpSpPr>
            <a:grpSpLocks noChangeAspect="1"/>
          </p:cNvGrpSpPr>
          <p:nvPr/>
        </p:nvGrpSpPr>
        <p:grpSpPr>
          <a:xfrm>
            <a:off x="1744235" y="3190661"/>
            <a:ext cx="324000" cy="324000"/>
            <a:chOff x="4319588" y="2319338"/>
            <a:chExt cx="504825" cy="504825"/>
          </a:xfrm>
          <a:solidFill>
            <a:schemeClr val="accent4"/>
          </a:solidFill>
        </p:grpSpPr>
        <p:sp>
          <p:nvSpPr>
            <p:cNvPr id="23" name="Freeform 31"/>
            <p:cNvSpPr>
              <a:spLocks noEditPoints="1"/>
            </p:cNvSpPr>
            <p:nvPr/>
          </p:nvSpPr>
          <p:spPr bwMode="auto">
            <a:xfrm>
              <a:off x="4576763" y="2578101"/>
              <a:ext cx="46038" cy="117475"/>
            </a:xfrm>
            <a:custGeom>
              <a:avLst/>
              <a:gdLst>
                <a:gd name="T0" fmla="*/ 163 w 318"/>
                <a:gd name="T1" fmla="*/ 296 h 814"/>
                <a:gd name="T2" fmla="*/ 145 w 318"/>
                <a:gd name="T3" fmla="*/ 300 h 814"/>
                <a:gd name="T4" fmla="*/ 126 w 318"/>
                <a:gd name="T5" fmla="*/ 308 h 814"/>
                <a:gd name="T6" fmla="*/ 108 w 318"/>
                <a:gd name="T7" fmla="*/ 323 h 814"/>
                <a:gd name="T8" fmla="*/ 108 w 318"/>
                <a:gd name="T9" fmla="*/ 689 h 814"/>
                <a:gd name="T10" fmla="*/ 126 w 318"/>
                <a:gd name="T11" fmla="*/ 703 h 814"/>
                <a:gd name="T12" fmla="*/ 145 w 318"/>
                <a:gd name="T13" fmla="*/ 712 h 814"/>
                <a:gd name="T14" fmla="*/ 163 w 318"/>
                <a:gd name="T15" fmla="*/ 715 h 814"/>
                <a:gd name="T16" fmla="*/ 177 w 318"/>
                <a:gd name="T17" fmla="*/ 713 h 814"/>
                <a:gd name="T18" fmla="*/ 190 w 318"/>
                <a:gd name="T19" fmla="*/ 705 h 814"/>
                <a:gd name="T20" fmla="*/ 198 w 318"/>
                <a:gd name="T21" fmla="*/ 695 h 814"/>
                <a:gd name="T22" fmla="*/ 206 w 318"/>
                <a:gd name="T23" fmla="*/ 679 h 814"/>
                <a:gd name="T24" fmla="*/ 209 w 318"/>
                <a:gd name="T25" fmla="*/ 659 h 814"/>
                <a:gd name="T26" fmla="*/ 210 w 318"/>
                <a:gd name="T27" fmla="*/ 633 h 814"/>
                <a:gd name="T28" fmla="*/ 210 w 318"/>
                <a:gd name="T29" fmla="*/ 378 h 814"/>
                <a:gd name="T30" fmla="*/ 209 w 318"/>
                <a:gd name="T31" fmla="*/ 353 h 814"/>
                <a:gd name="T32" fmla="*/ 206 w 318"/>
                <a:gd name="T33" fmla="*/ 332 h 814"/>
                <a:gd name="T34" fmla="*/ 198 w 318"/>
                <a:gd name="T35" fmla="*/ 316 h 814"/>
                <a:gd name="T36" fmla="*/ 190 w 318"/>
                <a:gd name="T37" fmla="*/ 306 h 814"/>
                <a:gd name="T38" fmla="*/ 177 w 318"/>
                <a:gd name="T39" fmla="*/ 298 h 814"/>
                <a:gd name="T40" fmla="*/ 163 w 318"/>
                <a:gd name="T41" fmla="*/ 296 h 814"/>
                <a:gd name="T42" fmla="*/ 0 w 318"/>
                <a:gd name="T43" fmla="*/ 0 h 814"/>
                <a:gd name="T44" fmla="*/ 108 w 318"/>
                <a:gd name="T45" fmla="*/ 0 h 814"/>
                <a:gd name="T46" fmla="*/ 108 w 318"/>
                <a:gd name="T47" fmla="*/ 263 h 814"/>
                <a:gd name="T48" fmla="*/ 129 w 318"/>
                <a:gd name="T49" fmla="*/ 240 h 814"/>
                <a:gd name="T50" fmla="*/ 152 w 318"/>
                <a:gd name="T51" fmla="*/ 221 h 814"/>
                <a:gd name="T52" fmla="*/ 175 w 318"/>
                <a:gd name="T53" fmla="*/ 208 h 814"/>
                <a:gd name="T54" fmla="*/ 197 w 318"/>
                <a:gd name="T55" fmla="*/ 201 h 814"/>
                <a:gd name="T56" fmla="*/ 222 w 318"/>
                <a:gd name="T57" fmla="*/ 198 h 814"/>
                <a:gd name="T58" fmla="*/ 242 w 318"/>
                <a:gd name="T59" fmla="*/ 200 h 814"/>
                <a:gd name="T60" fmla="*/ 260 w 318"/>
                <a:gd name="T61" fmla="*/ 205 h 814"/>
                <a:gd name="T62" fmla="*/ 276 w 318"/>
                <a:gd name="T63" fmla="*/ 215 h 814"/>
                <a:gd name="T64" fmla="*/ 288 w 318"/>
                <a:gd name="T65" fmla="*/ 228 h 814"/>
                <a:gd name="T66" fmla="*/ 299 w 318"/>
                <a:gd name="T67" fmla="*/ 245 h 814"/>
                <a:gd name="T68" fmla="*/ 307 w 318"/>
                <a:gd name="T69" fmla="*/ 266 h 814"/>
                <a:gd name="T70" fmla="*/ 313 w 318"/>
                <a:gd name="T71" fmla="*/ 287 h 814"/>
                <a:gd name="T72" fmla="*/ 316 w 318"/>
                <a:gd name="T73" fmla="*/ 314 h 814"/>
                <a:gd name="T74" fmla="*/ 318 w 318"/>
                <a:gd name="T75" fmla="*/ 347 h 814"/>
                <a:gd name="T76" fmla="*/ 318 w 318"/>
                <a:gd name="T77" fmla="*/ 386 h 814"/>
                <a:gd name="T78" fmla="*/ 318 w 318"/>
                <a:gd name="T79" fmla="*/ 625 h 814"/>
                <a:gd name="T80" fmla="*/ 318 w 318"/>
                <a:gd name="T81" fmla="*/ 664 h 814"/>
                <a:gd name="T82" fmla="*/ 316 w 318"/>
                <a:gd name="T83" fmla="*/ 697 h 814"/>
                <a:gd name="T84" fmla="*/ 313 w 318"/>
                <a:gd name="T85" fmla="*/ 725 h 814"/>
                <a:gd name="T86" fmla="*/ 307 w 318"/>
                <a:gd name="T87" fmla="*/ 747 h 814"/>
                <a:gd name="T88" fmla="*/ 299 w 318"/>
                <a:gd name="T89" fmla="*/ 767 h 814"/>
                <a:gd name="T90" fmla="*/ 288 w 318"/>
                <a:gd name="T91" fmla="*/ 783 h 814"/>
                <a:gd name="T92" fmla="*/ 276 w 318"/>
                <a:gd name="T93" fmla="*/ 797 h 814"/>
                <a:gd name="T94" fmla="*/ 260 w 318"/>
                <a:gd name="T95" fmla="*/ 805 h 814"/>
                <a:gd name="T96" fmla="*/ 242 w 318"/>
                <a:gd name="T97" fmla="*/ 811 h 814"/>
                <a:gd name="T98" fmla="*/ 222 w 318"/>
                <a:gd name="T99" fmla="*/ 814 h 814"/>
                <a:gd name="T100" fmla="*/ 198 w 318"/>
                <a:gd name="T101" fmla="*/ 810 h 814"/>
                <a:gd name="T102" fmla="*/ 175 w 318"/>
                <a:gd name="T103" fmla="*/ 803 h 814"/>
                <a:gd name="T104" fmla="*/ 153 w 318"/>
                <a:gd name="T105" fmla="*/ 789 h 814"/>
                <a:gd name="T106" fmla="*/ 130 w 318"/>
                <a:gd name="T107" fmla="*/ 770 h 814"/>
                <a:gd name="T108" fmla="*/ 108 w 318"/>
                <a:gd name="T109" fmla="*/ 747 h 814"/>
                <a:gd name="T110" fmla="*/ 108 w 318"/>
                <a:gd name="T111" fmla="*/ 805 h 814"/>
                <a:gd name="T112" fmla="*/ 0 w 318"/>
                <a:gd name="T113" fmla="*/ 805 h 814"/>
                <a:gd name="T114" fmla="*/ 0 w 318"/>
                <a:gd name="T115" fmla="*/ 0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8" h="814">
                  <a:moveTo>
                    <a:pt x="163" y="296"/>
                  </a:moveTo>
                  <a:lnTo>
                    <a:pt x="145" y="300"/>
                  </a:lnTo>
                  <a:lnTo>
                    <a:pt x="126" y="308"/>
                  </a:lnTo>
                  <a:lnTo>
                    <a:pt x="108" y="323"/>
                  </a:lnTo>
                  <a:lnTo>
                    <a:pt x="108" y="689"/>
                  </a:lnTo>
                  <a:lnTo>
                    <a:pt x="126" y="703"/>
                  </a:lnTo>
                  <a:lnTo>
                    <a:pt x="145" y="712"/>
                  </a:lnTo>
                  <a:lnTo>
                    <a:pt x="163" y="715"/>
                  </a:lnTo>
                  <a:lnTo>
                    <a:pt x="177" y="713"/>
                  </a:lnTo>
                  <a:lnTo>
                    <a:pt x="190" y="705"/>
                  </a:lnTo>
                  <a:lnTo>
                    <a:pt x="198" y="695"/>
                  </a:lnTo>
                  <a:lnTo>
                    <a:pt x="206" y="679"/>
                  </a:lnTo>
                  <a:lnTo>
                    <a:pt x="209" y="659"/>
                  </a:lnTo>
                  <a:lnTo>
                    <a:pt x="210" y="633"/>
                  </a:lnTo>
                  <a:lnTo>
                    <a:pt x="210" y="378"/>
                  </a:lnTo>
                  <a:lnTo>
                    <a:pt x="209" y="353"/>
                  </a:lnTo>
                  <a:lnTo>
                    <a:pt x="206" y="332"/>
                  </a:lnTo>
                  <a:lnTo>
                    <a:pt x="198" y="316"/>
                  </a:lnTo>
                  <a:lnTo>
                    <a:pt x="190" y="306"/>
                  </a:lnTo>
                  <a:lnTo>
                    <a:pt x="177" y="298"/>
                  </a:lnTo>
                  <a:lnTo>
                    <a:pt x="163" y="296"/>
                  </a:lnTo>
                  <a:close/>
                  <a:moveTo>
                    <a:pt x="0" y="0"/>
                  </a:moveTo>
                  <a:lnTo>
                    <a:pt x="108" y="0"/>
                  </a:lnTo>
                  <a:lnTo>
                    <a:pt x="108" y="263"/>
                  </a:lnTo>
                  <a:lnTo>
                    <a:pt x="129" y="240"/>
                  </a:lnTo>
                  <a:lnTo>
                    <a:pt x="152" y="221"/>
                  </a:lnTo>
                  <a:lnTo>
                    <a:pt x="175" y="208"/>
                  </a:lnTo>
                  <a:lnTo>
                    <a:pt x="197" y="201"/>
                  </a:lnTo>
                  <a:lnTo>
                    <a:pt x="222" y="198"/>
                  </a:lnTo>
                  <a:lnTo>
                    <a:pt x="242" y="200"/>
                  </a:lnTo>
                  <a:lnTo>
                    <a:pt x="260" y="205"/>
                  </a:lnTo>
                  <a:lnTo>
                    <a:pt x="276" y="215"/>
                  </a:lnTo>
                  <a:lnTo>
                    <a:pt x="288" y="228"/>
                  </a:lnTo>
                  <a:lnTo>
                    <a:pt x="299" y="245"/>
                  </a:lnTo>
                  <a:lnTo>
                    <a:pt x="307" y="266"/>
                  </a:lnTo>
                  <a:lnTo>
                    <a:pt x="313" y="287"/>
                  </a:lnTo>
                  <a:lnTo>
                    <a:pt x="316" y="314"/>
                  </a:lnTo>
                  <a:lnTo>
                    <a:pt x="318" y="347"/>
                  </a:lnTo>
                  <a:lnTo>
                    <a:pt x="318" y="386"/>
                  </a:lnTo>
                  <a:lnTo>
                    <a:pt x="318" y="625"/>
                  </a:lnTo>
                  <a:lnTo>
                    <a:pt x="318" y="664"/>
                  </a:lnTo>
                  <a:lnTo>
                    <a:pt x="316" y="697"/>
                  </a:lnTo>
                  <a:lnTo>
                    <a:pt x="313" y="725"/>
                  </a:lnTo>
                  <a:lnTo>
                    <a:pt x="307" y="747"/>
                  </a:lnTo>
                  <a:lnTo>
                    <a:pt x="299" y="767"/>
                  </a:lnTo>
                  <a:lnTo>
                    <a:pt x="288" y="783"/>
                  </a:lnTo>
                  <a:lnTo>
                    <a:pt x="276" y="797"/>
                  </a:lnTo>
                  <a:lnTo>
                    <a:pt x="260" y="805"/>
                  </a:lnTo>
                  <a:lnTo>
                    <a:pt x="242" y="811"/>
                  </a:lnTo>
                  <a:lnTo>
                    <a:pt x="222" y="814"/>
                  </a:lnTo>
                  <a:lnTo>
                    <a:pt x="198" y="810"/>
                  </a:lnTo>
                  <a:lnTo>
                    <a:pt x="175" y="803"/>
                  </a:lnTo>
                  <a:lnTo>
                    <a:pt x="153" y="789"/>
                  </a:lnTo>
                  <a:lnTo>
                    <a:pt x="130" y="770"/>
                  </a:lnTo>
                  <a:lnTo>
                    <a:pt x="108" y="747"/>
                  </a:lnTo>
                  <a:lnTo>
                    <a:pt x="108" y="805"/>
                  </a:lnTo>
                  <a:lnTo>
                    <a:pt x="0" y="80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4" name="Freeform 32"/>
            <p:cNvSpPr>
              <a:spLocks/>
            </p:cNvSpPr>
            <p:nvPr/>
          </p:nvSpPr>
          <p:spPr bwMode="auto">
            <a:xfrm>
              <a:off x="4462463" y="2578101"/>
              <a:ext cx="53975" cy="115888"/>
            </a:xfrm>
            <a:custGeom>
              <a:avLst/>
              <a:gdLst>
                <a:gd name="T0" fmla="*/ 0 w 378"/>
                <a:gd name="T1" fmla="*/ 0 h 805"/>
                <a:gd name="T2" fmla="*/ 378 w 378"/>
                <a:gd name="T3" fmla="*/ 0 h 805"/>
                <a:gd name="T4" fmla="*/ 378 w 378"/>
                <a:gd name="T5" fmla="*/ 114 h 805"/>
                <a:gd name="T6" fmla="*/ 248 w 378"/>
                <a:gd name="T7" fmla="*/ 114 h 805"/>
                <a:gd name="T8" fmla="*/ 248 w 378"/>
                <a:gd name="T9" fmla="*/ 805 h 805"/>
                <a:gd name="T10" fmla="*/ 127 w 378"/>
                <a:gd name="T11" fmla="*/ 805 h 805"/>
                <a:gd name="T12" fmla="*/ 127 w 378"/>
                <a:gd name="T13" fmla="*/ 114 h 805"/>
                <a:gd name="T14" fmla="*/ 0 w 378"/>
                <a:gd name="T15" fmla="*/ 114 h 805"/>
                <a:gd name="T16" fmla="*/ 0 w 378"/>
                <a:gd name="T17" fmla="*/ 0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805">
                  <a:moveTo>
                    <a:pt x="0" y="0"/>
                  </a:moveTo>
                  <a:lnTo>
                    <a:pt x="378" y="0"/>
                  </a:lnTo>
                  <a:lnTo>
                    <a:pt x="378" y="114"/>
                  </a:lnTo>
                  <a:lnTo>
                    <a:pt x="248" y="114"/>
                  </a:lnTo>
                  <a:lnTo>
                    <a:pt x="248" y="805"/>
                  </a:lnTo>
                  <a:lnTo>
                    <a:pt x="127" y="805"/>
                  </a:lnTo>
                  <a:lnTo>
                    <a:pt x="127" y="114"/>
                  </a:lnTo>
                  <a:lnTo>
                    <a:pt x="0" y="11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5" name="Freeform 33"/>
            <p:cNvSpPr>
              <a:spLocks/>
            </p:cNvSpPr>
            <p:nvPr/>
          </p:nvSpPr>
          <p:spPr bwMode="auto">
            <a:xfrm>
              <a:off x="4560888" y="2457451"/>
              <a:ext cx="14288" cy="61913"/>
            </a:xfrm>
            <a:custGeom>
              <a:avLst/>
              <a:gdLst>
                <a:gd name="T0" fmla="*/ 52 w 104"/>
                <a:gd name="T1" fmla="*/ 0 h 423"/>
                <a:gd name="T2" fmla="*/ 69 w 104"/>
                <a:gd name="T3" fmla="*/ 2 h 423"/>
                <a:gd name="T4" fmla="*/ 81 w 104"/>
                <a:gd name="T5" fmla="*/ 9 h 423"/>
                <a:gd name="T6" fmla="*/ 91 w 104"/>
                <a:gd name="T7" fmla="*/ 21 h 423"/>
                <a:gd name="T8" fmla="*/ 98 w 104"/>
                <a:gd name="T9" fmla="*/ 37 h 423"/>
                <a:gd name="T10" fmla="*/ 102 w 104"/>
                <a:gd name="T11" fmla="*/ 59 h 423"/>
                <a:gd name="T12" fmla="*/ 104 w 104"/>
                <a:gd name="T13" fmla="*/ 84 h 423"/>
                <a:gd name="T14" fmla="*/ 104 w 104"/>
                <a:gd name="T15" fmla="*/ 339 h 423"/>
                <a:gd name="T16" fmla="*/ 102 w 104"/>
                <a:gd name="T17" fmla="*/ 364 h 423"/>
                <a:gd name="T18" fmla="*/ 98 w 104"/>
                <a:gd name="T19" fmla="*/ 385 h 423"/>
                <a:gd name="T20" fmla="*/ 91 w 104"/>
                <a:gd name="T21" fmla="*/ 402 h 423"/>
                <a:gd name="T22" fmla="*/ 81 w 104"/>
                <a:gd name="T23" fmla="*/ 414 h 423"/>
                <a:gd name="T24" fmla="*/ 69 w 104"/>
                <a:gd name="T25" fmla="*/ 421 h 423"/>
                <a:gd name="T26" fmla="*/ 52 w 104"/>
                <a:gd name="T27" fmla="*/ 423 h 423"/>
                <a:gd name="T28" fmla="*/ 36 w 104"/>
                <a:gd name="T29" fmla="*/ 421 h 423"/>
                <a:gd name="T30" fmla="*/ 22 w 104"/>
                <a:gd name="T31" fmla="*/ 414 h 423"/>
                <a:gd name="T32" fmla="*/ 12 w 104"/>
                <a:gd name="T33" fmla="*/ 402 h 423"/>
                <a:gd name="T34" fmla="*/ 5 w 104"/>
                <a:gd name="T35" fmla="*/ 385 h 423"/>
                <a:gd name="T36" fmla="*/ 1 w 104"/>
                <a:gd name="T37" fmla="*/ 364 h 423"/>
                <a:gd name="T38" fmla="*/ 0 w 104"/>
                <a:gd name="T39" fmla="*/ 339 h 423"/>
                <a:gd name="T40" fmla="*/ 0 w 104"/>
                <a:gd name="T41" fmla="*/ 84 h 423"/>
                <a:gd name="T42" fmla="*/ 1 w 104"/>
                <a:gd name="T43" fmla="*/ 59 h 423"/>
                <a:gd name="T44" fmla="*/ 5 w 104"/>
                <a:gd name="T45" fmla="*/ 37 h 423"/>
                <a:gd name="T46" fmla="*/ 12 w 104"/>
                <a:gd name="T47" fmla="*/ 21 h 423"/>
                <a:gd name="T48" fmla="*/ 22 w 104"/>
                <a:gd name="T49" fmla="*/ 9 h 423"/>
                <a:gd name="T50" fmla="*/ 36 w 104"/>
                <a:gd name="T51" fmla="*/ 2 h 423"/>
                <a:gd name="T52" fmla="*/ 52 w 104"/>
                <a:gd name="T53" fmla="*/ 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4" h="423">
                  <a:moveTo>
                    <a:pt x="52" y="0"/>
                  </a:moveTo>
                  <a:lnTo>
                    <a:pt x="69" y="2"/>
                  </a:lnTo>
                  <a:lnTo>
                    <a:pt x="81" y="9"/>
                  </a:lnTo>
                  <a:lnTo>
                    <a:pt x="91" y="21"/>
                  </a:lnTo>
                  <a:lnTo>
                    <a:pt x="98" y="37"/>
                  </a:lnTo>
                  <a:lnTo>
                    <a:pt x="102" y="59"/>
                  </a:lnTo>
                  <a:lnTo>
                    <a:pt x="104" y="84"/>
                  </a:lnTo>
                  <a:lnTo>
                    <a:pt x="104" y="339"/>
                  </a:lnTo>
                  <a:lnTo>
                    <a:pt x="102" y="364"/>
                  </a:lnTo>
                  <a:lnTo>
                    <a:pt x="98" y="385"/>
                  </a:lnTo>
                  <a:lnTo>
                    <a:pt x="91" y="402"/>
                  </a:lnTo>
                  <a:lnTo>
                    <a:pt x="81" y="414"/>
                  </a:lnTo>
                  <a:lnTo>
                    <a:pt x="69" y="421"/>
                  </a:lnTo>
                  <a:lnTo>
                    <a:pt x="52" y="423"/>
                  </a:lnTo>
                  <a:lnTo>
                    <a:pt x="36" y="421"/>
                  </a:lnTo>
                  <a:lnTo>
                    <a:pt x="22" y="414"/>
                  </a:lnTo>
                  <a:lnTo>
                    <a:pt x="12" y="402"/>
                  </a:lnTo>
                  <a:lnTo>
                    <a:pt x="5" y="385"/>
                  </a:lnTo>
                  <a:lnTo>
                    <a:pt x="1" y="364"/>
                  </a:lnTo>
                  <a:lnTo>
                    <a:pt x="0" y="339"/>
                  </a:lnTo>
                  <a:lnTo>
                    <a:pt x="0" y="84"/>
                  </a:lnTo>
                  <a:lnTo>
                    <a:pt x="1" y="59"/>
                  </a:lnTo>
                  <a:lnTo>
                    <a:pt x="5" y="37"/>
                  </a:lnTo>
                  <a:lnTo>
                    <a:pt x="12" y="21"/>
                  </a:lnTo>
                  <a:lnTo>
                    <a:pt x="22" y="9"/>
                  </a:lnTo>
                  <a:lnTo>
                    <a:pt x="36" y="2"/>
                  </a:lnTo>
                  <a:lnTo>
                    <a:pt x="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6" name="Freeform 34"/>
            <p:cNvSpPr>
              <a:spLocks noEditPoints="1"/>
            </p:cNvSpPr>
            <p:nvPr/>
          </p:nvSpPr>
          <p:spPr bwMode="auto">
            <a:xfrm>
              <a:off x="4635501" y="2606676"/>
              <a:ext cx="46038" cy="88900"/>
            </a:xfrm>
            <a:custGeom>
              <a:avLst/>
              <a:gdLst>
                <a:gd name="T0" fmla="*/ 145 w 324"/>
                <a:gd name="T1" fmla="*/ 100 h 616"/>
                <a:gd name="T2" fmla="*/ 121 w 324"/>
                <a:gd name="T3" fmla="*/ 118 h 616"/>
                <a:gd name="T4" fmla="*/ 109 w 324"/>
                <a:gd name="T5" fmla="*/ 156 h 616"/>
                <a:gd name="T6" fmla="*/ 107 w 324"/>
                <a:gd name="T7" fmla="*/ 236 h 616"/>
                <a:gd name="T8" fmla="*/ 217 w 324"/>
                <a:gd name="T9" fmla="*/ 181 h 616"/>
                <a:gd name="T10" fmla="*/ 211 w 324"/>
                <a:gd name="T11" fmla="*/ 135 h 616"/>
                <a:gd name="T12" fmla="*/ 193 w 324"/>
                <a:gd name="T13" fmla="*/ 108 h 616"/>
                <a:gd name="T14" fmla="*/ 162 w 324"/>
                <a:gd name="T15" fmla="*/ 98 h 616"/>
                <a:gd name="T16" fmla="*/ 195 w 324"/>
                <a:gd name="T17" fmla="*/ 2 h 616"/>
                <a:gd name="T18" fmla="*/ 249 w 324"/>
                <a:gd name="T19" fmla="*/ 22 h 616"/>
                <a:gd name="T20" fmla="*/ 292 w 324"/>
                <a:gd name="T21" fmla="*/ 61 h 616"/>
                <a:gd name="T22" fmla="*/ 313 w 324"/>
                <a:gd name="T23" fmla="*/ 106 h 616"/>
                <a:gd name="T24" fmla="*/ 323 w 324"/>
                <a:gd name="T25" fmla="*/ 166 h 616"/>
                <a:gd name="T26" fmla="*/ 324 w 324"/>
                <a:gd name="T27" fmla="*/ 327 h 616"/>
                <a:gd name="T28" fmla="*/ 107 w 324"/>
                <a:gd name="T29" fmla="*/ 433 h 616"/>
                <a:gd name="T30" fmla="*/ 113 w 324"/>
                <a:gd name="T31" fmla="*/ 480 h 616"/>
                <a:gd name="T32" fmla="*/ 132 w 324"/>
                <a:gd name="T33" fmla="*/ 507 h 616"/>
                <a:gd name="T34" fmla="*/ 163 w 324"/>
                <a:gd name="T35" fmla="*/ 517 h 616"/>
                <a:gd name="T36" fmla="*/ 190 w 324"/>
                <a:gd name="T37" fmla="*/ 510 h 616"/>
                <a:gd name="T38" fmla="*/ 207 w 324"/>
                <a:gd name="T39" fmla="*/ 489 h 616"/>
                <a:gd name="T40" fmla="*/ 213 w 324"/>
                <a:gd name="T41" fmla="*/ 465 h 616"/>
                <a:gd name="T42" fmla="*/ 214 w 324"/>
                <a:gd name="T43" fmla="*/ 428 h 616"/>
                <a:gd name="T44" fmla="*/ 324 w 324"/>
                <a:gd name="T45" fmla="*/ 399 h 616"/>
                <a:gd name="T46" fmla="*/ 324 w 324"/>
                <a:gd name="T47" fmla="*/ 440 h 616"/>
                <a:gd name="T48" fmla="*/ 323 w 324"/>
                <a:gd name="T49" fmla="*/ 475 h 616"/>
                <a:gd name="T50" fmla="*/ 318 w 324"/>
                <a:gd name="T51" fmla="*/ 509 h 616"/>
                <a:gd name="T52" fmla="*/ 297 w 324"/>
                <a:gd name="T53" fmla="*/ 551 h 616"/>
                <a:gd name="T54" fmla="*/ 263 w 324"/>
                <a:gd name="T55" fmla="*/ 587 h 616"/>
                <a:gd name="T56" fmla="*/ 218 w 324"/>
                <a:gd name="T57" fmla="*/ 608 h 616"/>
                <a:gd name="T58" fmla="*/ 165 w 324"/>
                <a:gd name="T59" fmla="*/ 616 h 616"/>
                <a:gd name="T60" fmla="*/ 104 w 324"/>
                <a:gd name="T61" fmla="*/ 605 h 616"/>
                <a:gd name="T62" fmla="*/ 55 w 324"/>
                <a:gd name="T63" fmla="*/ 575 h 616"/>
                <a:gd name="T64" fmla="*/ 22 w 324"/>
                <a:gd name="T65" fmla="*/ 534 h 616"/>
                <a:gd name="T66" fmla="*/ 5 w 324"/>
                <a:gd name="T67" fmla="*/ 481 h 616"/>
                <a:gd name="T68" fmla="*/ 0 w 324"/>
                <a:gd name="T69" fmla="*/ 412 h 616"/>
                <a:gd name="T70" fmla="*/ 1 w 324"/>
                <a:gd name="T71" fmla="*/ 166 h 616"/>
                <a:gd name="T72" fmla="*/ 12 w 324"/>
                <a:gd name="T73" fmla="*/ 106 h 616"/>
                <a:gd name="T74" fmla="*/ 34 w 324"/>
                <a:gd name="T75" fmla="*/ 61 h 616"/>
                <a:gd name="T76" fmla="*/ 76 w 324"/>
                <a:gd name="T77" fmla="*/ 22 h 616"/>
                <a:gd name="T78" fmla="*/ 131 w 324"/>
                <a:gd name="T79" fmla="*/ 2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4" h="616">
                  <a:moveTo>
                    <a:pt x="162" y="98"/>
                  </a:moveTo>
                  <a:lnTo>
                    <a:pt x="145" y="100"/>
                  </a:lnTo>
                  <a:lnTo>
                    <a:pt x="131" y="108"/>
                  </a:lnTo>
                  <a:lnTo>
                    <a:pt x="121" y="118"/>
                  </a:lnTo>
                  <a:lnTo>
                    <a:pt x="113" y="135"/>
                  </a:lnTo>
                  <a:lnTo>
                    <a:pt x="109" y="156"/>
                  </a:lnTo>
                  <a:lnTo>
                    <a:pt x="107" y="181"/>
                  </a:lnTo>
                  <a:lnTo>
                    <a:pt x="107" y="236"/>
                  </a:lnTo>
                  <a:lnTo>
                    <a:pt x="217" y="236"/>
                  </a:lnTo>
                  <a:lnTo>
                    <a:pt x="217" y="181"/>
                  </a:lnTo>
                  <a:lnTo>
                    <a:pt x="215" y="156"/>
                  </a:lnTo>
                  <a:lnTo>
                    <a:pt x="211" y="135"/>
                  </a:lnTo>
                  <a:lnTo>
                    <a:pt x="203" y="118"/>
                  </a:lnTo>
                  <a:lnTo>
                    <a:pt x="193" y="108"/>
                  </a:lnTo>
                  <a:lnTo>
                    <a:pt x="179" y="100"/>
                  </a:lnTo>
                  <a:lnTo>
                    <a:pt x="162" y="98"/>
                  </a:lnTo>
                  <a:close/>
                  <a:moveTo>
                    <a:pt x="163" y="0"/>
                  </a:moveTo>
                  <a:lnTo>
                    <a:pt x="195" y="2"/>
                  </a:lnTo>
                  <a:lnTo>
                    <a:pt x="224" y="9"/>
                  </a:lnTo>
                  <a:lnTo>
                    <a:pt x="249" y="22"/>
                  </a:lnTo>
                  <a:lnTo>
                    <a:pt x="271" y="39"/>
                  </a:lnTo>
                  <a:lnTo>
                    <a:pt x="292" y="61"/>
                  </a:lnTo>
                  <a:lnTo>
                    <a:pt x="304" y="81"/>
                  </a:lnTo>
                  <a:lnTo>
                    <a:pt x="313" y="106"/>
                  </a:lnTo>
                  <a:lnTo>
                    <a:pt x="319" y="134"/>
                  </a:lnTo>
                  <a:lnTo>
                    <a:pt x="323" y="166"/>
                  </a:lnTo>
                  <a:lnTo>
                    <a:pt x="324" y="202"/>
                  </a:lnTo>
                  <a:lnTo>
                    <a:pt x="324" y="327"/>
                  </a:lnTo>
                  <a:lnTo>
                    <a:pt x="107" y="327"/>
                  </a:lnTo>
                  <a:lnTo>
                    <a:pt x="107" y="433"/>
                  </a:lnTo>
                  <a:lnTo>
                    <a:pt x="109" y="459"/>
                  </a:lnTo>
                  <a:lnTo>
                    <a:pt x="113" y="480"/>
                  </a:lnTo>
                  <a:lnTo>
                    <a:pt x="121" y="496"/>
                  </a:lnTo>
                  <a:lnTo>
                    <a:pt x="132" y="507"/>
                  </a:lnTo>
                  <a:lnTo>
                    <a:pt x="146" y="515"/>
                  </a:lnTo>
                  <a:lnTo>
                    <a:pt x="163" y="517"/>
                  </a:lnTo>
                  <a:lnTo>
                    <a:pt x="178" y="515"/>
                  </a:lnTo>
                  <a:lnTo>
                    <a:pt x="190" y="510"/>
                  </a:lnTo>
                  <a:lnTo>
                    <a:pt x="200" y="501"/>
                  </a:lnTo>
                  <a:lnTo>
                    <a:pt x="207" y="489"/>
                  </a:lnTo>
                  <a:lnTo>
                    <a:pt x="212" y="474"/>
                  </a:lnTo>
                  <a:lnTo>
                    <a:pt x="213" y="465"/>
                  </a:lnTo>
                  <a:lnTo>
                    <a:pt x="214" y="450"/>
                  </a:lnTo>
                  <a:lnTo>
                    <a:pt x="214" y="428"/>
                  </a:lnTo>
                  <a:lnTo>
                    <a:pt x="214" y="399"/>
                  </a:lnTo>
                  <a:lnTo>
                    <a:pt x="324" y="399"/>
                  </a:lnTo>
                  <a:lnTo>
                    <a:pt x="324" y="415"/>
                  </a:lnTo>
                  <a:lnTo>
                    <a:pt x="324" y="440"/>
                  </a:lnTo>
                  <a:lnTo>
                    <a:pt x="324" y="459"/>
                  </a:lnTo>
                  <a:lnTo>
                    <a:pt x="323" y="475"/>
                  </a:lnTo>
                  <a:lnTo>
                    <a:pt x="322" y="485"/>
                  </a:lnTo>
                  <a:lnTo>
                    <a:pt x="318" y="509"/>
                  </a:lnTo>
                  <a:lnTo>
                    <a:pt x="308" y="531"/>
                  </a:lnTo>
                  <a:lnTo>
                    <a:pt x="297" y="551"/>
                  </a:lnTo>
                  <a:lnTo>
                    <a:pt x="281" y="570"/>
                  </a:lnTo>
                  <a:lnTo>
                    <a:pt x="263" y="587"/>
                  </a:lnTo>
                  <a:lnTo>
                    <a:pt x="242" y="599"/>
                  </a:lnTo>
                  <a:lnTo>
                    <a:pt x="218" y="608"/>
                  </a:lnTo>
                  <a:lnTo>
                    <a:pt x="193" y="613"/>
                  </a:lnTo>
                  <a:lnTo>
                    <a:pt x="165" y="616"/>
                  </a:lnTo>
                  <a:lnTo>
                    <a:pt x="133" y="612"/>
                  </a:lnTo>
                  <a:lnTo>
                    <a:pt x="104" y="605"/>
                  </a:lnTo>
                  <a:lnTo>
                    <a:pt x="78" y="593"/>
                  </a:lnTo>
                  <a:lnTo>
                    <a:pt x="55" y="575"/>
                  </a:lnTo>
                  <a:lnTo>
                    <a:pt x="35" y="553"/>
                  </a:lnTo>
                  <a:lnTo>
                    <a:pt x="22" y="534"/>
                  </a:lnTo>
                  <a:lnTo>
                    <a:pt x="13" y="510"/>
                  </a:lnTo>
                  <a:lnTo>
                    <a:pt x="5" y="481"/>
                  </a:lnTo>
                  <a:lnTo>
                    <a:pt x="1" y="449"/>
                  </a:lnTo>
                  <a:lnTo>
                    <a:pt x="0" y="412"/>
                  </a:lnTo>
                  <a:lnTo>
                    <a:pt x="0" y="202"/>
                  </a:lnTo>
                  <a:lnTo>
                    <a:pt x="1" y="166"/>
                  </a:lnTo>
                  <a:lnTo>
                    <a:pt x="5" y="134"/>
                  </a:lnTo>
                  <a:lnTo>
                    <a:pt x="12" y="106"/>
                  </a:lnTo>
                  <a:lnTo>
                    <a:pt x="21" y="81"/>
                  </a:lnTo>
                  <a:lnTo>
                    <a:pt x="34" y="61"/>
                  </a:lnTo>
                  <a:lnTo>
                    <a:pt x="54" y="39"/>
                  </a:lnTo>
                  <a:lnTo>
                    <a:pt x="76" y="22"/>
                  </a:lnTo>
                  <a:lnTo>
                    <a:pt x="103" y="9"/>
                  </a:lnTo>
                  <a:lnTo>
                    <a:pt x="131" y="2"/>
                  </a:lnTo>
                  <a:lnTo>
                    <a:pt x="1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7" name="Freeform 35"/>
            <p:cNvSpPr>
              <a:spLocks/>
            </p:cNvSpPr>
            <p:nvPr/>
          </p:nvSpPr>
          <p:spPr bwMode="auto">
            <a:xfrm>
              <a:off x="4518026" y="2608263"/>
              <a:ext cx="46038" cy="87313"/>
            </a:xfrm>
            <a:custGeom>
              <a:avLst/>
              <a:gdLst>
                <a:gd name="T0" fmla="*/ 0 w 312"/>
                <a:gd name="T1" fmla="*/ 0 h 609"/>
                <a:gd name="T2" fmla="*/ 108 w 312"/>
                <a:gd name="T3" fmla="*/ 0 h 609"/>
                <a:gd name="T4" fmla="*/ 108 w 312"/>
                <a:gd name="T5" fmla="*/ 442 h 609"/>
                <a:gd name="T6" fmla="*/ 108 w 312"/>
                <a:gd name="T7" fmla="*/ 463 h 609"/>
                <a:gd name="T8" fmla="*/ 108 w 312"/>
                <a:gd name="T9" fmla="*/ 477 h 609"/>
                <a:gd name="T10" fmla="*/ 109 w 312"/>
                <a:gd name="T11" fmla="*/ 485 h 609"/>
                <a:gd name="T12" fmla="*/ 112 w 312"/>
                <a:gd name="T13" fmla="*/ 495 h 609"/>
                <a:gd name="T14" fmla="*/ 117 w 312"/>
                <a:gd name="T15" fmla="*/ 504 h 609"/>
                <a:gd name="T16" fmla="*/ 125 w 312"/>
                <a:gd name="T17" fmla="*/ 508 h 609"/>
                <a:gd name="T18" fmla="*/ 135 w 312"/>
                <a:gd name="T19" fmla="*/ 510 h 609"/>
                <a:gd name="T20" fmla="*/ 151 w 312"/>
                <a:gd name="T21" fmla="*/ 507 h 609"/>
                <a:gd name="T22" fmla="*/ 169 w 312"/>
                <a:gd name="T23" fmla="*/ 497 h 609"/>
                <a:gd name="T24" fmla="*/ 186 w 312"/>
                <a:gd name="T25" fmla="*/ 481 h 609"/>
                <a:gd name="T26" fmla="*/ 204 w 312"/>
                <a:gd name="T27" fmla="*/ 459 h 609"/>
                <a:gd name="T28" fmla="*/ 204 w 312"/>
                <a:gd name="T29" fmla="*/ 0 h 609"/>
                <a:gd name="T30" fmla="*/ 312 w 312"/>
                <a:gd name="T31" fmla="*/ 0 h 609"/>
                <a:gd name="T32" fmla="*/ 312 w 312"/>
                <a:gd name="T33" fmla="*/ 600 h 609"/>
                <a:gd name="T34" fmla="*/ 204 w 312"/>
                <a:gd name="T35" fmla="*/ 600 h 609"/>
                <a:gd name="T36" fmla="*/ 204 w 312"/>
                <a:gd name="T37" fmla="*/ 534 h 609"/>
                <a:gd name="T38" fmla="*/ 178 w 312"/>
                <a:gd name="T39" fmla="*/ 561 h 609"/>
                <a:gd name="T40" fmla="*/ 153 w 312"/>
                <a:gd name="T41" fmla="*/ 582 h 609"/>
                <a:gd name="T42" fmla="*/ 127 w 312"/>
                <a:gd name="T43" fmla="*/ 597 h 609"/>
                <a:gd name="T44" fmla="*/ 104 w 312"/>
                <a:gd name="T45" fmla="*/ 605 h 609"/>
                <a:gd name="T46" fmla="*/ 80 w 312"/>
                <a:gd name="T47" fmla="*/ 609 h 609"/>
                <a:gd name="T48" fmla="*/ 60 w 312"/>
                <a:gd name="T49" fmla="*/ 606 h 609"/>
                <a:gd name="T50" fmla="*/ 42 w 312"/>
                <a:gd name="T51" fmla="*/ 601 h 609"/>
                <a:gd name="T52" fmla="*/ 29 w 312"/>
                <a:gd name="T53" fmla="*/ 593 h 609"/>
                <a:gd name="T54" fmla="*/ 17 w 312"/>
                <a:gd name="T55" fmla="*/ 580 h 609"/>
                <a:gd name="T56" fmla="*/ 10 w 312"/>
                <a:gd name="T57" fmla="*/ 563 h 609"/>
                <a:gd name="T58" fmla="*/ 5 w 312"/>
                <a:gd name="T59" fmla="*/ 548 h 609"/>
                <a:gd name="T60" fmla="*/ 2 w 312"/>
                <a:gd name="T61" fmla="*/ 528 h 609"/>
                <a:gd name="T62" fmla="*/ 0 w 312"/>
                <a:gd name="T63" fmla="*/ 504 h 609"/>
                <a:gd name="T64" fmla="*/ 0 w 312"/>
                <a:gd name="T65" fmla="*/ 475 h 609"/>
                <a:gd name="T66" fmla="*/ 0 w 312"/>
                <a:gd name="T67" fmla="*/ 0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2" h="609">
                  <a:moveTo>
                    <a:pt x="0" y="0"/>
                  </a:moveTo>
                  <a:lnTo>
                    <a:pt x="108" y="0"/>
                  </a:lnTo>
                  <a:lnTo>
                    <a:pt x="108" y="442"/>
                  </a:lnTo>
                  <a:lnTo>
                    <a:pt x="108" y="463"/>
                  </a:lnTo>
                  <a:lnTo>
                    <a:pt x="108" y="477"/>
                  </a:lnTo>
                  <a:lnTo>
                    <a:pt x="109" y="485"/>
                  </a:lnTo>
                  <a:lnTo>
                    <a:pt x="112" y="495"/>
                  </a:lnTo>
                  <a:lnTo>
                    <a:pt x="117" y="504"/>
                  </a:lnTo>
                  <a:lnTo>
                    <a:pt x="125" y="508"/>
                  </a:lnTo>
                  <a:lnTo>
                    <a:pt x="135" y="510"/>
                  </a:lnTo>
                  <a:lnTo>
                    <a:pt x="151" y="507"/>
                  </a:lnTo>
                  <a:lnTo>
                    <a:pt x="169" y="497"/>
                  </a:lnTo>
                  <a:lnTo>
                    <a:pt x="186" y="481"/>
                  </a:lnTo>
                  <a:lnTo>
                    <a:pt x="204" y="459"/>
                  </a:lnTo>
                  <a:lnTo>
                    <a:pt x="204" y="0"/>
                  </a:lnTo>
                  <a:lnTo>
                    <a:pt x="312" y="0"/>
                  </a:lnTo>
                  <a:lnTo>
                    <a:pt x="312" y="600"/>
                  </a:lnTo>
                  <a:lnTo>
                    <a:pt x="204" y="600"/>
                  </a:lnTo>
                  <a:lnTo>
                    <a:pt x="204" y="534"/>
                  </a:lnTo>
                  <a:lnTo>
                    <a:pt x="178" y="561"/>
                  </a:lnTo>
                  <a:lnTo>
                    <a:pt x="153" y="582"/>
                  </a:lnTo>
                  <a:lnTo>
                    <a:pt x="127" y="597"/>
                  </a:lnTo>
                  <a:lnTo>
                    <a:pt x="104" y="605"/>
                  </a:lnTo>
                  <a:lnTo>
                    <a:pt x="80" y="609"/>
                  </a:lnTo>
                  <a:lnTo>
                    <a:pt x="60" y="606"/>
                  </a:lnTo>
                  <a:lnTo>
                    <a:pt x="42" y="601"/>
                  </a:lnTo>
                  <a:lnTo>
                    <a:pt x="29" y="593"/>
                  </a:lnTo>
                  <a:lnTo>
                    <a:pt x="17" y="580"/>
                  </a:lnTo>
                  <a:lnTo>
                    <a:pt x="10" y="563"/>
                  </a:lnTo>
                  <a:lnTo>
                    <a:pt x="5" y="548"/>
                  </a:lnTo>
                  <a:lnTo>
                    <a:pt x="2" y="528"/>
                  </a:lnTo>
                  <a:lnTo>
                    <a:pt x="0" y="504"/>
                  </a:lnTo>
                  <a:lnTo>
                    <a:pt x="0" y="47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sp>
          <p:nvSpPr>
            <p:cNvPr id="28" name="Freeform 36"/>
            <p:cNvSpPr>
              <a:spLocks noEditPoints="1"/>
            </p:cNvSpPr>
            <p:nvPr/>
          </p:nvSpPr>
          <p:spPr bwMode="auto">
            <a:xfrm>
              <a:off x="4319588" y="2319338"/>
              <a:ext cx="504825" cy="504825"/>
            </a:xfrm>
            <a:custGeom>
              <a:avLst/>
              <a:gdLst>
                <a:gd name="T0" fmla="*/ 1211 w 3498"/>
                <a:gd name="T1" fmla="*/ 1596 h 3498"/>
                <a:gd name="T2" fmla="*/ 952 w 3498"/>
                <a:gd name="T3" fmla="*/ 1665 h 3498"/>
                <a:gd name="T4" fmla="*/ 868 w 3498"/>
                <a:gd name="T5" fmla="*/ 1854 h 3498"/>
                <a:gd name="T6" fmla="*/ 849 w 3498"/>
                <a:gd name="T7" fmla="*/ 2210 h 3498"/>
                <a:gd name="T8" fmla="*/ 868 w 3498"/>
                <a:gd name="T9" fmla="*/ 2566 h 3498"/>
                <a:gd name="T10" fmla="*/ 951 w 3498"/>
                <a:gd name="T11" fmla="*/ 2756 h 3498"/>
                <a:gd name="T12" fmla="*/ 1209 w 3498"/>
                <a:gd name="T13" fmla="*/ 2824 h 3498"/>
                <a:gd name="T14" fmla="*/ 1884 w 3498"/>
                <a:gd name="T15" fmla="*/ 2837 h 3498"/>
                <a:gd name="T16" fmla="*/ 2457 w 3498"/>
                <a:gd name="T17" fmla="*/ 2805 h 3498"/>
                <a:gd name="T18" fmla="*/ 2590 w 3498"/>
                <a:gd name="T19" fmla="*/ 2702 h 3498"/>
                <a:gd name="T20" fmla="*/ 2644 w 3498"/>
                <a:gd name="T21" fmla="*/ 2424 h 3498"/>
                <a:gd name="T22" fmla="*/ 2647 w 3498"/>
                <a:gd name="T23" fmla="*/ 2068 h 3498"/>
                <a:gd name="T24" fmla="*/ 2607 w 3498"/>
                <a:gd name="T25" fmla="*/ 1751 h 3498"/>
                <a:gd name="T26" fmla="*/ 2490 w 3498"/>
                <a:gd name="T27" fmla="*/ 1627 h 3498"/>
                <a:gd name="T28" fmla="*/ 2019 w 3498"/>
                <a:gd name="T29" fmla="*/ 1586 h 3498"/>
                <a:gd name="T30" fmla="*/ 1977 w 3498"/>
                <a:gd name="T31" fmla="*/ 1377 h 3498"/>
                <a:gd name="T32" fmla="*/ 2006 w 3498"/>
                <a:gd name="T33" fmla="*/ 1467 h 3498"/>
                <a:gd name="T34" fmla="*/ 2106 w 3498"/>
                <a:gd name="T35" fmla="*/ 1471 h 3498"/>
                <a:gd name="T36" fmla="*/ 2293 w 3498"/>
                <a:gd name="T37" fmla="*/ 1474 h 3498"/>
                <a:gd name="T38" fmla="*/ 2147 w 3498"/>
                <a:gd name="T39" fmla="*/ 1371 h 3498"/>
                <a:gd name="T40" fmla="*/ 2090 w 3498"/>
                <a:gd name="T41" fmla="*/ 1368 h 3498"/>
                <a:gd name="T42" fmla="*/ 2086 w 3498"/>
                <a:gd name="T43" fmla="*/ 1314 h 3498"/>
                <a:gd name="T44" fmla="*/ 1664 w 3498"/>
                <a:gd name="T45" fmla="*/ 871 h 3498"/>
                <a:gd name="T46" fmla="*/ 1574 w 3498"/>
                <a:gd name="T47" fmla="*/ 968 h 3498"/>
                <a:gd name="T48" fmla="*/ 1564 w 3498"/>
                <a:gd name="T49" fmla="*/ 1314 h 3498"/>
                <a:gd name="T50" fmla="*/ 1615 w 3498"/>
                <a:gd name="T51" fmla="*/ 1444 h 3498"/>
                <a:gd name="T52" fmla="*/ 1755 w 3498"/>
                <a:gd name="T53" fmla="*/ 1481 h 3498"/>
                <a:gd name="T54" fmla="*/ 1865 w 3498"/>
                <a:gd name="T55" fmla="*/ 1401 h 3498"/>
                <a:gd name="T56" fmla="*/ 1886 w 3498"/>
                <a:gd name="T57" fmla="*/ 1065 h 3498"/>
                <a:gd name="T58" fmla="*/ 1852 w 3498"/>
                <a:gd name="T59" fmla="*/ 923 h 3498"/>
                <a:gd name="T60" fmla="*/ 1724 w 3498"/>
                <a:gd name="T61" fmla="*/ 862 h 3498"/>
                <a:gd name="T62" fmla="*/ 1253 w 3498"/>
                <a:gd name="T63" fmla="*/ 992 h 3498"/>
                <a:gd name="T64" fmla="*/ 1292 w 3498"/>
                <a:gd name="T65" fmla="*/ 1474 h 3498"/>
                <a:gd name="T66" fmla="*/ 1355 w 3498"/>
                <a:gd name="T67" fmla="*/ 981 h 3498"/>
                <a:gd name="T68" fmla="*/ 1960 w 3498"/>
                <a:gd name="T69" fmla="*/ 13 h 3498"/>
                <a:gd name="T70" fmla="*/ 2453 w 3498"/>
                <a:gd name="T71" fmla="*/ 147 h 3498"/>
                <a:gd name="T72" fmla="*/ 2876 w 3498"/>
                <a:gd name="T73" fmla="*/ 411 h 3498"/>
                <a:gd name="T74" fmla="*/ 3207 w 3498"/>
                <a:gd name="T75" fmla="*/ 781 h 3498"/>
                <a:gd name="T76" fmla="*/ 3422 w 3498"/>
                <a:gd name="T77" fmla="*/ 1235 h 3498"/>
                <a:gd name="T78" fmla="*/ 3498 w 3498"/>
                <a:gd name="T79" fmla="*/ 1748 h 3498"/>
                <a:gd name="T80" fmla="*/ 3448 w 3498"/>
                <a:gd name="T81" fmla="*/ 2165 h 3498"/>
                <a:gd name="T82" fmla="*/ 3260 w 3498"/>
                <a:gd name="T83" fmla="*/ 2632 h 3498"/>
                <a:gd name="T84" fmla="*/ 2950 w 3498"/>
                <a:gd name="T85" fmla="*/ 3020 h 3498"/>
                <a:gd name="T86" fmla="*/ 2544 w 3498"/>
                <a:gd name="T87" fmla="*/ 3307 h 3498"/>
                <a:gd name="T88" fmla="*/ 2064 w 3498"/>
                <a:gd name="T89" fmla="*/ 3469 h 3498"/>
                <a:gd name="T90" fmla="*/ 1642 w 3498"/>
                <a:gd name="T91" fmla="*/ 3495 h 3498"/>
                <a:gd name="T92" fmla="*/ 1138 w 3498"/>
                <a:gd name="T93" fmla="*/ 3389 h 3498"/>
                <a:gd name="T94" fmla="*/ 700 w 3498"/>
                <a:gd name="T95" fmla="*/ 3148 h 3498"/>
                <a:gd name="T96" fmla="*/ 350 w 3498"/>
                <a:gd name="T97" fmla="*/ 2798 h 3498"/>
                <a:gd name="T98" fmla="*/ 109 w 3498"/>
                <a:gd name="T99" fmla="*/ 2360 h 3498"/>
                <a:gd name="T100" fmla="*/ 3 w 3498"/>
                <a:gd name="T101" fmla="*/ 1856 h 3498"/>
                <a:gd name="T102" fmla="*/ 50 w 3498"/>
                <a:gd name="T103" fmla="*/ 1333 h 3498"/>
                <a:gd name="T104" fmla="*/ 239 w 3498"/>
                <a:gd name="T105" fmla="*/ 866 h 3498"/>
                <a:gd name="T106" fmla="*/ 548 w 3498"/>
                <a:gd name="T107" fmla="*/ 478 h 3498"/>
                <a:gd name="T108" fmla="*/ 954 w 3498"/>
                <a:gd name="T109" fmla="*/ 191 h 3498"/>
                <a:gd name="T110" fmla="*/ 1434 w 3498"/>
                <a:gd name="T111" fmla="*/ 29 h 3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498" h="3498">
                  <a:moveTo>
                    <a:pt x="1748" y="1584"/>
                  </a:moveTo>
                  <a:lnTo>
                    <a:pt x="1614" y="1584"/>
                  </a:lnTo>
                  <a:lnTo>
                    <a:pt x="1479" y="1586"/>
                  </a:lnTo>
                  <a:lnTo>
                    <a:pt x="1344" y="1589"/>
                  </a:lnTo>
                  <a:lnTo>
                    <a:pt x="1211" y="1596"/>
                  </a:lnTo>
                  <a:lnTo>
                    <a:pt x="1077" y="1608"/>
                  </a:lnTo>
                  <a:lnTo>
                    <a:pt x="1042" y="1615"/>
                  </a:lnTo>
                  <a:lnTo>
                    <a:pt x="1009" y="1627"/>
                  </a:lnTo>
                  <a:lnTo>
                    <a:pt x="979" y="1644"/>
                  </a:lnTo>
                  <a:lnTo>
                    <a:pt x="952" y="1665"/>
                  </a:lnTo>
                  <a:lnTo>
                    <a:pt x="928" y="1690"/>
                  </a:lnTo>
                  <a:lnTo>
                    <a:pt x="908" y="1719"/>
                  </a:lnTo>
                  <a:lnTo>
                    <a:pt x="893" y="1751"/>
                  </a:lnTo>
                  <a:lnTo>
                    <a:pt x="881" y="1785"/>
                  </a:lnTo>
                  <a:lnTo>
                    <a:pt x="868" y="1854"/>
                  </a:lnTo>
                  <a:lnTo>
                    <a:pt x="860" y="1925"/>
                  </a:lnTo>
                  <a:lnTo>
                    <a:pt x="854" y="1996"/>
                  </a:lnTo>
                  <a:lnTo>
                    <a:pt x="851" y="2068"/>
                  </a:lnTo>
                  <a:lnTo>
                    <a:pt x="850" y="2139"/>
                  </a:lnTo>
                  <a:lnTo>
                    <a:pt x="849" y="2210"/>
                  </a:lnTo>
                  <a:lnTo>
                    <a:pt x="850" y="2281"/>
                  </a:lnTo>
                  <a:lnTo>
                    <a:pt x="851" y="2352"/>
                  </a:lnTo>
                  <a:lnTo>
                    <a:pt x="853" y="2424"/>
                  </a:lnTo>
                  <a:lnTo>
                    <a:pt x="859" y="2495"/>
                  </a:lnTo>
                  <a:lnTo>
                    <a:pt x="868" y="2566"/>
                  </a:lnTo>
                  <a:lnTo>
                    <a:pt x="881" y="2635"/>
                  </a:lnTo>
                  <a:lnTo>
                    <a:pt x="891" y="2670"/>
                  </a:lnTo>
                  <a:lnTo>
                    <a:pt x="907" y="2702"/>
                  </a:lnTo>
                  <a:lnTo>
                    <a:pt x="928" y="2731"/>
                  </a:lnTo>
                  <a:lnTo>
                    <a:pt x="951" y="2756"/>
                  </a:lnTo>
                  <a:lnTo>
                    <a:pt x="978" y="2776"/>
                  </a:lnTo>
                  <a:lnTo>
                    <a:pt x="1008" y="2793"/>
                  </a:lnTo>
                  <a:lnTo>
                    <a:pt x="1041" y="2805"/>
                  </a:lnTo>
                  <a:lnTo>
                    <a:pt x="1075" y="2811"/>
                  </a:lnTo>
                  <a:lnTo>
                    <a:pt x="1209" y="2824"/>
                  </a:lnTo>
                  <a:lnTo>
                    <a:pt x="1344" y="2831"/>
                  </a:lnTo>
                  <a:lnTo>
                    <a:pt x="1479" y="2836"/>
                  </a:lnTo>
                  <a:lnTo>
                    <a:pt x="1614" y="2837"/>
                  </a:lnTo>
                  <a:lnTo>
                    <a:pt x="1748" y="2837"/>
                  </a:lnTo>
                  <a:lnTo>
                    <a:pt x="1884" y="2837"/>
                  </a:lnTo>
                  <a:lnTo>
                    <a:pt x="2019" y="2836"/>
                  </a:lnTo>
                  <a:lnTo>
                    <a:pt x="2154" y="2831"/>
                  </a:lnTo>
                  <a:lnTo>
                    <a:pt x="2289" y="2824"/>
                  </a:lnTo>
                  <a:lnTo>
                    <a:pt x="2423" y="2811"/>
                  </a:lnTo>
                  <a:lnTo>
                    <a:pt x="2457" y="2805"/>
                  </a:lnTo>
                  <a:lnTo>
                    <a:pt x="2489" y="2793"/>
                  </a:lnTo>
                  <a:lnTo>
                    <a:pt x="2520" y="2776"/>
                  </a:lnTo>
                  <a:lnTo>
                    <a:pt x="2546" y="2756"/>
                  </a:lnTo>
                  <a:lnTo>
                    <a:pt x="2571" y="2731"/>
                  </a:lnTo>
                  <a:lnTo>
                    <a:pt x="2590" y="2702"/>
                  </a:lnTo>
                  <a:lnTo>
                    <a:pt x="2605" y="2670"/>
                  </a:lnTo>
                  <a:lnTo>
                    <a:pt x="2617" y="2635"/>
                  </a:lnTo>
                  <a:lnTo>
                    <a:pt x="2630" y="2566"/>
                  </a:lnTo>
                  <a:lnTo>
                    <a:pt x="2638" y="2495"/>
                  </a:lnTo>
                  <a:lnTo>
                    <a:pt x="2644" y="2424"/>
                  </a:lnTo>
                  <a:lnTo>
                    <a:pt x="2647" y="2352"/>
                  </a:lnTo>
                  <a:lnTo>
                    <a:pt x="2648" y="2281"/>
                  </a:lnTo>
                  <a:lnTo>
                    <a:pt x="2649" y="2210"/>
                  </a:lnTo>
                  <a:lnTo>
                    <a:pt x="2648" y="2139"/>
                  </a:lnTo>
                  <a:lnTo>
                    <a:pt x="2647" y="2068"/>
                  </a:lnTo>
                  <a:lnTo>
                    <a:pt x="2645" y="1996"/>
                  </a:lnTo>
                  <a:lnTo>
                    <a:pt x="2639" y="1925"/>
                  </a:lnTo>
                  <a:lnTo>
                    <a:pt x="2630" y="1854"/>
                  </a:lnTo>
                  <a:lnTo>
                    <a:pt x="2617" y="1785"/>
                  </a:lnTo>
                  <a:lnTo>
                    <a:pt x="2607" y="1751"/>
                  </a:lnTo>
                  <a:lnTo>
                    <a:pt x="2591" y="1719"/>
                  </a:lnTo>
                  <a:lnTo>
                    <a:pt x="2571" y="1690"/>
                  </a:lnTo>
                  <a:lnTo>
                    <a:pt x="2547" y="1665"/>
                  </a:lnTo>
                  <a:lnTo>
                    <a:pt x="2520" y="1644"/>
                  </a:lnTo>
                  <a:lnTo>
                    <a:pt x="2490" y="1627"/>
                  </a:lnTo>
                  <a:lnTo>
                    <a:pt x="2457" y="1615"/>
                  </a:lnTo>
                  <a:lnTo>
                    <a:pt x="2423" y="1608"/>
                  </a:lnTo>
                  <a:lnTo>
                    <a:pt x="2289" y="1596"/>
                  </a:lnTo>
                  <a:lnTo>
                    <a:pt x="2154" y="1589"/>
                  </a:lnTo>
                  <a:lnTo>
                    <a:pt x="2019" y="1586"/>
                  </a:lnTo>
                  <a:lnTo>
                    <a:pt x="1884" y="1584"/>
                  </a:lnTo>
                  <a:lnTo>
                    <a:pt x="1748" y="1584"/>
                  </a:lnTo>
                  <a:close/>
                  <a:moveTo>
                    <a:pt x="1976" y="869"/>
                  </a:moveTo>
                  <a:lnTo>
                    <a:pt x="1976" y="1347"/>
                  </a:lnTo>
                  <a:lnTo>
                    <a:pt x="1977" y="1377"/>
                  </a:lnTo>
                  <a:lnTo>
                    <a:pt x="1979" y="1402"/>
                  </a:lnTo>
                  <a:lnTo>
                    <a:pt x="1981" y="1423"/>
                  </a:lnTo>
                  <a:lnTo>
                    <a:pt x="1985" y="1438"/>
                  </a:lnTo>
                  <a:lnTo>
                    <a:pt x="1994" y="1454"/>
                  </a:lnTo>
                  <a:lnTo>
                    <a:pt x="2006" y="1467"/>
                  </a:lnTo>
                  <a:lnTo>
                    <a:pt x="2020" y="1477"/>
                  </a:lnTo>
                  <a:lnTo>
                    <a:pt x="2037" y="1482"/>
                  </a:lnTo>
                  <a:lnTo>
                    <a:pt x="2057" y="1483"/>
                  </a:lnTo>
                  <a:lnTo>
                    <a:pt x="2082" y="1480"/>
                  </a:lnTo>
                  <a:lnTo>
                    <a:pt x="2106" y="1471"/>
                  </a:lnTo>
                  <a:lnTo>
                    <a:pt x="2131" y="1456"/>
                  </a:lnTo>
                  <a:lnTo>
                    <a:pt x="2156" y="1435"/>
                  </a:lnTo>
                  <a:lnTo>
                    <a:pt x="2183" y="1408"/>
                  </a:lnTo>
                  <a:lnTo>
                    <a:pt x="2183" y="1474"/>
                  </a:lnTo>
                  <a:lnTo>
                    <a:pt x="2293" y="1474"/>
                  </a:lnTo>
                  <a:lnTo>
                    <a:pt x="2293" y="869"/>
                  </a:lnTo>
                  <a:lnTo>
                    <a:pt x="2183" y="869"/>
                  </a:lnTo>
                  <a:lnTo>
                    <a:pt x="2183" y="1331"/>
                  </a:lnTo>
                  <a:lnTo>
                    <a:pt x="2165" y="1355"/>
                  </a:lnTo>
                  <a:lnTo>
                    <a:pt x="2147" y="1371"/>
                  </a:lnTo>
                  <a:lnTo>
                    <a:pt x="2130" y="1380"/>
                  </a:lnTo>
                  <a:lnTo>
                    <a:pt x="2114" y="1383"/>
                  </a:lnTo>
                  <a:lnTo>
                    <a:pt x="2103" y="1382"/>
                  </a:lnTo>
                  <a:lnTo>
                    <a:pt x="2096" y="1377"/>
                  </a:lnTo>
                  <a:lnTo>
                    <a:pt x="2090" y="1368"/>
                  </a:lnTo>
                  <a:lnTo>
                    <a:pt x="2088" y="1357"/>
                  </a:lnTo>
                  <a:lnTo>
                    <a:pt x="2087" y="1353"/>
                  </a:lnTo>
                  <a:lnTo>
                    <a:pt x="2086" y="1344"/>
                  </a:lnTo>
                  <a:lnTo>
                    <a:pt x="2086" y="1331"/>
                  </a:lnTo>
                  <a:lnTo>
                    <a:pt x="2086" y="1314"/>
                  </a:lnTo>
                  <a:lnTo>
                    <a:pt x="2086" y="869"/>
                  </a:lnTo>
                  <a:lnTo>
                    <a:pt x="1976" y="869"/>
                  </a:lnTo>
                  <a:close/>
                  <a:moveTo>
                    <a:pt x="1724" y="862"/>
                  </a:moveTo>
                  <a:lnTo>
                    <a:pt x="1692" y="864"/>
                  </a:lnTo>
                  <a:lnTo>
                    <a:pt x="1664" y="871"/>
                  </a:lnTo>
                  <a:lnTo>
                    <a:pt x="1639" y="884"/>
                  </a:lnTo>
                  <a:lnTo>
                    <a:pt x="1615" y="901"/>
                  </a:lnTo>
                  <a:lnTo>
                    <a:pt x="1596" y="923"/>
                  </a:lnTo>
                  <a:lnTo>
                    <a:pt x="1584" y="943"/>
                  </a:lnTo>
                  <a:lnTo>
                    <a:pt x="1574" y="968"/>
                  </a:lnTo>
                  <a:lnTo>
                    <a:pt x="1568" y="996"/>
                  </a:lnTo>
                  <a:lnTo>
                    <a:pt x="1564" y="1029"/>
                  </a:lnTo>
                  <a:lnTo>
                    <a:pt x="1562" y="1065"/>
                  </a:lnTo>
                  <a:lnTo>
                    <a:pt x="1562" y="1278"/>
                  </a:lnTo>
                  <a:lnTo>
                    <a:pt x="1564" y="1314"/>
                  </a:lnTo>
                  <a:lnTo>
                    <a:pt x="1568" y="1347"/>
                  </a:lnTo>
                  <a:lnTo>
                    <a:pt x="1574" y="1376"/>
                  </a:lnTo>
                  <a:lnTo>
                    <a:pt x="1584" y="1400"/>
                  </a:lnTo>
                  <a:lnTo>
                    <a:pt x="1596" y="1421"/>
                  </a:lnTo>
                  <a:lnTo>
                    <a:pt x="1615" y="1444"/>
                  </a:lnTo>
                  <a:lnTo>
                    <a:pt x="1639" y="1461"/>
                  </a:lnTo>
                  <a:lnTo>
                    <a:pt x="1664" y="1473"/>
                  </a:lnTo>
                  <a:lnTo>
                    <a:pt x="1692" y="1481"/>
                  </a:lnTo>
                  <a:lnTo>
                    <a:pt x="1724" y="1483"/>
                  </a:lnTo>
                  <a:lnTo>
                    <a:pt x="1755" y="1481"/>
                  </a:lnTo>
                  <a:lnTo>
                    <a:pt x="1784" y="1473"/>
                  </a:lnTo>
                  <a:lnTo>
                    <a:pt x="1809" y="1461"/>
                  </a:lnTo>
                  <a:lnTo>
                    <a:pt x="1833" y="1444"/>
                  </a:lnTo>
                  <a:lnTo>
                    <a:pt x="1852" y="1421"/>
                  </a:lnTo>
                  <a:lnTo>
                    <a:pt x="1865" y="1401"/>
                  </a:lnTo>
                  <a:lnTo>
                    <a:pt x="1874" y="1376"/>
                  </a:lnTo>
                  <a:lnTo>
                    <a:pt x="1880" y="1347"/>
                  </a:lnTo>
                  <a:lnTo>
                    <a:pt x="1885" y="1314"/>
                  </a:lnTo>
                  <a:lnTo>
                    <a:pt x="1886" y="1278"/>
                  </a:lnTo>
                  <a:lnTo>
                    <a:pt x="1886" y="1065"/>
                  </a:lnTo>
                  <a:lnTo>
                    <a:pt x="1885" y="1029"/>
                  </a:lnTo>
                  <a:lnTo>
                    <a:pt x="1880" y="996"/>
                  </a:lnTo>
                  <a:lnTo>
                    <a:pt x="1874" y="968"/>
                  </a:lnTo>
                  <a:lnTo>
                    <a:pt x="1865" y="943"/>
                  </a:lnTo>
                  <a:lnTo>
                    <a:pt x="1852" y="923"/>
                  </a:lnTo>
                  <a:lnTo>
                    <a:pt x="1833" y="901"/>
                  </a:lnTo>
                  <a:lnTo>
                    <a:pt x="1809" y="884"/>
                  </a:lnTo>
                  <a:lnTo>
                    <a:pt x="1784" y="871"/>
                  </a:lnTo>
                  <a:lnTo>
                    <a:pt x="1755" y="864"/>
                  </a:lnTo>
                  <a:lnTo>
                    <a:pt x="1724" y="862"/>
                  </a:lnTo>
                  <a:close/>
                  <a:moveTo>
                    <a:pt x="1140" y="661"/>
                  </a:moveTo>
                  <a:lnTo>
                    <a:pt x="1179" y="775"/>
                  </a:lnTo>
                  <a:lnTo>
                    <a:pt x="1219" y="888"/>
                  </a:lnTo>
                  <a:lnTo>
                    <a:pt x="1237" y="942"/>
                  </a:lnTo>
                  <a:lnTo>
                    <a:pt x="1253" y="992"/>
                  </a:lnTo>
                  <a:lnTo>
                    <a:pt x="1266" y="1037"/>
                  </a:lnTo>
                  <a:lnTo>
                    <a:pt x="1277" y="1078"/>
                  </a:lnTo>
                  <a:lnTo>
                    <a:pt x="1286" y="1114"/>
                  </a:lnTo>
                  <a:lnTo>
                    <a:pt x="1292" y="1146"/>
                  </a:lnTo>
                  <a:lnTo>
                    <a:pt x="1292" y="1474"/>
                  </a:lnTo>
                  <a:lnTo>
                    <a:pt x="1414" y="1474"/>
                  </a:lnTo>
                  <a:lnTo>
                    <a:pt x="1414" y="1146"/>
                  </a:lnTo>
                  <a:lnTo>
                    <a:pt x="1560" y="661"/>
                  </a:lnTo>
                  <a:lnTo>
                    <a:pt x="1437" y="661"/>
                  </a:lnTo>
                  <a:lnTo>
                    <a:pt x="1355" y="981"/>
                  </a:lnTo>
                  <a:lnTo>
                    <a:pt x="1269" y="661"/>
                  </a:lnTo>
                  <a:lnTo>
                    <a:pt x="1140" y="661"/>
                  </a:lnTo>
                  <a:close/>
                  <a:moveTo>
                    <a:pt x="1748" y="0"/>
                  </a:moveTo>
                  <a:lnTo>
                    <a:pt x="1855" y="3"/>
                  </a:lnTo>
                  <a:lnTo>
                    <a:pt x="1960" y="13"/>
                  </a:lnTo>
                  <a:lnTo>
                    <a:pt x="2064" y="29"/>
                  </a:lnTo>
                  <a:lnTo>
                    <a:pt x="2165" y="50"/>
                  </a:lnTo>
                  <a:lnTo>
                    <a:pt x="2263" y="76"/>
                  </a:lnTo>
                  <a:lnTo>
                    <a:pt x="2360" y="109"/>
                  </a:lnTo>
                  <a:lnTo>
                    <a:pt x="2453" y="147"/>
                  </a:lnTo>
                  <a:lnTo>
                    <a:pt x="2544" y="191"/>
                  </a:lnTo>
                  <a:lnTo>
                    <a:pt x="2632" y="239"/>
                  </a:lnTo>
                  <a:lnTo>
                    <a:pt x="2717" y="292"/>
                  </a:lnTo>
                  <a:lnTo>
                    <a:pt x="2798" y="350"/>
                  </a:lnTo>
                  <a:lnTo>
                    <a:pt x="2876" y="411"/>
                  </a:lnTo>
                  <a:lnTo>
                    <a:pt x="2950" y="478"/>
                  </a:lnTo>
                  <a:lnTo>
                    <a:pt x="3020" y="548"/>
                  </a:lnTo>
                  <a:lnTo>
                    <a:pt x="3087" y="622"/>
                  </a:lnTo>
                  <a:lnTo>
                    <a:pt x="3148" y="700"/>
                  </a:lnTo>
                  <a:lnTo>
                    <a:pt x="3207" y="781"/>
                  </a:lnTo>
                  <a:lnTo>
                    <a:pt x="3260" y="866"/>
                  </a:lnTo>
                  <a:lnTo>
                    <a:pt x="3307" y="954"/>
                  </a:lnTo>
                  <a:lnTo>
                    <a:pt x="3351" y="1045"/>
                  </a:lnTo>
                  <a:lnTo>
                    <a:pt x="3389" y="1138"/>
                  </a:lnTo>
                  <a:lnTo>
                    <a:pt x="3422" y="1235"/>
                  </a:lnTo>
                  <a:lnTo>
                    <a:pt x="3448" y="1333"/>
                  </a:lnTo>
                  <a:lnTo>
                    <a:pt x="3469" y="1434"/>
                  </a:lnTo>
                  <a:lnTo>
                    <a:pt x="3485" y="1538"/>
                  </a:lnTo>
                  <a:lnTo>
                    <a:pt x="3495" y="1643"/>
                  </a:lnTo>
                  <a:lnTo>
                    <a:pt x="3498" y="1748"/>
                  </a:lnTo>
                  <a:lnTo>
                    <a:pt x="3498" y="1750"/>
                  </a:lnTo>
                  <a:lnTo>
                    <a:pt x="3495" y="1856"/>
                  </a:lnTo>
                  <a:lnTo>
                    <a:pt x="3485" y="1960"/>
                  </a:lnTo>
                  <a:lnTo>
                    <a:pt x="3469" y="2064"/>
                  </a:lnTo>
                  <a:lnTo>
                    <a:pt x="3448" y="2165"/>
                  </a:lnTo>
                  <a:lnTo>
                    <a:pt x="3422" y="2263"/>
                  </a:lnTo>
                  <a:lnTo>
                    <a:pt x="3389" y="2360"/>
                  </a:lnTo>
                  <a:lnTo>
                    <a:pt x="3351" y="2453"/>
                  </a:lnTo>
                  <a:lnTo>
                    <a:pt x="3307" y="2544"/>
                  </a:lnTo>
                  <a:lnTo>
                    <a:pt x="3260" y="2632"/>
                  </a:lnTo>
                  <a:lnTo>
                    <a:pt x="3207" y="2717"/>
                  </a:lnTo>
                  <a:lnTo>
                    <a:pt x="3148" y="2798"/>
                  </a:lnTo>
                  <a:lnTo>
                    <a:pt x="3087" y="2876"/>
                  </a:lnTo>
                  <a:lnTo>
                    <a:pt x="3020" y="2950"/>
                  </a:lnTo>
                  <a:lnTo>
                    <a:pt x="2950" y="3020"/>
                  </a:lnTo>
                  <a:lnTo>
                    <a:pt x="2876" y="3087"/>
                  </a:lnTo>
                  <a:lnTo>
                    <a:pt x="2798" y="3148"/>
                  </a:lnTo>
                  <a:lnTo>
                    <a:pt x="2717" y="3207"/>
                  </a:lnTo>
                  <a:lnTo>
                    <a:pt x="2632" y="3260"/>
                  </a:lnTo>
                  <a:lnTo>
                    <a:pt x="2544" y="3307"/>
                  </a:lnTo>
                  <a:lnTo>
                    <a:pt x="2453" y="3351"/>
                  </a:lnTo>
                  <a:lnTo>
                    <a:pt x="2360" y="3389"/>
                  </a:lnTo>
                  <a:lnTo>
                    <a:pt x="2263" y="3422"/>
                  </a:lnTo>
                  <a:lnTo>
                    <a:pt x="2165" y="3448"/>
                  </a:lnTo>
                  <a:lnTo>
                    <a:pt x="2064" y="3469"/>
                  </a:lnTo>
                  <a:lnTo>
                    <a:pt x="1960" y="3485"/>
                  </a:lnTo>
                  <a:lnTo>
                    <a:pt x="1855" y="3495"/>
                  </a:lnTo>
                  <a:lnTo>
                    <a:pt x="1750" y="3498"/>
                  </a:lnTo>
                  <a:lnTo>
                    <a:pt x="1748" y="3498"/>
                  </a:lnTo>
                  <a:lnTo>
                    <a:pt x="1642" y="3495"/>
                  </a:lnTo>
                  <a:lnTo>
                    <a:pt x="1538" y="3485"/>
                  </a:lnTo>
                  <a:lnTo>
                    <a:pt x="1434" y="3469"/>
                  </a:lnTo>
                  <a:lnTo>
                    <a:pt x="1333" y="3448"/>
                  </a:lnTo>
                  <a:lnTo>
                    <a:pt x="1235" y="3422"/>
                  </a:lnTo>
                  <a:lnTo>
                    <a:pt x="1138" y="3389"/>
                  </a:lnTo>
                  <a:lnTo>
                    <a:pt x="1045" y="3351"/>
                  </a:lnTo>
                  <a:lnTo>
                    <a:pt x="954" y="3307"/>
                  </a:lnTo>
                  <a:lnTo>
                    <a:pt x="866" y="3260"/>
                  </a:lnTo>
                  <a:lnTo>
                    <a:pt x="781" y="3207"/>
                  </a:lnTo>
                  <a:lnTo>
                    <a:pt x="700" y="3148"/>
                  </a:lnTo>
                  <a:lnTo>
                    <a:pt x="622" y="3087"/>
                  </a:lnTo>
                  <a:lnTo>
                    <a:pt x="548" y="3020"/>
                  </a:lnTo>
                  <a:lnTo>
                    <a:pt x="478" y="2950"/>
                  </a:lnTo>
                  <a:lnTo>
                    <a:pt x="411" y="2876"/>
                  </a:lnTo>
                  <a:lnTo>
                    <a:pt x="350" y="2798"/>
                  </a:lnTo>
                  <a:lnTo>
                    <a:pt x="292" y="2717"/>
                  </a:lnTo>
                  <a:lnTo>
                    <a:pt x="239" y="2632"/>
                  </a:lnTo>
                  <a:lnTo>
                    <a:pt x="191" y="2544"/>
                  </a:lnTo>
                  <a:lnTo>
                    <a:pt x="147" y="2453"/>
                  </a:lnTo>
                  <a:lnTo>
                    <a:pt x="109" y="2360"/>
                  </a:lnTo>
                  <a:lnTo>
                    <a:pt x="76" y="2263"/>
                  </a:lnTo>
                  <a:lnTo>
                    <a:pt x="50" y="2165"/>
                  </a:lnTo>
                  <a:lnTo>
                    <a:pt x="29" y="2064"/>
                  </a:lnTo>
                  <a:lnTo>
                    <a:pt x="13" y="1960"/>
                  </a:lnTo>
                  <a:lnTo>
                    <a:pt x="3" y="1856"/>
                  </a:lnTo>
                  <a:lnTo>
                    <a:pt x="0" y="1749"/>
                  </a:lnTo>
                  <a:lnTo>
                    <a:pt x="3" y="1643"/>
                  </a:lnTo>
                  <a:lnTo>
                    <a:pt x="13" y="1538"/>
                  </a:lnTo>
                  <a:lnTo>
                    <a:pt x="29" y="1434"/>
                  </a:lnTo>
                  <a:lnTo>
                    <a:pt x="50" y="1333"/>
                  </a:lnTo>
                  <a:lnTo>
                    <a:pt x="76" y="1235"/>
                  </a:lnTo>
                  <a:lnTo>
                    <a:pt x="109" y="1138"/>
                  </a:lnTo>
                  <a:lnTo>
                    <a:pt x="147" y="1045"/>
                  </a:lnTo>
                  <a:lnTo>
                    <a:pt x="191" y="954"/>
                  </a:lnTo>
                  <a:lnTo>
                    <a:pt x="239" y="866"/>
                  </a:lnTo>
                  <a:lnTo>
                    <a:pt x="292" y="781"/>
                  </a:lnTo>
                  <a:lnTo>
                    <a:pt x="350" y="700"/>
                  </a:lnTo>
                  <a:lnTo>
                    <a:pt x="411" y="622"/>
                  </a:lnTo>
                  <a:lnTo>
                    <a:pt x="478" y="548"/>
                  </a:lnTo>
                  <a:lnTo>
                    <a:pt x="548" y="478"/>
                  </a:lnTo>
                  <a:lnTo>
                    <a:pt x="622" y="411"/>
                  </a:lnTo>
                  <a:lnTo>
                    <a:pt x="700" y="350"/>
                  </a:lnTo>
                  <a:lnTo>
                    <a:pt x="781" y="292"/>
                  </a:lnTo>
                  <a:lnTo>
                    <a:pt x="866" y="239"/>
                  </a:lnTo>
                  <a:lnTo>
                    <a:pt x="954" y="191"/>
                  </a:lnTo>
                  <a:lnTo>
                    <a:pt x="1045" y="147"/>
                  </a:lnTo>
                  <a:lnTo>
                    <a:pt x="1138" y="109"/>
                  </a:lnTo>
                  <a:lnTo>
                    <a:pt x="1235" y="76"/>
                  </a:lnTo>
                  <a:lnTo>
                    <a:pt x="1333" y="50"/>
                  </a:lnTo>
                  <a:lnTo>
                    <a:pt x="1434" y="29"/>
                  </a:lnTo>
                  <a:lnTo>
                    <a:pt x="1538" y="13"/>
                  </a:lnTo>
                  <a:lnTo>
                    <a:pt x="1642" y="3"/>
                  </a:lnTo>
                  <a:lnTo>
                    <a:pt x="17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fr-FR"/>
            </a:p>
          </p:txBody>
        </p:sp>
      </p:grpSp>
    </p:spTree>
    <p:extLst>
      <p:ext uri="{BB962C8B-B14F-4D97-AF65-F5344CB8AC3E}">
        <p14:creationId xmlns:p14="http://schemas.microsoft.com/office/powerpoint/2010/main" val="163214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Image 31"/>
          <p:cNvPicPr>
            <a:picLocks noChangeAspect="1"/>
          </p:cNvPicPr>
          <p:nvPr/>
        </p:nvPicPr>
        <p:blipFill>
          <a:blip r:embed="rId3" cstate="print">
            <a:duotone>
              <a:prstClr val="black"/>
              <a:schemeClr val="accent1">
                <a:tint val="45000"/>
                <a:satMod val="400000"/>
              </a:schemeClr>
            </a:duotone>
          </a:blip>
          <a:stretch>
            <a:fillRect/>
          </a:stretch>
        </p:blipFill>
        <p:spPr>
          <a:xfrm>
            <a:off x="-36417" y="3367"/>
            <a:ext cx="9169400" cy="5168900"/>
          </a:xfrm>
          <a:prstGeom prst="rect">
            <a:avLst/>
          </a:prstGeom>
        </p:spPr>
      </p:pic>
      <p:sp>
        <p:nvSpPr>
          <p:cNvPr id="63" name="Oval 13"/>
          <p:cNvSpPr/>
          <p:nvPr/>
        </p:nvSpPr>
        <p:spPr>
          <a:xfrm>
            <a:off x="1802084" y="1125946"/>
            <a:ext cx="1179647" cy="1150154"/>
          </a:xfrm>
          <a:prstGeom prst="ellipse">
            <a:avLst/>
          </a:prstGeom>
          <a:solidFill>
            <a:schemeClr val="accent1">
              <a:lumMod val="40000"/>
              <a:lumOff val="60000"/>
              <a:alpha val="66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64" name="Oval 14"/>
          <p:cNvSpPr/>
          <p:nvPr/>
        </p:nvSpPr>
        <p:spPr>
          <a:xfrm>
            <a:off x="1883559" y="1205561"/>
            <a:ext cx="1017494" cy="992053"/>
          </a:xfrm>
          <a:prstGeom prst="ellipse">
            <a:avLst/>
          </a:prstGeom>
          <a:solidFill>
            <a:schemeClr val="bg1"/>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dirty="0">
              <a:latin typeface="Trebuchet MS"/>
              <a:cs typeface="Trebuchet MS"/>
            </a:endParaRPr>
          </a:p>
        </p:txBody>
      </p:sp>
      <p:sp>
        <p:nvSpPr>
          <p:cNvPr id="68" name="AutoShape 2" descr="Image result for lawn"/>
          <p:cNvSpPr>
            <a:spLocks noChangeAspect="1" noChangeArrowheads="1"/>
          </p:cNvSpPr>
          <p:nvPr/>
        </p:nvSpPr>
        <p:spPr bwMode="auto">
          <a:xfrm>
            <a:off x="-408065" y="-156971"/>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69" name="AutoShape 5" descr="Image result for pos terminal"/>
          <p:cNvSpPr>
            <a:spLocks noChangeAspect="1" noChangeArrowheads="1"/>
          </p:cNvSpPr>
          <p:nvPr/>
        </p:nvSpPr>
        <p:spPr bwMode="auto">
          <a:xfrm>
            <a:off x="-408065" y="-156971"/>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70" name="AutoShape 8" descr="Image result for hvac system"/>
          <p:cNvSpPr>
            <a:spLocks noChangeAspect="1" noChangeArrowheads="1"/>
          </p:cNvSpPr>
          <p:nvPr/>
        </p:nvSpPr>
        <p:spPr bwMode="auto">
          <a:xfrm>
            <a:off x="348212" y="-301434"/>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17" name="Oval 13"/>
          <p:cNvSpPr/>
          <p:nvPr/>
        </p:nvSpPr>
        <p:spPr>
          <a:xfrm>
            <a:off x="3118963" y="1098308"/>
            <a:ext cx="1179647" cy="1150154"/>
          </a:xfrm>
          <a:prstGeom prst="ellipse">
            <a:avLst/>
          </a:prstGeom>
          <a:solidFill>
            <a:schemeClr val="accent1">
              <a:lumMod val="40000"/>
              <a:lumOff val="60000"/>
              <a:alpha val="66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18" name="Oval 14"/>
          <p:cNvSpPr/>
          <p:nvPr/>
        </p:nvSpPr>
        <p:spPr>
          <a:xfrm>
            <a:off x="3200438" y="1177923"/>
            <a:ext cx="1017494" cy="992053"/>
          </a:xfrm>
          <a:prstGeom prst="ellipse">
            <a:avLst/>
          </a:prstGeom>
          <a:solidFill>
            <a:schemeClr val="bg1"/>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dirty="0">
              <a:latin typeface="Trebuchet MS"/>
              <a:cs typeface="Trebuchet MS"/>
            </a:endParaRPr>
          </a:p>
        </p:txBody>
      </p:sp>
      <p:sp>
        <p:nvSpPr>
          <p:cNvPr id="121" name="Oval 13"/>
          <p:cNvSpPr/>
          <p:nvPr/>
        </p:nvSpPr>
        <p:spPr>
          <a:xfrm>
            <a:off x="490667" y="1133659"/>
            <a:ext cx="1179647" cy="1150154"/>
          </a:xfrm>
          <a:prstGeom prst="ellipse">
            <a:avLst/>
          </a:prstGeom>
          <a:solidFill>
            <a:schemeClr val="accent1">
              <a:lumMod val="40000"/>
              <a:lumOff val="60000"/>
              <a:alpha val="66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22" name="Oval 14"/>
          <p:cNvSpPr/>
          <p:nvPr/>
        </p:nvSpPr>
        <p:spPr>
          <a:xfrm>
            <a:off x="572142" y="1213274"/>
            <a:ext cx="1017494" cy="992053"/>
          </a:xfrm>
          <a:prstGeom prst="ellipse">
            <a:avLst/>
          </a:prstGeom>
          <a:solidFill>
            <a:schemeClr val="bg1"/>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dirty="0">
              <a:latin typeface="Trebuchet MS"/>
              <a:cs typeface="Trebuchet MS"/>
            </a:endParaRPr>
          </a:p>
        </p:txBody>
      </p:sp>
      <p:pic>
        <p:nvPicPr>
          <p:cNvPr id="123" name="Picture 24" descr="http://www2.pcmag.com/media/images/492355-par-brink-pos.jpg?thumb=y"/>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336294" y="1368649"/>
            <a:ext cx="741329" cy="587135"/>
          </a:xfrm>
          <a:prstGeom prst="rect">
            <a:avLst/>
          </a:prstGeom>
          <a:noFill/>
        </p:spPr>
      </p:pic>
      <p:sp>
        <p:nvSpPr>
          <p:cNvPr id="138" name="Oval 13"/>
          <p:cNvSpPr/>
          <p:nvPr/>
        </p:nvSpPr>
        <p:spPr>
          <a:xfrm>
            <a:off x="483657" y="2361217"/>
            <a:ext cx="1179647" cy="1150154"/>
          </a:xfrm>
          <a:prstGeom prst="ellipse">
            <a:avLst/>
          </a:prstGeom>
          <a:solidFill>
            <a:schemeClr val="accent1">
              <a:lumMod val="40000"/>
              <a:lumOff val="60000"/>
              <a:alpha val="66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39" name="Oval 14"/>
          <p:cNvSpPr/>
          <p:nvPr/>
        </p:nvSpPr>
        <p:spPr>
          <a:xfrm>
            <a:off x="565132" y="2440832"/>
            <a:ext cx="1017494" cy="992053"/>
          </a:xfrm>
          <a:prstGeom prst="ellipse">
            <a:avLst/>
          </a:prstGeom>
          <a:solidFill>
            <a:schemeClr val="bg1"/>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dirty="0">
              <a:latin typeface="Trebuchet MS"/>
              <a:cs typeface="Trebuchet MS"/>
            </a:endParaRPr>
          </a:p>
        </p:txBody>
      </p:sp>
      <p:sp>
        <p:nvSpPr>
          <p:cNvPr id="142" name="Oval 13"/>
          <p:cNvSpPr/>
          <p:nvPr/>
        </p:nvSpPr>
        <p:spPr>
          <a:xfrm>
            <a:off x="1807554" y="2361217"/>
            <a:ext cx="1179647" cy="1150154"/>
          </a:xfrm>
          <a:prstGeom prst="ellipse">
            <a:avLst/>
          </a:prstGeom>
          <a:solidFill>
            <a:schemeClr val="accent1">
              <a:lumMod val="40000"/>
              <a:lumOff val="60000"/>
              <a:alpha val="66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43" name="Oval 14"/>
          <p:cNvSpPr/>
          <p:nvPr/>
        </p:nvSpPr>
        <p:spPr>
          <a:xfrm>
            <a:off x="1889029" y="2440832"/>
            <a:ext cx="1017494" cy="992053"/>
          </a:xfrm>
          <a:prstGeom prst="ellipse">
            <a:avLst/>
          </a:prstGeom>
          <a:solidFill>
            <a:schemeClr val="bg1"/>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dirty="0">
              <a:latin typeface="Trebuchet MS"/>
              <a:cs typeface="Trebuchet MS"/>
            </a:endParaRPr>
          </a:p>
        </p:txBody>
      </p:sp>
      <p:pic>
        <p:nvPicPr>
          <p:cNvPr id="145" name="Picture 6" descr="http://www.myboard.de/uploads/pics/SMARTBoard_SB885ix.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060650" y="2624096"/>
            <a:ext cx="676066" cy="634884"/>
          </a:xfrm>
          <a:prstGeom prst="rect">
            <a:avLst/>
          </a:prstGeom>
          <a:noFill/>
        </p:spPr>
      </p:pic>
      <p:sp>
        <p:nvSpPr>
          <p:cNvPr id="146" name="Oval 13"/>
          <p:cNvSpPr/>
          <p:nvPr/>
        </p:nvSpPr>
        <p:spPr>
          <a:xfrm>
            <a:off x="3124358" y="2361217"/>
            <a:ext cx="1179647" cy="1150154"/>
          </a:xfrm>
          <a:prstGeom prst="ellipse">
            <a:avLst/>
          </a:prstGeom>
          <a:solidFill>
            <a:schemeClr val="accent1">
              <a:lumMod val="40000"/>
              <a:lumOff val="60000"/>
              <a:alpha val="66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47" name="Oval 14"/>
          <p:cNvSpPr/>
          <p:nvPr/>
        </p:nvSpPr>
        <p:spPr>
          <a:xfrm>
            <a:off x="3205833" y="2440832"/>
            <a:ext cx="1017494" cy="992053"/>
          </a:xfrm>
          <a:prstGeom prst="ellipse">
            <a:avLst/>
          </a:prstGeom>
          <a:solidFill>
            <a:schemeClr val="bg1"/>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dirty="0">
              <a:latin typeface="Trebuchet MS"/>
              <a:cs typeface="Trebuchet MS"/>
            </a:endParaRPr>
          </a:p>
        </p:txBody>
      </p:sp>
      <p:pic>
        <p:nvPicPr>
          <p:cNvPr id="149" name="Picture 2" descr="http://www.lowes.com/projects/images/buying-guides/Heating-Cooling/selecting-the-right-thermostat-for-your-home-hero.jpg"/>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l="25810" t="8626" r="25761" b="6449"/>
          <a:stretch>
            <a:fillRect/>
          </a:stretch>
        </p:blipFill>
        <p:spPr bwMode="auto">
          <a:xfrm>
            <a:off x="2027849" y="1336454"/>
            <a:ext cx="749261" cy="747050"/>
          </a:xfrm>
          <a:prstGeom prst="rect">
            <a:avLst/>
          </a:prstGeom>
          <a:noFill/>
        </p:spPr>
      </p:pic>
      <p:sp>
        <p:nvSpPr>
          <p:cNvPr id="164" name="Oval 13"/>
          <p:cNvSpPr/>
          <p:nvPr/>
        </p:nvSpPr>
        <p:spPr>
          <a:xfrm>
            <a:off x="1802084" y="3610267"/>
            <a:ext cx="1179647" cy="1150154"/>
          </a:xfrm>
          <a:prstGeom prst="ellipse">
            <a:avLst/>
          </a:prstGeom>
          <a:solidFill>
            <a:schemeClr val="accent1">
              <a:lumMod val="40000"/>
              <a:lumOff val="60000"/>
              <a:alpha val="66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65" name="Oval 14"/>
          <p:cNvSpPr/>
          <p:nvPr/>
        </p:nvSpPr>
        <p:spPr>
          <a:xfrm>
            <a:off x="1883559" y="3689882"/>
            <a:ext cx="1017494" cy="992053"/>
          </a:xfrm>
          <a:prstGeom prst="ellipse">
            <a:avLst/>
          </a:prstGeom>
          <a:solidFill>
            <a:schemeClr val="bg1"/>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dirty="0">
              <a:latin typeface="Trebuchet MS"/>
              <a:cs typeface="Trebuchet MS"/>
            </a:endParaRPr>
          </a:p>
        </p:txBody>
      </p:sp>
      <p:sp>
        <p:nvSpPr>
          <p:cNvPr id="168" name="Oval 13"/>
          <p:cNvSpPr/>
          <p:nvPr/>
        </p:nvSpPr>
        <p:spPr>
          <a:xfrm>
            <a:off x="490667" y="3617980"/>
            <a:ext cx="1179647" cy="1150154"/>
          </a:xfrm>
          <a:prstGeom prst="ellipse">
            <a:avLst/>
          </a:prstGeom>
          <a:solidFill>
            <a:schemeClr val="accent1">
              <a:lumMod val="40000"/>
              <a:lumOff val="60000"/>
              <a:alpha val="66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69" name="Oval 14"/>
          <p:cNvSpPr/>
          <p:nvPr/>
        </p:nvSpPr>
        <p:spPr>
          <a:xfrm>
            <a:off x="572142" y="3697595"/>
            <a:ext cx="1017494" cy="992053"/>
          </a:xfrm>
          <a:prstGeom prst="ellipse">
            <a:avLst/>
          </a:prstGeom>
          <a:solidFill>
            <a:schemeClr val="bg1"/>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dirty="0">
              <a:latin typeface="Trebuchet MS"/>
              <a:cs typeface="Trebuchet MS"/>
            </a:endParaRPr>
          </a:p>
        </p:txBody>
      </p:sp>
      <p:sp>
        <p:nvSpPr>
          <p:cNvPr id="173" name="Oval 13"/>
          <p:cNvSpPr/>
          <p:nvPr/>
        </p:nvSpPr>
        <p:spPr>
          <a:xfrm>
            <a:off x="3133812" y="3582629"/>
            <a:ext cx="1179647" cy="1150154"/>
          </a:xfrm>
          <a:prstGeom prst="ellipse">
            <a:avLst/>
          </a:prstGeom>
          <a:solidFill>
            <a:schemeClr val="accent1">
              <a:lumMod val="40000"/>
              <a:lumOff val="60000"/>
              <a:alpha val="66000"/>
            </a:schemeClr>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174" name="Oval 14"/>
          <p:cNvSpPr/>
          <p:nvPr/>
        </p:nvSpPr>
        <p:spPr>
          <a:xfrm>
            <a:off x="3215287" y="3662244"/>
            <a:ext cx="1017494" cy="992053"/>
          </a:xfrm>
          <a:prstGeom prst="ellipse">
            <a:avLst/>
          </a:prstGeom>
          <a:solidFill>
            <a:schemeClr val="bg1"/>
          </a:solidFill>
          <a:ln w="76200">
            <a:noFill/>
          </a:ln>
        </p:spPr>
        <p:style>
          <a:lnRef idx="2">
            <a:schemeClr val="accent5">
              <a:shade val="50000"/>
            </a:schemeClr>
          </a:lnRef>
          <a:fillRef idx="1">
            <a:schemeClr val="accent5"/>
          </a:fillRef>
          <a:effectRef idx="0">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dirty="0">
              <a:latin typeface="Trebuchet MS"/>
              <a:cs typeface="Trebuchet MS"/>
            </a:endParaRPr>
          </a:p>
        </p:txBody>
      </p:sp>
      <p:pic>
        <p:nvPicPr>
          <p:cNvPr id="180" name="Picture 26" descr="http://www.greensahc.com/Company_Images/iowa-Goodman-Air-Conditioning-Units.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262517" y="2655892"/>
            <a:ext cx="888881" cy="560803"/>
          </a:xfrm>
          <a:prstGeom prst="roundRect">
            <a:avLst>
              <a:gd name="adj" fmla="val 22444"/>
            </a:avLst>
          </a:prstGeom>
          <a:noFill/>
        </p:spPr>
      </p:pic>
      <p:pic>
        <p:nvPicPr>
          <p:cNvPr id="182" name="Image 181" descr="logo.ale.bw_H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73100" y="4618383"/>
            <a:ext cx="1234445" cy="330831"/>
          </a:xfrm>
          <a:prstGeom prst="rect">
            <a:avLst/>
          </a:prstGeom>
        </p:spPr>
      </p:pic>
      <p:pic>
        <p:nvPicPr>
          <p:cNvPr id="156" name="Picture 12" descr="https://d3jk01pucauc5.cloudfront.net/catalog/product/cache/1/image/9df78eab33525d08d6e5fb8d27136e95/a/s/asl_homekit_edition_angled_dark_gray.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55367" y="2625330"/>
            <a:ext cx="674300" cy="674300"/>
          </a:xfrm>
          <a:prstGeom prst="roundRect">
            <a:avLst>
              <a:gd name="adj" fmla="val 24461"/>
            </a:avLst>
          </a:prstGeom>
          <a:noFill/>
        </p:spPr>
      </p:pic>
      <p:sp>
        <p:nvSpPr>
          <p:cNvPr id="57" name="TextBox 56"/>
          <p:cNvSpPr txBox="1"/>
          <p:nvPr/>
        </p:nvSpPr>
        <p:spPr>
          <a:xfrm>
            <a:off x="4521994" y="1586655"/>
            <a:ext cx="4610990" cy="3000821"/>
          </a:xfrm>
          <a:prstGeom prst="rect">
            <a:avLst/>
          </a:prstGeom>
          <a:noFill/>
        </p:spPr>
        <p:txBody>
          <a:bodyPr wrap="square" rtlCol="0">
            <a:spAutoFit/>
          </a:bodyPr>
          <a:lstStyle/>
          <a:p>
            <a:r>
              <a:rPr lang="en-US" dirty="0">
                <a:solidFill>
                  <a:schemeClr val="accent1">
                    <a:lumMod val="20000"/>
                    <a:lumOff val="80000"/>
                  </a:schemeClr>
                </a:solidFill>
                <a:latin typeface="Trebuchet MS"/>
                <a:cs typeface="Trebuchet MS" panose="020B0502040204020203" pitchFamily="34" charset="0"/>
              </a:rPr>
              <a:t>IoT </a:t>
            </a:r>
            <a:r>
              <a:rPr lang="en-US" dirty="0" err="1">
                <a:solidFill>
                  <a:schemeClr val="accent1">
                    <a:lumMod val="20000"/>
                    <a:lumOff val="80000"/>
                  </a:schemeClr>
                </a:solidFill>
                <a:latin typeface="Trebuchet MS"/>
                <a:cs typeface="Trebuchet MS" panose="020B0502040204020203" pitchFamily="34" charset="0"/>
              </a:rPr>
              <a:t>juega</a:t>
            </a:r>
            <a:r>
              <a:rPr lang="en-US" dirty="0">
                <a:solidFill>
                  <a:schemeClr val="accent1">
                    <a:lumMod val="20000"/>
                    <a:lumOff val="80000"/>
                  </a:schemeClr>
                </a:solidFill>
                <a:latin typeface="Trebuchet MS"/>
                <a:cs typeface="Trebuchet MS" panose="020B0502040204020203" pitchFamily="34" charset="0"/>
              </a:rPr>
              <a:t> un </a:t>
            </a:r>
            <a:r>
              <a:rPr lang="en-US" dirty="0" err="1">
                <a:solidFill>
                  <a:schemeClr val="accent1">
                    <a:lumMod val="20000"/>
                    <a:lumOff val="80000"/>
                  </a:schemeClr>
                </a:solidFill>
                <a:latin typeface="Trebuchet MS"/>
                <a:cs typeface="Trebuchet MS" panose="020B0502040204020203" pitchFamily="34" charset="0"/>
              </a:rPr>
              <a:t>rol</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importante</a:t>
            </a:r>
            <a:r>
              <a:rPr lang="en-US" dirty="0">
                <a:solidFill>
                  <a:schemeClr val="accent1">
                    <a:lumMod val="20000"/>
                    <a:lumOff val="80000"/>
                  </a:schemeClr>
                </a:solidFill>
                <a:latin typeface="Trebuchet MS"/>
                <a:cs typeface="Trebuchet MS" panose="020B0502040204020203" pitchFamily="34" charset="0"/>
              </a:rPr>
              <a:t> para…</a:t>
            </a:r>
          </a:p>
          <a:p>
            <a:pPr marL="285750" indent="-285750">
              <a:buFontTx/>
              <a:buChar char="-"/>
            </a:pPr>
            <a:r>
              <a:rPr lang="en-US" dirty="0" err="1">
                <a:solidFill>
                  <a:schemeClr val="accent1">
                    <a:lumMod val="20000"/>
                    <a:lumOff val="80000"/>
                  </a:schemeClr>
                </a:solidFill>
                <a:latin typeface="Trebuchet MS"/>
                <a:cs typeface="Trebuchet MS" panose="020B0502040204020203" pitchFamily="34" charset="0"/>
              </a:rPr>
              <a:t>Ofrecer</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mejores</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herramietas</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educativas</a:t>
            </a:r>
            <a:endParaRPr lang="en-US" dirty="0">
              <a:solidFill>
                <a:schemeClr val="accent1">
                  <a:lumMod val="20000"/>
                  <a:lumOff val="80000"/>
                </a:schemeClr>
              </a:solidFill>
              <a:latin typeface="Trebuchet MS"/>
              <a:cs typeface="Trebuchet MS" panose="020B0502040204020203" pitchFamily="34" charset="0"/>
            </a:endParaRPr>
          </a:p>
          <a:p>
            <a:pPr marL="285750" indent="-285750">
              <a:buFontTx/>
              <a:buChar char="-"/>
            </a:pPr>
            <a:r>
              <a:rPr lang="en-US" dirty="0" err="1">
                <a:solidFill>
                  <a:schemeClr val="accent1">
                    <a:lumMod val="20000"/>
                    <a:lumOff val="80000"/>
                  </a:schemeClr>
                </a:solidFill>
                <a:latin typeface="Trebuchet MS"/>
                <a:cs typeface="Trebuchet MS" panose="020B0502040204020203" pitchFamily="34" charset="0"/>
              </a:rPr>
              <a:t>Mejorar</a:t>
            </a:r>
            <a:r>
              <a:rPr lang="en-US" dirty="0">
                <a:solidFill>
                  <a:schemeClr val="accent1">
                    <a:lumMod val="20000"/>
                    <a:lumOff val="80000"/>
                  </a:schemeClr>
                </a:solidFill>
                <a:latin typeface="Trebuchet MS"/>
                <a:cs typeface="Trebuchet MS" panose="020B0502040204020203" pitchFamily="34" charset="0"/>
              </a:rPr>
              <a:t> la Seguridad de </a:t>
            </a:r>
            <a:r>
              <a:rPr lang="en-US" dirty="0" err="1">
                <a:solidFill>
                  <a:schemeClr val="accent1">
                    <a:lumMod val="20000"/>
                    <a:lumOff val="80000"/>
                  </a:schemeClr>
                </a:solidFill>
                <a:latin typeface="Trebuchet MS"/>
                <a:cs typeface="Trebuchet MS" panose="020B0502040204020203" pitchFamily="34" charset="0"/>
              </a:rPr>
              <a:t>estudiantes</a:t>
            </a:r>
            <a:r>
              <a:rPr lang="en-US" dirty="0">
                <a:solidFill>
                  <a:schemeClr val="accent1">
                    <a:lumMod val="20000"/>
                    <a:lumOff val="80000"/>
                  </a:schemeClr>
                </a:solidFill>
                <a:latin typeface="Trebuchet MS"/>
                <a:cs typeface="Trebuchet MS" panose="020B0502040204020203" pitchFamily="34" charset="0"/>
              </a:rPr>
              <a:t> y staff</a:t>
            </a:r>
          </a:p>
          <a:p>
            <a:pPr marL="285750" indent="-285750">
              <a:buFontTx/>
              <a:buChar char="-"/>
            </a:pPr>
            <a:r>
              <a:rPr lang="en-US" dirty="0" err="1">
                <a:solidFill>
                  <a:schemeClr val="accent1">
                    <a:lumMod val="20000"/>
                    <a:lumOff val="80000"/>
                  </a:schemeClr>
                </a:solidFill>
                <a:latin typeface="Trebuchet MS"/>
                <a:cs typeface="Trebuchet MS" panose="020B0502040204020203" pitchFamily="34" charset="0"/>
              </a:rPr>
              <a:t>Hacer</a:t>
            </a:r>
            <a:r>
              <a:rPr lang="en-US" dirty="0">
                <a:solidFill>
                  <a:schemeClr val="accent1">
                    <a:lumMod val="20000"/>
                    <a:lumOff val="80000"/>
                  </a:schemeClr>
                </a:solidFill>
                <a:latin typeface="Trebuchet MS"/>
                <a:cs typeface="Trebuchet MS" panose="020B0502040204020203" pitchFamily="34" charset="0"/>
              </a:rPr>
              <a:t> las </a:t>
            </a:r>
            <a:r>
              <a:rPr lang="en-US" dirty="0" err="1">
                <a:solidFill>
                  <a:schemeClr val="accent1">
                    <a:lumMod val="20000"/>
                    <a:lumOff val="80000"/>
                  </a:schemeClr>
                </a:solidFill>
                <a:latin typeface="Trebuchet MS"/>
                <a:cs typeface="Trebuchet MS" panose="020B0502040204020203" pitchFamily="34" charset="0"/>
              </a:rPr>
              <a:t>operaciones</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más</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eficientes</a:t>
            </a:r>
            <a:endParaRPr lang="en-US" dirty="0">
              <a:solidFill>
                <a:schemeClr val="accent1">
                  <a:lumMod val="20000"/>
                  <a:lumOff val="80000"/>
                </a:schemeClr>
              </a:solidFill>
              <a:latin typeface="Trebuchet MS"/>
              <a:cs typeface="Trebuchet MS" panose="020B0502040204020203" pitchFamily="34" charset="0"/>
            </a:endParaRPr>
          </a:p>
          <a:p>
            <a:pPr marL="285750" indent="-285750">
              <a:buFontTx/>
              <a:buChar char="-"/>
            </a:pPr>
            <a:r>
              <a:rPr lang="en-US" dirty="0" err="1">
                <a:solidFill>
                  <a:schemeClr val="accent1">
                    <a:lumMod val="20000"/>
                    <a:lumOff val="80000"/>
                  </a:schemeClr>
                </a:solidFill>
                <a:latin typeface="Trebuchet MS"/>
                <a:cs typeface="Trebuchet MS" panose="020B0502040204020203" pitchFamily="34" charset="0"/>
              </a:rPr>
              <a:t>Reducir</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costos</a:t>
            </a:r>
            <a:endParaRPr lang="en-US" dirty="0">
              <a:solidFill>
                <a:schemeClr val="accent1">
                  <a:lumMod val="20000"/>
                  <a:lumOff val="80000"/>
                </a:schemeClr>
              </a:solidFill>
              <a:latin typeface="Trebuchet MS"/>
              <a:cs typeface="Trebuchet MS" panose="020B0502040204020203" pitchFamily="34" charset="0"/>
            </a:endParaRPr>
          </a:p>
          <a:p>
            <a:pPr marL="285750" indent="-285750">
              <a:buFontTx/>
              <a:buChar char="-"/>
            </a:pPr>
            <a:r>
              <a:rPr lang="en-US" dirty="0" err="1">
                <a:solidFill>
                  <a:schemeClr val="accent1">
                    <a:lumMod val="20000"/>
                    <a:lumOff val="80000"/>
                  </a:schemeClr>
                </a:solidFill>
                <a:latin typeface="Trebuchet MS"/>
                <a:cs typeface="Trebuchet MS" panose="020B0502040204020203" pitchFamily="34" charset="0"/>
              </a:rPr>
              <a:t>Proporcionar</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una</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experiencia</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placentera</a:t>
            </a:r>
            <a:r>
              <a:rPr lang="en-US" dirty="0">
                <a:solidFill>
                  <a:schemeClr val="accent1">
                    <a:lumMod val="20000"/>
                    <a:lumOff val="80000"/>
                  </a:schemeClr>
                </a:solidFill>
                <a:latin typeface="Trebuchet MS"/>
                <a:cs typeface="Trebuchet MS" panose="020B0502040204020203" pitchFamily="34" charset="0"/>
              </a:rPr>
              <a:t> a </a:t>
            </a:r>
            <a:r>
              <a:rPr lang="en-US" dirty="0" err="1">
                <a:solidFill>
                  <a:schemeClr val="accent1">
                    <a:lumMod val="20000"/>
                    <a:lumOff val="80000"/>
                  </a:schemeClr>
                </a:solidFill>
                <a:latin typeface="Trebuchet MS"/>
                <a:cs typeface="Trebuchet MS" panose="020B0502040204020203" pitchFamily="34" charset="0"/>
              </a:rPr>
              <a:t>los</a:t>
            </a:r>
            <a:r>
              <a:rPr lang="en-US" dirty="0">
                <a:solidFill>
                  <a:schemeClr val="accent1">
                    <a:lumMod val="20000"/>
                    <a:lumOff val="80000"/>
                  </a:schemeClr>
                </a:solidFill>
                <a:latin typeface="Trebuchet MS"/>
                <a:cs typeface="Trebuchet MS" panose="020B0502040204020203" pitchFamily="34" charset="0"/>
              </a:rPr>
              <a:t> </a:t>
            </a:r>
            <a:r>
              <a:rPr lang="en-US" dirty="0" err="1">
                <a:solidFill>
                  <a:schemeClr val="accent1">
                    <a:lumMod val="20000"/>
                    <a:lumOff val="80000"/>
                  </a:schemeClr>
                </a:solidFill>
                <a:latin typeface="Trebuchet MS"/>
                <a:cs typeface="Trebuchet MS" panose="020B0502040204020203" pitchFamily="34" charset="0"/>
              </a:rPr>
              <a:t>estudiantes</a:t>
            </a:r>
            <a:endParaRPr lang="en-US" dirty="0">
              <a:solidFill>
                <a:schemeClr val="accent1">
                  <a:lumMod val="20000"/>
                  <a:lumOff val="80000"/>
                </a:schemeClr>
              </a:solidFill>
              <a:latin typeface="Trebuchet MS"/>
              <a:cs typeface="Trebuchet MS" panose="020B0502040204020203" pitchFamily="34" charset="0"/>
            </a:endParaRPr>
          </a:p>
        </p:txBody>
      </p:sp>
      <p:pic>
        <p:nvPicPr>
          <p:cNvPr id="1026" name="Picture 2" descr="Image result for surveillance cameras"/>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6375" b="93750" l="3875" r="95500"/>
                    </a14:imgEffect>
                  </a14:imgLayer>
                </a14:imgProps>
              </a:ext>
              <a:ext uri="{28A0092B-C50C-407E-A947-70E740481C1C}">
                <a14:useLocalDpi xmlns:a14="http://schemas.microsoft.com/office/drawing/2010/main" val="0"/>
              </a:ext>
            </a:extLst>
          </a:blip>
          <a:srcRect/>
          <a:stretch>
            <a:fillRect/>
          </a:stretch>
        </p:blipFill>
        <p:spPr bwMode="auto">
          <a:xfrm>
            <a:off x="623290" y="1283214"/>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0" descr="http://pimg.tradeindia.com/00348671/b/3/Impact-Sprinkler.jpg"/>
          <p:cNvPicPr>
            <a:picLocks noChangeAspect="1" noChangeArrowheads="1"/>
          </p:cNvPicPr>
          <p:nvPr/>
        </p:nvPicPr>
        <p:blipFill>
          <a:blip r:embed="rId12" cstate="print">
            <a:extLst>
              <a:ext uri="{BEBA8EAE-BF5A-486C-A8C5-ECC9F3942E4B}">
                <a14:imgProps xmlns:a14="http://schemas.microsoft.com/office/drawing/2010/main">
                  <a14:imgLayer r:embed="rId13">
                    <a14:imgEffect>
                      <a14:backgroundRemoval t="0" b="100000" l="3800" r="97600"/>
                    </a14:imgEffect>
                  </a14:imgLayer>
                </a14:imgProps>
              </a:ext>
            </a:extLst>
          </a:blip>
          <a:srcRect/>
          <a:stretch>
            <a:fillRect/>
          </a:stretch>
        </p:blipFill>
        <p:spPr bwMode="auto">
          <a:xfrm>
            <a:off x="1946149" y="3832960"/>
            <a:ext cx="853720" cy="785423"/>
          </a:xfrm>
          <a:prstGeom prst="rect">
            <a:avLst/>
          </a:prstGeom>
          <a:noFill/>
        </p:spPr>
      </p:pic>
      <p:sp>
        <p:nvSpPr>
          <p:cNvPr id="3" name="Title 2"/>
          <p:cNvSpPr>
            <a:spLocks noGrp="1"/>
          </p:cNvSpPr>
          <p:nvPr>
            <p:ph type="title"/>
          </p:nvPr>
        </p:nvSpPr>
        <p:spPr/>
        <p:txBody>
          <a:bodyPr/>
          <a:lstStyle/>
          <a:p>
            <a:r>
              <a:rPr lang="en-US" sz="2000" dirty="0">
                <a:solidFill>
                  <a:schemeClr val="bg1"/>
                </a:solidFill>
              </a:rPr>
              <a:t>Smart Campus – </a:t>
            </a:r>
            <a:r>
              <a:rPr lang="en-US" sz="2000" dirty="0" err="1">
                <a:solidFill>
                  <a:schemeClr val="bg1"/>
                </a:solidFill>
              </a:rPr>
              <a:t>Universidades</a:t>
            </a:r>
            <a:r>
              <a:rPr lang="en-US" sz="2000" dirty="0">
                <a:solidFill>
                  <a:schemeClr val="bg1"/>
                </a:solidFill>
              </a:rPr>
              <a:t> se </a:t>
            </a:r>
            <a:r>
              <a:rPr lang="en-US" sz="2000" dirty="0" err="1">
                <a:solidFill>
                  <a:schemeClr val="bg1"/>
                </a:solidFill>
              </a:rPr>
              <a:t>comportan</a:t>
            </a:r>
            <a:r>
              <a:rPr lang="en-US" sz="2000" dirty="0">
                <a:solidFill>
                  <a:schemeClr val="bg1"/>
                </a:solidFill>
              </a:rPr>
              <a:t> </a:t>
            </a:r>
            <a:r>
              <a:rPr lang="en-US" sz="2000" dirty="0" err="1">
                <a:solidFill>
                  <a:schemeClr val="bg1"/>
                </a:solidFill>
              </a:rPr>
              <a:t>como</a:t>
            </a:r>
            <a:r>
              <a:rPr lang="en-US" sz="2000" dirty="0">
                <a:solidFill>
                  <a:schemeClr val="bg1"/>
                </a:solidFill>
              </a:rPr>
              <a:t> </a:t>
            </a:r>
            <a:r>
              <a:rPr lang="en-US" sz="2000" dirty="0" err="1">
                <a:solidFill>
                  <a:schemeClr val="bg1"/>
                </a:solidFill>
              </a:rPr>
              <a:t>una</a:t>
            </a:r>
            <a:r>
              <a:rPr lang="en-US" sz="2000" dirty="0">
                <a:solidFill>
                  <a:schemeClr val="bg1"/>
                </a:solidFill>
              </a:rPr>
              <a:t> </a:t>
            </a:r>
            <a:r>
              <a:rPr lang="en-US" sz="2000" dirty="0" err="1">
                <a:solidFill>
                  <a:schemeClr val="bg1"/>
                </a:solidFill>
              </a:rPr>
              <a:t>pequeña</a:t>
            </a:r>
            <a:r>
              <a:rPr lang="en-US" sz="2000" dirty="0">
                <a:solidFill>
                  <a:schemeClr val="bg1"/>
                </a:solidFill>
              </a:rPr>
              <a:t> ciudad</a:t>
            </a:r>
          </a:p>
        </p:txBody>
      </p:sp>
      <p:sp>
        <p:nvSpPr>
          <p:cNvPr id="4" name="Text Placeholder 3"/>
          <p:cNvSpPr>
            <a:spLocks noGrp="1"/>
          </p:cNvSpPr>
          <p:nvPr>
            <p:ph type="body" sz="quarter" idx="10"/>
          </p:nvPr>
        </p:nvSpPr>
        <p:spPr/>
        <p:txBody>
          <a:bodyPr/>
          <a:lstStyle/>
          <a:p>
            <a:r>
              <a:rPr lang="en-US" dirty="0" err="1">
                <a:solidFill>
                  <a:schemeClr val="tx2">
                    <a:lumMod val="20000"/>
                    <a:lumOff val="80000"/>
                  </a:schemeClr>
                </a:solidFill>
              </a:rPr>
              <a:t>Buscando</a:t>
            </a:r>
            <a:r>
              <a:rPr lang="en-US" dirty="0">
                <a:solidFill>
                  <a:schemeClr val="tx2">
                    <a:lumMod val="20000"/>
                    <a:lumOff val="80000"/>
                  </a:schemeClr>
                </a:solidFill>
              </a:rPr>
              <a:t> </a:t>
            </a:r>
            <a:r>
              <a:rPr lang="en-US" dirty="0" err="1">
                <a:solidFill>
                  <a:schemeClr val="tx2">
                    <a:lumMod val="20000"/>
                    <a:lumOff val="80000"/>
                  </a:schemeClr>
                </a:solidFill>
              </a:rPr>
              <a:t>mejorar</a:t>
            </a:r>
            <a:r>
              <a:rPr lang="en-US" dirty="0">
                <a:solidFill>
                  <a:schemeClr val="tx2">
                    <a:lumMod val="20000"/>
                    <a:lumOff val="80000"/>
                  </a:schemeClr>
                </a:solidFill>
              </a:rPr>
              <a:t> la </a:t>
            </a:r>
            <a:r>
              <a:rPr lang="en-US" dirty="0" err="1">
                <a:solidFill>
                  <a:schemeClr val="tx2">
                    <a:lumMod val="20000"/>
                    <a:lumOff val="80000"/>
                  </a:schemeClr>
                </a:solidFill>
              </a:rPr>
              <a:t>experiencia</a:t>
            </a:r>
            <a:r>
              <a:rPr lang="en-US" dirty="0">
                <a:solidFill>
                  <a:schemeClr val="tx2">
                    <a:lumMod val="20000"/>
                    <a:lumOff val="80000"/>
                  </a:schemeClr>
                </a:solidFill>
              </a:rPr>
              <a:t> de </a:t>
            </a:r>
            <a:r>
              <a:rPr lang="en-US" dirty="0" err="1">
                <a:solidFill>
                  <a:schemeClr val="tx2">
                    <a:lumMod val="20000"/>
                    <a:lumOff val="80000"/>
                  </a:schemeClr>
                </a:solidFill>
              </a:rPr>
              <a:t>los</a:t>
            </a:r>
            <a:r>
              <a:rPr lang="en-US" dirty="0">
                <a:solidFill>
                  <a:schemeClr val="tx2">
                    <a:lumMod val="20000"/>
                    <a:lumOff val="80000"/>
                  </a:schemeClr>
                </a:solidFill>
              </a:rPr>
              <a:t> </a:t>
            </a:r>
            <a:r>
              <a:rPr lang="en-US" dirty="0" err="1">
                <a:solidFill>
                  <a:schemeClr val="tx2">
                    <a:lumMod val="20000"/>
                    <a:lumOff val="80000"/>
                  </a:schemeClr>
                </a:solidFill>
              </a:rPr>
              <a:t>usuarios</a:t>
            </a:r>
            <a:r>
              <a:rPr lang="en-US" dirty="0">
                <a:solidFill>
                  <a:schemeClr val="tx2">
                    <a:lumMod val="20000"/>
                    <a:lumOff val="80000"/>
                  </a:schemeClr>
                </a:solidFill>
              </a:rPr>
              <a:t> y la </a:t>
            </a:r>
            <a:r>
              <a:rPr lang="en-US" dirty="0" err="1">
                <a:solidFill>
                  <a:schemeClr val="tx2">
                    <a:lumMod val="20000"/>
                    <a:lumOff val="80000"/>
                  </a:schemeClr>
                </a:solidFill>
              </a:rPr>
              <a:t>eficiencia</a:t>
            </a:r>
            <a:r>
              <a:rPr lang="en-US" dirty="0">
                <a:solidFill>
                  <a:schemeClr val="tx2">
                    <a:lumMod val="20000"/>
                    <a:lumOff val="80000"/>
                  </a:schemeClr>
                </a:solidFill>
              </a:rPr>
              <a:t> </a:t>
            </a:r>
            <a:r>
              <a:rPr lang="en-US" dirty="0" err="1">
                <a:solidFill>
                  <a:schemeClr val="tx2">
                    <a:lumMod val="20000"/>
                    <a:lumOff val="80000"/>
                  </a:schemeClr>
                </a:solidFill>
              </a:rPr>
              <a:t>operacional</a:t>
            </a:r>
            <a:r>
              <a:rPr lang="en-US" dirty="0">
                <a:solidFill>
                  <a:schemeClr val="tx2">
                    <a:lumMod val="20000"/>
                    <a:lumOff val="80000"/>
                  </a:schemeClr>
                </a:solidFill>
              </a:rPr>
              <a:t> de </a:t>
            </a:r>
            <a:r>
              <a:rPr lang="en-US" dirty="0" err="1">
                <a:solidFill>
                  <a:schemeClr val="tx2">
                    <a:lumMod val="20000"/>
                    <a:lumOff val="80000"/>
                  </a:schemeClr>
                </a:solidFill>
              </a:rPr>
              <a:t>una</a:t>
            </a:r>
            <a:r>
              <a:rPr lang="en-US" dirty="0">
                <a:solidFill>
                  <a:schemeClr val="tx2">
                    <a:lumMod val="20000"/>
                    <a:lumOff val="80000"/>
                  </a:schemeClr>
                </a:solidFill>
              </a:rPr>
              <a:t> </a:t>
            </a:r>
            <a:r>
              <a:rPr lang="en-US" dirty="0" err="1">
                <a:solidFill>
                  <a:schemeClr val="tx2">
                    <a:lumMod val="20000"/>
                    <a:lumOff val="80000"/>
                  </a:schemeClr>
                </a:solidFill>
              </a:rPr>
              <a:t>institución</a:t>
            </a:r>
            <a:r>
              <a:rPr lang="en-US" dirty="0">
                <a:solidFill>
                  <a:schemeClr val="tx2">
                    <a:lumMod val="20000"/>
                    <a:lumOff val="80000"/>
                  </a:schemeClr>
                </a:solidFill>
              </a:rPr>
              <a:t> </a:t>
            </a:r>
            <a:r>
              <a:rPr lang="en-US" dirty="0" err="1">
                <a:solidFill>
                  <a:schemeClr val="tx2">
                    <a:lumMod val="20000"/>
                    <a:lumOff val="80000"/>
                  </a:schemeClr>
                </a:solidFill>
              </a:rPr>
              <a:t>educativa</a:t>
            </a:r>
            <a:endParaRPr lang="en-US" dirty="0">
              <a:solidFill>
                <a:schemeClr val="tx2">
                  <a:lumMod val="20000"/>
                  <a:lumOff val="80000"/>
                </a:schemeClr>
              </a:solidFill>
            </a:endParaRPr>
          </a:p>
        </p:txBody>
      </p:sp>
      <p:grpSp>
        <p:nvGrpSpPr>
          <p:cNvPr id="65" name="Group 64"/>
          <p:cNvGrpSpPr/>
          <p:nvPr/>
        </p:nvGrpSpPr>
        <p:grpSpPr>
          <a:xfrm>
            <a:off x="3253528" y="3879850"/>
            <a:ext cx="940354" cy="609715"/>
            <a:chOff x="-228600" y="386120"/>
            <a:chExt cx="7932737" cy="5143500"/>
          </a:xfrm>
        </p:grpSpPr>
        <p:pic>
          <p:nvPicPr>
            <p:cNvPr id="66" name="Picture 4" descr="Image result for digital signage in universities"/>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228600" y="386120"/>
              <a:ext cx="7932737" cy="5143500"/>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 descr="Image result for digital signage in universities"/>
            <p:cNvPicPr>
              <a:picLocks noChangeAspect="1" noChangeArrowheads="1"/>
            </p:cNvPicPr>
            <p:nvPr/>
          </p:nvPicPr>
          <p:blipFill rotWithShape="1">
            <a:blip r:embed="rId15" cstate="email">
              <a:extLst>
                <a:ext uri="{28A0092B-C50C-407E-A947-70E740481C1C}">
                  <a14:useLocalDpi xmlns:a14="http://schemas.microsoft.com/office/drawing/2010/main"/>
                </a:ext>
              </a:extLst>
            </a:blip>
            <a:srcRect/>
            <a:stretch/>
          </p:blipFill>
          <p:spPr bwMode="auto">
            <a:xfrm>
              <a:off x="536602" y="990600"/>
              <a:ext cx="6384898" cy="3594099"/>
            </a:xfrm>
            <a:prstGeom prst="rect">
              <a:avLst/>
            </a:prstGeom>
            <a:noFill/>
            <a:extLst>
              <a:ext uri="{909E8E84-426E-40DD-AFC4-6F175D3DCCD1}">
                <a14:hiddenFill xmlns:a14="http://schemas.microsoft.com/office/drawing/2010/main">
                  <a:solidFill>
                    <a:srgbClr val="FFFFFF"/>
                  </a:solidFill>
                </a14:hiddenFill>
              </a:ext>
            </a:extLst>
          </p:spPr>
        </p:pic>
      </p:grpSp>
      <p:pic>
        <p:nvPicPr>
          <p:cNvPr id="1030" name="Picture 6" descr="Image result for smart light"/>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39917"/>
          <a:stretch/>
        </p:blipFill>
        <p:spPr bwMode="auto">
          <a:xfrm>
            <a:off x="718122" y="3873500"/>
            <a:ext cx="717895" cy="670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9711887"/>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009999"/>
        </a:solidFill>
        <a:effectLst/>
      </p:bgPr>
    </p:bg>
    <p:spTree>
      <p:nvGrpSpPr>
        <p:cNvPr id="1" name=""/>
        <p:cNvGrpSpPr/>
        <p:nvPr/>
      </p:nvGrpSpPr>
      <p:grpSpPr>
        <a:xfrm>
          <a:off x="0" y="0"/>
          <a:ext cx="0" cy="0"/>
          <a:chOff x="0" y="0"/>
          <a:chExt cx="0" cy="0"/>
        </a:xfrm>
      </p:grpSpPr>
      <p:pic>
        <p:nvPicPr>
          <p:cNvPr id="59" name="Picture 22">
            <a:extLst>
              <a:ext uri="{FF2B5EF4-FFF2-40B4-BE49-F238E27FC236}">
                <a16:creationId xmlns:a16="http://schemas.microsoft.com/office/drawing/2014/main" id="{C3BEC4D9-8068-48FD-BCD1-B0E620C5619A}"/>
              </a:ext>
            </a:extLst>
          </p:cNvPr>
          <p:cNvPicPr>
            <a:picLocks noChangeAspect="1"/>
          </p:cNvPicPr>
          <p:nvPr/>
        </p:nvPicPr>
        <p:blipFill>
          <a:blip r:embed="rId4"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2" y="0"/>
            <a:ext cx="9144000" cy="5143500"/>
          </a:xfrm>
          <a:prstGeom prst="rect">
            <a:avLst/>
          </a:prstGeom>
        </p:spPr>
      </p:pic>
      <p:sp>
        <p:nvSpPr>
          <p:cNvPr id="60" name="Rectangle 53">
            <a:extLst>
              <a:ext uri="{FF2B5EF4-FFF2-40B4-BE49-F238E27FC236}">
                <a16:creationId xmlns:a16="http://schemas.microsoft.com/office/drawing/2014/main" id="{26487A94-1533-48CB-AA4C-51DAC1F39B4E}"/>
              </a:ext>
            </a:extLst>
          </p:cNvPr>
          <p:cNvSpPr/>
          <p:nvPr>
            <p:custDataLst>
              <p:tags r:id="rId1"/>
            </p:custDataLst>
          </p:nvPr>
        </p:nvSpPr>
        <p:spPr>
          <a:xfrm>
            <a:off x="0" y="0"/>
            <a:ext cx="9143999" cy="5153026"/>
          </a:xfrm>
          <a:prstGeom prst="rect">
            <a:avLst/>
          </a:prstGeom>
          <a:gradFill>
            <a:gsLst>
              <a:gs pos="81000">
                <a:schemeClr val="accent1"/>
              </a:gs>
              <a:gs pos="0">
                <a:schemeClr val="accent1">
                  <a:lumMod val="75000"/>
                  <a:alpha val="50000"/>
                </a:schemeClr>
              </a:gs>
            </a:gsLst>
            <a:lin ang="1800000" scaled="0"/>
          </a:gradFill>
          <a:ln>
            <a:noFill/>
          </a:ln>
        </p:spPr>
        <p:txBody>
          <a:bodyPr rot="0" spcFirstLastPara="0" vertOverflow="overflow" horzOverflow="overflow" vert="horz" wrap="square" lIns="91428" tIns="45715" rIns="91428" bIns="45715" numCol="1" spcCol="0" rtlCol="0" fromWordArt="0" anchor="ctr" anchorCtr="0" forceAA="0" compatLnSpc="1">
            <a:prstTxWarp prst="textNoShape">
              <a:avLst/>
            </a:prstTxWarp>
            <a:noAutofit/>
          </a:bodyPr>
          <a:lstStyle/>
          <a:p>
            <a:pPr lvl="0">
              <a:spcBef>
                <a:spcPts val="0"/>
              </a:spcBef>
            </a:pPr>
            <a:endParaRPr lang="en-US" noProof="0" dirty="0">
              <a:solidFill>
                <a:schemeClr val="bg1"/>
              </a:solidFill>
              <a:latin typeface="Trebuchet MS" panose="020B0603020202020204" pitchFamily="34" charset="0"/>
              <a:cs typeface="Segoe UI" panose="020B0502040204020203" pitchFamily="34" charset="0"/>
            </a:endParaRPr>
          </a:p>
        </p:txBody>
      </p:sp>
      <p:sp>
        <p:nvSpPr>
          <p:cNvPr id="25" name="Rectangle : coins arrondis 24"/>
          <p:cNvSpPr/>
          <p:nvPr/>
        </p:nvSpPr>
        <p:spPr>
          <a:xfrm>
            <a:off x="2998096" y="854242"/>
            <a:ext cx="3486925" cy="4132697"/>
          </a:xfrm>
          <a:prstGeom prst="roundRect">
            <a:avLst/>
          </a:prstGeom>
          <a:solidFill>
            <a:srgbClr val="7B48C0">
              <a:alpha val="81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2" name="Rectangle 1"/>
          <p:cNvSpPr/>
          <p:nvPr/>
        </p:nvSpPr>
        <p:spPr>
          <a:xfrm>
            <a:off x="1" y="4384935"/>
            <a:ext cx="2400650" cy="758565"/>
          </a:xfrm>
          <a:prstGeom prst="rect">
            <a:avLst/>
          </a:prstGeom>
          <a:solidFill>
            <a:srgbClr val="61A7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3" name="ZoneTexte 2"/>
          <p:cNvSpPr txBox="1"/>
          <p:nvPr/>
        </p:nvSpPr>
        <p:spPr>
          <a:xfrm>
            <a:off x="147717" y="4634791"/>
            <a:ext cx="1905910" cy="421334"/>
          </a:xfrm>
          <a:prstGeom prst="rect">
            <a:avLst/>
          </a:prstGeom>
          <a:noFill/>
        </p:spPr>
        <p:txBody>
          <a:bodyPr wrap="square" rtlCol="0">
            <a:spAutoFit/>
          </a:bodyPr>
          <a:lstStyle/>
          <a:p>
            <a:pPr algn="ctr" defTabSz="685800" fontAlgn="auto">
              <a:spcBef>
                <a:spcPts val="0"/>
              </a:spcBef>
              <a:spcAft>
                <a:spcPts val="0"/>
              </a:spcAft>
            </a:pPr>
            <a:r>
              <a:rPr lang="en-US" sz="1350" b="1" dirty="0" err="1">
                <a:solidFill>
                  <a:prstClr val="white"/>
                </a:solidFill>
              </a:rPr>
              <a:t>Terminología</a:t>
            </a:r>
            <a:r>
              <a:rPr lang="en-US" sz="1350" b="1" dirty="0">
                <a:solidFill>
                  <a:prstClr val="white"/>
                </a:solidFill>
              </a:rPr>
              <a:t> IoT</a:t>
            </a:r>
            <a:r>
              <a:rPr lang="en-US" sz="825" b="1" dirty="0">
                <a:solidFill>
                  <a:prstClr val="white"/>
                </a:solidFill>
              </a:rPr>
              <a:t>(*)</a:t>
            </a:r>
            <a:endParaRPr lang="en-US" sz="1350" b="1" dirty="0">
              <a:solidFill>
                <a:prstClr val="white"/>
              </a:solidFill>
            </a:endParaRPr>
          </a:p>
          <a:p>
            <a:pPr algn="ctr" defTabSz="685800" fontAlgn="auto">
              <a:spcBef>
                <a:spcPts val="0"/>
              </a:spcBef>
              <a:spcAft>
                <a:spcPts val="0"/>
              </a:spcAft>
            </a:pPr>
            <a:r>
              <a:rPr lang="en-US" sz="788" b="1" dirty="0" err="1">
                <a:solidFill>
                  <a:prstClr val="white"/>
                </a:solidFill>
              </a:rPr>
              <a:t>Según</a:t>
            </a:r>
            <a:r>
              <a:rPr lang="en-US" sz="788" b="1" dirty="0">
                <a:solidFill>
                  <a:prstClr val="white"/>
                </a:solidFill>
              </a:rPr>
              <a:t> Gartner</a:t>
            </a:r>
          </a:p>
        </p:txBody>
      </p:sp>
      <p:sp>
        <p:nvSpPr>
          <p:cNvPr id="4" name="ZoneTexte 3"/>
          <p:cNvSpPr txBox="1"/>
          <p:nvPr/>
        </p:nvSpPr>
        <p:spPr>
          <a:xfrm>
            <a:off x="343645" y="134561"/>
            <a:ext cx="3133481" cy="369332"/>
          </a:xfrm>
          <a:prstGeom prst="rect">
            <a:avLst/>
          </a:prstGeom>
          <a:noFill/>
        </p:spPr>
        <p:txBody>
          <a:bodyPr wrap="square" rtlCol="0">
            <a:spAutoFit/>
          </a:bodyPr>
          <a:lstStyle/>
          <a:p>
            <a:pPr defTabSz="685800" fontAlgn="auto">
              <a:spcBef>
                <a:spcPts val="0"/>
              </a:spcBef>
              <a:spcAft>
                <a:spcPts val="0"/>
              </a:spcAft>
            </a:pPr>
            <a:r>
              <a:rPr lang="en-US" b="1" dirty="0" err="1">
                <a:solidFill>
                  <a:prstClr val="white"/>
                </a:solidFill>
                <a:latin typeface="Calibri" panose="020F0502020204030204"/>
              </a:rPr>
              <a:t>Arquitectura</a:t>
            </a:r>
            <a:r>
              <a:rPr lang="en-US" b="1" dirty="0">
                <a:solidFill>
                  <a:prstClr val="white"/>
                </a:solidFill>
                <a:latin typeface="Calibri" panose="020F0502020204030204"/>
              </a:rPr>
              <a:t> de IOT</a:t>
            </a:r>
            <a:endParaRPr lang="en-US" sz="1350" dirty="0">
              <a:solidFill>
                <a:prstClr val="white"/>
              </a:solidFill>
              <a:latin typeface="Calibri" panose="020F0502020204030204"/>
            </a:endParaRPr>
          </a:p>
        </p:txBody>
      </p:sp>
      <p:sp>
        <p:nvSpPr>
          <p:cNvPr id="5" name="ZoneTexte 4"/>
          <p:cNvSpPr txBox="1"/>
          <p:nvPr/>
        </p:nvSpPr>
        <p:spPr>
          <a:xfrm>
            <a:off x="1356664" y="4068774"/>
            <a:ext cx="1764881" cy="300082"/>
          </a:xfrm>
          <a:prstGeom prst="rect">
            <a:avLst/>
          </a:prstGeom>
          <a:noFill/>
        </p:spPr>
        <p:txBody>
          <a:bodyPr wrap="square" rtlCol="0">
            <a:spAutoFit/>
          </a:bodyPr>
          <a:lstStyle/>
          <a:p>
            <a:pPr defTabSz="685800" fontAlgn="auto">
              <a:spcBef>
                <a:spcPts val="0"/>
              </a:spcBef>
              <a:spcAft>
                <a:spcPts val="0"/>
              </a:spcAft>
            </a:pPr>
            <a:r>
              <a:rPr lang="en-US" sz="1350" dirty="0">
                <a:solidFill>
                  <a:prstClr val="white"/>
                </a:solidFill>
                <a:latin typeface="Calibri" panose="020F0502020204030204"/>
              </a:rPr>
              <a:t>IOT Endpoints</a:t>
            </a:r>
            <a:endParaRPr lang="en-US" sz="1050" dirty="0">
              <a:solidFill>
                <a:prstClr val="white"/>
              </a:solidFill>
              <a:latin typeface="Calibri" panose="020F0502020204030204"/>
            </a:endParaRPr>
          </a:p>
        </p:txBody>
      </p:sp>
      <p:sp>
        <p:nvSpPr>
          <p:cNvPr id="6" name="ZoneTexte 5"/>
          <p:cNvSpPr txBox="1"/>
          <p:nvPr/>
        </p:nvSpPr>
        <p:spPr>
          <a:xfrm>
            <a:off x="343645" y="2881428"/>
            <a:ext cx="1375757" cy="323165"/>
          </a:xfrm>
          <a:prstGeom prst="rect">
            <a:avLst/>
          </a:prstGeom>
          <a:noFill/>
        </p:spPr>
        <p:txBody>
          <a:bodyPr wrap="square" rtlCol="0">
            <a:spAutoFit/>
          </a:bodyPr>
          <a:lstStyle/>
          <a:p>
            <a:pPr defTabSz="685800" fontAlgn="auto">
              <a:spcBef>
                <a:spcPts val="0"/>
              </a:spcBef>
              <a:spcAft>
                <a:spcPts val="0"/>
              </a:spcAft>
            </a:pPr>
            <a:r>
              <a:rPr lang="en-US" sz="1500" b="1" dirty="0" err="1">
                <a:solidFill>
                  <a:prstClr val="white"/>
                </a:solidFill>
                <a:latin typeface="Calibri" panose="020F0502020204030204"/>
              </a:rPr>
              <a:t>Plataforma</a:t>
            </a:r>
            <a:r>
              <a:rPr lang="en-US" sz="1500" b="1" dirty="0">
                <a:solidFill>
                  <a:prstClr val="white"/>
                </a:solidFill>
                <a:latin typeface="Calibri" panose="020F0502020204030204"/>
              </a:rPr>
              <a:t> IoT </a:t>
            </a:r>
            <a:endParaRPr lang="en-US" sz="1200" b="1" dirty="0">
              <a:solidFill>
                <a:prstClr val="white"/>
              </a:solidFill>
              <a:latin typeface="Calibri" panose="020F0502020204030204"/>
            </a:endParaRPr>
          </a:p>
        </p:txBody>
      </p:sp>
      <p:sp>
        <p:nvSpPr>
          <p:cNvPr id="7" name="ZoneTexte 6"/>
          <p:cNvSpPr txBox="1"/>
          <p:nvPr/>
        </p:nvSpPr>
        <p:spPr>
          <a:xfrm>
            <a:off x="6581553" y="287322"/>
            <a:ext cx="2410615" cy="323165"/>
          </a:xfrm>
          <a:prstGeom prst="rect">
            <a:avLst/>
          </a:prstGeom>
          <a:noFill/>
        </p:spPr>
        <p:style>
          <a:lnRef idx="2">
            <a:schemeClr val="dk1"/>
          </a:lnRef>
          <a:fillRef idx="1">
            <a:schemeClr val="lt1"/>
          </a:fillRef>
          <a:effectRef idx="0">
            <a:schemeClr val="dk1"/>
          </a:effectRef>
          <a:fontRef idx="minor">
            <a:schemeClr val="dk1"/>
          </a:fontRef>
        </p:style>
        <p:txBody>
          <a:bodyPr wrap="square" rtlCol="0">
            <a:spAutoFit/>
          </a:bodyPr>
          <a:lstStyle/>
          <a:p>
            <a:pPr defTabSz="685800" fontAlgn="auto">
              <a:spcBef>
                <a:spcPts val="0"/>
              </a:spcBef>
              <a:spcAft>
                <a:spcPts val="0"/>
              </a:spcAft>
            </a:pPr>
            <a:r>
              <a:rPr lang="en-US" sz="1500" b="1" dirty="0" err="1">
                <a:solidFill>
                  <a:prstClr val="white"/>
                </a:solidFill>
                <a:latin typeface="Calibri" panose="020F0502020204030204"/>
              </a:rPr>
              <a:t>Solcuión</a:t>
            </a:r>
            <a:r>
              <a:rPr lang="en-US" sz="1500" b="1" dirty="0">
                <a:solidFill>
                  <a:prstClr val="white"/>
                </a:solidFill>
                <a:latin typeface="Calibri" panose="020F0502020204030204"/>
              </a:rPr>
              <a:t> de Negocios de IOT </a:t>
            </a:r>
            <a:endParaRPr lang="en-US" sz="1200" b="1" dirty="0">
              <a:solidFill>
                <a:prstClr val="white"/>
              </a:solidFill>
              <a:latin typeface="Calibri" panose="020F0502020204030204"/>
            </a:endParaRPr>
          </a:p>
        </p:txBody>
      </p:sp>
      <p:sp>
        <p:nvSpPr>
          <p:cNvPr id="8" name="Rectangle : coins arrondis 7"/>
          <p:cNvSpPr/>
          <p:nvPr/>
        </p:nvSpPr>
        <p:spPr>
          <a:xfrm>
            <a:off x="3164306" y="3604962"/>
            <a:ext cx="1542795" cy="115925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pic>
        <p:nvPicPr>
          <p:cNvPr id="9" name="Image 8"/>
          <p:cNvPicPr>
            <a:picLocks noChangeAspect="1"/>
          </p:cNvPicPr>
          <p:nvPr/>
        </p:nvPicPr>
        <p:blipFill>
          <a:blip r:embed="rId5"/>
          <a:stretch>
            <a:fillRect/>
          </a:stretch>
        </p:blipFill>
        <p:spPr>
          <a:xfrm>
            <a:off x="3344779" y="4387882"/>
            <a:ext cx="1229975" cy="246910"/>
          </a:xfrm>
          <a:prstGeom prst="rect">
            <a:avLst/>
          </a:prstGeom>
        </p:spPr>
      </p:pic>
      <p:sp>
        <p:nvSpPr>
          <p:cNvPr id="19" name="Rectangle : coins arrondis 18"/>
          <p:cNvSpPr/>
          <p:nvPr/>
        </p:nvSpPr>
        <p:spPr>
          <a:xfrm>
            <a:off x="3436337" y="3881961"/>
            <a:ext cx="995979" cy="317576"/>
          </a:xfrm>
          <a:prstGeom prst="roundRect">
            <a:avLst/>
          </a:prstGeom>
          <a:solidFill>
            <a:srgbClr val="00B0F0"/>
          </a:solid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fr-FR" sz="1050" dirty="0">
                <a:solidFill>
                  <a:prstClr val="white"/>
                </a:solidFill>
                <a:latin typeface="Trebuchet MS"/>
                <a:cs typeface="Trebuchet MS"/>
              </a:rPr>
              <a:t>Gateway</a:t>
            </a:r>
          </a:p>
        </p:txBody>
      </p:sp>
      <p:sp>
        <p:nvSpPr>
          <p:cNvPr id="20" name="Rectangle : coins arrondis 19"/>
          <p:cNvSpPr/>
          <p:nvPr/>
        </p:nvSpPr>
        <p:spPr>
          <a:xfrm>
            <a:off x="4787963" y="3604962"/>
            <a:ext cx="1542795" cy="1159256"/>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21" name="Rectangle 20"/>
          <p:cNvSpPr/>
          <p:nvPr/>
        </p:nvSpPr>
        <p:spPr>
          <a:xfrm>
            <a:off x="5053263" y="4384935"/>
            <a:ext cx="270000" cy="245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22" name="Rectangle 21"/>
          <p:cNvSpPr/>
          <p:nvPr/>
        </p:nvSpPr>
        <p:spPr>
          <a:xfrm>
            <a:off x="5442102" y="4384935"/>
            <a:ext cx="270000" cy="245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23" name="Rectangle 22"/>
          <p:cNvSpPr/>
          <p:nvPr/>
        </p:nvSpPr>
        <p:spPr>
          <a:xfrm>
            <a:off x="5843905" y="4384935"/>
            <a:ext cx="270000" cy="245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14" name="Freeform 102">
            <a:extLst/>
          </p:cNvPr>
          <p:cNvSpPr>
            <a:spLocks noChangeAspect="1" noChangeArrowheads="1"/>
          </p:cNvSpPr>
          <p:nvPr/>
        </p:nvSpPr>
        <p:spPr bwMode="auto">
          <a:xfrm>
            <a:off x="5073229" y="4406535"/>
            <a:ext cx="228086" cy="202500"/>
          </a:xfrm>
          <a:custGeom>
            <a:avLst/>
            <a:gdLst>
              <a:gd name="T0" fmla="*/ 6405 w 6406"/>
              <a:gd name="T1" fmla="*/ 531 h 5687"/>
              <a:gd name="T2" fmla="*/ 5968 w 6406"/>
              <a:gd name="T3" fmla="*/ 5686 h 5687"/>
              <a:gd name="T4" fmla="*/ 125 w 6406"/>
              <a:gd name="T5" fmla="*/ 5155 h 5687"/>
              <a:gd name="T6" fmla="*/ 344 w 6406"/>
              <a:gd name="T7" fmla="*/ 1031 h 5687"/>
              <a:gd name="T8" fmla="*/ 1000 w 6406"/>
              <a:gd name="T9" fmla="*/ 0 h 5687"/>
              <a:gd name="T10" fmla="*/ 6405 w 6406"/>
              <a:gd name="T11" fmla="*/ 531 h 5687"/>
              <a:gd name="T12" fmla="*/ 313 w 6406"/>
              <a:gd name="T13" fmla="*/ 594 h 5687"/>
              <a:gd name="T14" fmla="*/ 281 w 6406"/>
              <a:gd name="T15" fmla="*/ 0 h 5687"/>
              <a:gd name="T16" fmla="*/ 313 w 6406"/>
              <a:gd name="T17" fmla="*/ 594 h 5687"/>
              <a:gd name="T18" fmla="*/ 4124 w 6406"/>
              <a:gd name="T19" fmla="*/ 1469 h 5687"/>
              <a:gd name="T20" fmla="*/ 1188 w 6406"/>
              <a:gd name="T21" fmla="*/ 3030 h 5687"/>
              <a:gd name="T22" fmla="*/ 4124 w 6406"/>
              <a:gd name="T23" fmla="*/ 1469 h 5687"/>
              <a:gd name="T24" fmla="*/ 2906 w 6406"/>
              <a:gd name="T25" fmla="*/ 2781 h 5687"/>
              <a:gd name="T26" fmla="*/ 2469 w 6406"/>
              <a:gd name="T27" fmla="*/ 2687 h 5687"/>
              <a:gd name="T28" fmla="*/ 2531 w 6406"/>
              <a:gd name="T29" fmla="*/ 2594 h 5687"/>
              <a:gd name="T30" fmla="*/ 2594 w 6406"/>
              <a:gd name="T31" fmla="*/ 1750 h 5687"/>
              <a:gd name="T32" fmla="*/ 2344 w 6406"/>
              <a:gd name="T33" fmla="*/ 1937 h 5687"/>
              <a:gd name="T34" fmla="*/ 2750 w 6406"/>
              <a:gd name="T35" fmla="*/ 2062 h 5687"/>
              <a:gd name="T36" fmla="*/ 2250 w 6406"/>
              <a:gd name="T37" fmla="*/ 2719 h 5687"/>
              <a:gd name="T38" fmla="*/ 2906 w 6406"/>
              <a:gd name="T39" fmla="*/ 2781 h 5687"/>
              <a:gd name="T40" fmla="*/ 3405 w 6406"/>
              <a:gd name="T41" fmla="*/ 2812 h 5687"/>
              <a:gd name="T42" fmla="*/ 3437 w 6406"/>
              <a:gd name="T43" fmla="*/ 1750 h 5687"/>
              <a:gd name="T44" fmla="*/ 3405 w 6406"/>
              <a:gd name="T45" fmla="*/ 2812 h 5687"/>
              <a:gd name="T46" fmla="*/ 3405 w 6406"/>
              <a:gd name="T47" fmla="*/ 2687 h 5687"/>
              <a:gd name="T48" fmla="*/ 3405 w 6406"/>
              <a:gd name="T49" fmla="*/ 1844 h 5687"/>
              <a:gd name="T50" fmla="*/ 3405 w 6406"/>
              <a:gd name="T51" fmla="*/ 2687 h 5687"/>
              <a:gd name="T52" fmla="*/ 5593 w 6406"/>
              <a:gd name="T53" fmla="*/ 2031 h 5687"/>
              <a:gd name="T54" fmla="*/ 4655 w 6406"/>
              <a:gd name="T55" fmla="*/ 2031 h 5687"/>
              <a:gd name="T56" fmla="*/ 4655 w 6406"/>
              <a:gd name="T57" fmla="*/ 2437 h 5687"/>
              <a:gd name="T58" fmla="*/ 5124 w 6406"/>
              <a:gd name="T59" fmla="*/ 3124 h 5687"/>
              <a:gd name="T60" fmla="*/ 4655 w 6406"/>
              <a:gd name="T61" fmla="*/ 2437 h 5687"/>
              <a:gd name="T62" fmla="*/ 5155 w 6406"/>
              <a:gd name="T63" fmla="*/ 4093 h 5687"/>
              <a:gd name="T64" fmla="*/ 5155 w 6406"/>
              <a:gd name="T65" fmla="*/ 4593 h 5687"/>
              <a:gd name="T66" fmla="*/ 5155 w 6406"/>
              <a:gd name="T67" fmla="*/ 4093 h 5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06" h="5687">
                <a:moveTo>
                  <a:pt x="6405" y="531"/>
                </a:moveTo>
                <a:lnTo>
                  <a:pt x="6405" y="531"/>
                </a:lnTo>
                <a:cubicBezTo>
                  <a:pt x="6405" y="5155"/>
                  <a:pt x="6405" y="5155"/>
                  <a:pt x="6405" y="5155"/>
                </a:cubicBezTo>
                <a:cubicBezTo>
                  <a:pt x="6405" y="5467"/>
                  <a:pt x="6218" y="5686"/>
                  <a:pt x="5968" y="5686"/>
                </a:cubicBezTo>
                <a:cubicBezTo>
                  <a:pt x="563" y="5686"/>
                  <a:pt x="563" y="5686"/>
                  <a:pt x="563" y="5686"/>
                </a:cubicBezTo>
                <a:cubicBezTo>
                  <a:pt x="313" y="5686"/>
                  <a:pt x="125" y="5467"/>
                  <a:pt x="125" y="5155"/>
                </a:cubicBezTo>
                <a:cubicBezTo>
                  <a:pt x="125" y="1000"/>
                  <a:pt x="125" y="1000"/>
                  <a:pt x="125" y="1000"/>
                </a:cubicBezTo>
                <a:cubicBezTo>
                  <a:pt x="188" y="1031"/>
                  <a:pt x="281" y="1031"/>
                  <a:pt x="344" y="1031"/>
                </a:cubicBezTo>
                <a:cubicBezTo>
                  <a:pt x="750" y="1000"/>
                  <a:pt x="1094" y="656"/>
                  <a:pt x="1063" y="250"/>
                </a:cubicBezTo>
                <a:cubicBezTo>
                  <a:pt x="1063" y="156"/>
                  <a:pt x="1031" y="94"/>
                  <a:pt x="1000" y="0"/>
                </a:cubicBezTo>
                <a:cubicBezTo>
                  <a:pt x="5968" y="0"/>
                  <a:pt x="5968" y="0"/>
                  <a:pt x="5968" y="0"/>
                </a:cubicBezTo>
                <a:cubicBezTo>
                  <a:pt x="6218" y="0"/>
                  <a:pt x="6405" y="250"/>
                  <a:pt x="6405" y="531"/>
                </a:cubicBezTo>
                <a:close/>
                <a:moveTo>
                  <a:pt x="313" y="594"/>
                </a:moveTo>
                <a:lnTo>
                  <a:pt x="313" y="594"/>
                </a:lnTo>
                <a:cubicBezTo>
                  <a:pt x="469" y="562"/>
                  <a:pt x="594" y="437"/>
                  <a:pt x="594" y="281"/>
                </a:cubicBezTo>
                <a:cubicBezTo>
                  <a:pt x="594" y="125"/>
                  <a:pt x="438" y="0"/>
                  <a:pt x="281" y="0"/>
                </a:cubicBezTo>
                <a:cubicBezTo>
                  <a:pt x="125" y="0"/>
                  <a:pt x="0" y="156"/>
                  <a:pt x="0" y="312"/>
                </a:cubicBezTo>
                <a:cubicBezTo>
                  <a:pt x="31" y="469"/>
                  <a:pt x="156" y="594"/>
                  <a:pt x="313" y="594"/>
                </a:cubicBezTo>
                <a:close/>
                <a:moveTo>
                  <a:pt x="4124" y="1469"/>
                </a:moveTo>
                <a:lnTo>
                  <a:pt x="4124" y="1469"/>
                </a:lnTo>
                <a:cubicBezTo>
                  <a:pt x="1188" y="1469"/>
                  <a:pt x="1188" y="1469"/>
                  <a:pt x="1188" y="1469"/>
                </a:cubicBezTo>
                <a:cubicBezTo>
                  <a:pt x="1188" y="3030"/>
                  <a:pt x="1188" y="3030"/>
                  <a:pt x="1188" y="3030"/>
                </a:cubicBezTo>
                <a:cubicBezTo>
                  <a:pt x="4124" y="3030"/>
                  <a:pt x="4124" y="3030"/>
                  <a:pt x="4124" y="3030"/>
                </a:cubicBezTo>
                <a:lnTo>
                  <a:pt x="4124" y="1469"/>
                </a:lnTo>
                <a:close/>
                <a:moveTo>
                  <a:pt x="2906" y="2781"/>
                </a:moveTo>
                <a:lnTo>
                  <a:pt x="2906" y="2781"/>
                </a:lnTo>
                <a:cubicBezTo>
                  <a:pt x="2906" y="2687"/>
                  <a:pt x="2906" y="2687"/>
                  <a:pt x="2906" y="2687"/>
                </a:cubicBezTo>
                <a:cubicBezTo>
                  <a:pt x="2469" y="2687"/>
                  <a:pt x="2469" y="2687"/>
                  <a:pt x="2469" y="2687"/>
                </a:cubicBezTo>
                <a:cubicBezTo>
                  <a:pt x="2469" y="2656"/>
                  <a:pt x="2469" y="2656"/>
                  <a:pt x="2469" y="2656"/>
                </a:cubicBezTo>
                <a:cubicBezTo>
                  <a:pt x="2531" y="2594"/>
                  <a:pt x="2531" y="2594"/>
                  <a:pt x="2531" y="2594"/>
                </a:cubicBezTo>
                <a:cubicBezTo>
                  <a:pt x="2750" y="2375"/>
                  <a:pt x="2906" y="2219"/>
                  <a:pt x="2906" y="2031"/>
                </a:cubicBezTo>
                <a:cubicBezTo>
                  <a:pt x="2906" y="1906"/>
                  <a:pt x="2813" y="1750"/>
                  <a:pt x="2594" y="1750"/>
                </a:cubicBezTo>
                <a:cubicBezTo>
                  <a:pt x="2469" y="1750"/>
                  <a:pt x="2375" y="1781"/>
                  <a:pt x="2281" y="1844"/>
                </a:cubicBezTo>
                <a:cubicBezTo>
                  <a:pt x="2344" y="1937"/>
                  <a:pt x="2344" y="1937"/>
                  <a:pt x="2344" y="1937"/>
                </a:cubicBezTo>
                <a:cubicBezTo>
                  <a:pt x="2375" y="1906"/>
                  <a:pt x="2469" y="1844"/>
                  <a:pt x="2563" y="1844"/>
                </a:cubicBezTo>
                <a:cubicBezTo>
                  <a:pt x="2719" y="1844"/>
                  <a:pt x="2750" y="1937"/>
                  <a:pt x="2750" y="2062"/>
                </a:cubicBezTo>
                <a:cubicBezTo>
                  <a:pt x="2750" y="2219"/>
                  <a:pt x="2625" y="2344"/>
                  <a:pt x="2375" y="2594"/>
                </a:cubicBezTo>
                <a:cubicBezTo>
                  <a:pt x="2250" y="2719"/>
                  <a:pt x="2250" y="2719"/>
                  <a:pt x="2250" y="2719"/>
                </a:cubicBezTo>
                <a:cubicBezTo>
                  <a:pt x="2250" y="2781"/>
                  <a:pt x="2250" y="2781"/>
                  <a:pt x="2250" y="2781"/>
                </a:cubicBezTo>
                <a:lnTo>
                  <a:pt x="2906" y="2781"/>
                </a:lnTo>
                <a:close/>
                <a:moveTo>
                  <a:pt x="3405" y="2812"/>
                </a:moveTo>
                <a:lnTo>
                  <a:pt x="3405" y="2812"/>
                </a:lnTo>
                <a:cubicBezTo>
                  <a:pt x="3624" y="2812"/>
                  <a:pt x="3749" y="2625"/>
                  <a:pt x="3749" y="2250"/>
                </a:cubicBezTo>
                <a:cubicBezTo>
                  <a:pt x="3749" y="1937"/>
                  <a:pt x="3624" y="1750"/>
                  <a:pt x="3437" y="1750"/>
                </a:cubicBezTo>
                <a:cubicBezTo>
                  <a:pt x="3218" y="1750"/>
                  <a:pt x="3063" y="1937"/>
                  <a:pt x="3063" y="2281"/>
                </a:cubicBezTo>
                <a:cubicBezTo>
                  <a:pt x="3063" y="2625"/>
                  <a:pt x="3218" y="2812"/>
                  <a:pt x="3405" y="2812"/>
                </a:cubicBezTo>
                <a:close/>
                <a:moveTo>
                  <a:pt x="3405" y="2687"/>
                </a:moveTo>
                <a:lnTo>
                  <a:pt x="3405" y="2687"/>
                </a:lnTo>
                <a:cubicBezTo>
                  <a:pt x="3280" y="2687"/>
                  <a:pt x="3188" y="2531"/>
                  <a:pt x="3188" y="2281"/>
                </a:cubicBezTo>
                <a:cubicBezTo>
                  <a:pt x="3188" y="2000"/>
                  <a:pt x="3280" y="1844"/>
                  <a:pt x="3405" y="1844"/>
                </a:cubicBezTo>
                <a:cubicBezTo>
                  <a:pt x="3562" y="1844"/>
                  <a:pt x="3624" y="2000"/>
                  <a:pt x="3624" y="2281"/>
                </a:cubicBezTo>
                <a:cubicBezTo>
                  <a:pt x="3624" y="2531"/>
                  <a:pt x="3562" y="2687"/>
                  <a:pt x="3405" y="2687"/>
                </a:cubicBezTo>
                <a:close/>
                <a:moveTo>
                  <a:pt x="5593" y="2031"/>
                </a:moveTo>
                <a:lnTo>
                  <a:pt x="5593" y="2031"/>
                </a:lnTo>
                <a:cubicBezTo>
                  <a:pt x="5124" y="1375"/>
                  <a:pt x="5124" y="1375"/>
                  <a:pt x="5124" y="1375"/>
                </a:cubicBezTo>
                <a:cubicBezTo>
                  <a:pt x="4655" y="2031"/>
                  <a:pt x="4655" y="2031"/>
                  <a:pt x="4655" y="2031"/>
                </a:cubicBezTo>
                <a:lnTo>
                  <a:pt x="5593" y="2031"/>
                </a:lnTo>
                <a:close/>
                <a:moveTo>
                  <a:pt x="4655" y="2437"/>
                </a:moveTo>
                <a:lnTo>
                  <a:pt x="4655" y="2437"/>
                </a:lnTo>
                <a:cubicBezTo>
                  <a:pt x="5124" y="3124"/>
                  <a:pt x="5124" y="3124"/>
                  <a:pt x="5124" y="3124"/>
                </a:cubicBezTo>
                <a:cubicBezTo>
                  <a:pt x="5593" y="2437"/>
                  <a:pt x="5593" y="2437"/>
                  <a:pt x="5593" y="2437"/>
                </a:cubicBezTo>
                <a:lnTo>
                  <a:pt x="4655" y="2437"/>
                </a:lnTo>
                <a:close/>
                <a:moveTo>
                  <a:pt x="5155" y="4093"/>
                </a:moveTo>
                <a:lnTo>
                  <a:pt x="5155" y="4093"/>
                </a:lnTo>
                <a:cubicBezTo>
                  <a:pt x="5030" y="4093"/>
                  <a:pt x="4905" y="4218"/>
                  <a:pt x="4905" y="4343"/>
                </a:cubicBezTo>
                <a:cubicBezTo>
                  <a:pt x="4905" y="4468"/>
                  <a:pt x="5030" y="4593"/>
                  <a:pt x="5155" y="4593"/>
                </a:cubicBezTo>
                <a:cubicBezTo>
                  <a:pt x="5280" y="4593"/>
                  <a:pt x="5405" y="4468"/>
                  <a:pt x="5405" y="4343"/>
                </a:cubicBezTo>
                <a:cubicBezTo>
                  <a:pt x="5405" y="4218"/>
                  <a:pt x="5280" y="4093"/>
                  <a:pt x="5155" y="4093"/>
                </a:cubicBezTo>
                <a:close/>
              </a:path>
            </a:pathLst>
          </a:custGeom>
          <a:solidFill>
            <a:schemeClr val="bg1">
              <a:lumMod val="95000"/>
            </a:schemeClr>
          </a:solidFill>
          <a:ln>
            <a:noFill/>
          </a:ln>
          <a:effectLst/>
          <a:extLst/>
        </p:spPr>
        <p:txBody>
          <a:bodyPr wrap="none" anchor="ctr"/>
          <a:lstStyle/>
          <a:p>
            <a:pPr defTabSz="685800" fontAlgn="auto">
              <a:spcBef>
                <a:spcPts val="0"/>
              </a:spcBef>
              <a:spcAft>
                <a:spcPts val="0"/>
              </a:spcAft>
            </a:pPr>
            <a:endParaRPr lang="en-US" sz="1350">
              <a:solidFill>
                <a:prstClr val="black"/>
              </a:solidFill>
              <a:latin typeface="Calibri" panose="020F0502020204030204"/>
            </a:endParaRPr>
          </a:p>
        </p:txBody>
      </p:sp>
      <p:grpSp>
        <p:nvGrpSpPr>
          <p:cNvPr id="15" name="Group 4"/>
          <p:cNvGrpSpPr>
            <a:grpSpLocks noChangeAspect="1"/>
          </p:cNvGrpSpPr>
          <p:nvPr/>
        </p:nvGrpSpPr>
        <p:grpSpPr bwMode="auto">
          <a:xfrm>
            <a:off x="5491991" y="4405798"/>
            <a:ext cx="210694" cy="202500"/>
            <a:chOff x="-1645" y="-177"/>
            <a:chExt cx="1620" cy="1557"/>
          </a:xfrm>
          <a:solidFill>
            <a:schemeClr val="bg1">
              <a:lumMod val="95000"/>
            </a:schemeClr>
          </a:solidFill>
        </p:grpSpPr>
        <p:sp>
          <p:nvSpPr>
            <p:cNvPr id="16" name="Freeform 5"/>
            <p:cNvSpPr>
              <a:spLocks noEditPoints="1"/>
            </p:cNvSpPr>
            <p:nvPr/>
          </p:nvSpPr>
          <p:spPr bwMode="auto">
            <a:xfrm>
              <a:off x="-906" y="93"/>
              <a:ext cx="128" cy="208"/>
            </a:xfrm>
            <a:custGeom>
              <a:avLst/>
              <a:gdLst>
                <a:gd name="T0" fmla="*/ 181 w 256"/>
                <a:gd name="T1" fmla="*/ 157 h 416"/>
                <a:gd name="T2" fmla="*/ 200 w 256"/>
                <a:gd name="T3" fmla="*/ 158 h 416"/>
                <a:gd name="T4" fmla="*/ 221 w 256"/>
                <a:gd name="T5" fmla="*/ 147 h 416"/>
                <a:gd name="T6" fmla="*/ 235 w 256"/>
                <a:gd name="T7" fmla="*/ 117 h 416"/>
                <a:gd name="T8" fmla="*/ 224 w 256"/>
                <a:gd name="T9" fmla="*/ 85 h 416"/>
                <a:gd name="T10" fmla="*/ 159 w 256"/>
                <a:gd name="T11" fmla="*/ 14 h 416"/>
                <a:gd name="T12" fmla="*/ 157 w 256"/>
                <a:gd name="T13" fmla="*/ 10 h 416"/>
                <a:gd name="T14" fmla="*/ 152 w 256"/>
                <a:gd name="T15" fmla="*/ 7 h 416"/>
                <a:gd name="T16" fmla="*/ 148 w 256"/>
                <a:gd name="T17" fmla="*/ 5 h 416"/>
                <a:gd name="T18" fmla="*/ 144 w 256"/>
                <a:gd name="T19" fmla="*/ 3 h 416"/>
                <a:gd name="T20" fmla="*/ 137 w 256"/>
                <a:gd name="T21" fmla="*/ 1 h 416"/>
                <a:gd name="T22" fmla="*/ 132 w 256"/>
                <a:gd name="T23" fmla="*/ 0 h 416"/>
                <a:gd name="T24" fmla="*/ 128 w 256"/>
                <a:gd name="T25" fmla="*/ 0 h 416"/>
                <a:gd name="T26" fmla="*/ 123 w 256"/>
                <a:gd name="T27" fmla="*/ 0 h 416"/>
                <a:gd name="T28" fmla="*/ 118 w 256"/>
                <a:gd name="T29" fmla="*/ 1 h 416"/>
                <a:gd name="T30" fmla="*/ 111 w 256"/>
                <a:gd name="T31" fmla="*/ 3 h 416"/>
                <a:gd name="T32" fmla="*/ 107 w 256"/>
                <a:gd name="T33" fmla="*/ 5 h 416"/>
                <a:gd name="T34" fmla="*/ 102 w 256"/>
                <a:gd name="T35" fmla="*/ 7 h 416"/>
                <a:gd name="T36" fmla="*/ 99 w 256"/>
                <a:gd name="T37" fmla="*/ 10 h 416"/>
                <a:gd name="T38" fmla="*/ 95 w 256"/>
                <a:gd name="T39" fmla="*/ 14 h 416"/>
                <a:gd name="T40" fmla="*/ 25 w 256"/>
                <a:gd name="T41" fmla="*/ 92 h 416"/>
                <a:gd name="T42" fmla="*/ 20 w 256"/>
                <a:gd name="T43" fmla="*/ 125 h 416"/>
                <a:gd name="T44" fmla="*/ 34 w 256"/>
                <a:gd name="T45" fmla="*/ 147 h 416"/>
                <a:gd name="T46" fmla="*/ 63 w 256"/>
                <a:gd name="T47" fmla="*/ 159 h 416"/>
                <a:gd name="T48" fmla="*/ 83 w 256"/>
                <a:gd name="T49" fmla="*/ 153 h 416"/>
                <a:gd name="T50" fmla="*/ 66 w 256"/>
                <a:gd name="T51" fmla="*/ 176 h 416"/>
                <a:gd name="T52" fmla="*/ 35 w 256"/>
                <a:gd name="T53" fmla="*/ 199 h 416"/>
                <a:gd name="T54" fmla="*/ 14 w 256"/>
                <a:gd name="T55" fmla="*/ 230 h 416"/>
                <a:gd name="T56" fmla="*/ 2 w 256"/>
                <a:gd name="T57" fmla="*/ 267 h 416"/>
                <a:gd name="T58" fmla="*/ 1 w 256"/>
                <a:gd name="T59" fmla="*/ 301 h 416"/>
                <a:gd name="T60" fmla="*/ 15 w 256"/>
                <a:gd name="T61" fmla="*/ 348 h 416"/>
                <a:gd name="T62" fmla="*/ 46 w 256"/>
                <a:gd name="T63" fmla="*/ 386 h 416"/>
                <a:gd name="T64" fmla="*/ 90 w 256"/>
                <a:gd name="T65" fmla="*/ 409 h 416"/>
                <a:gd name="T66" fmla="*/ 128 w 256"/>
                <a:gd name="T67" fmla="*/ 416 h 416"/>
                <a:gd name="T68" fmla="*/ 177 w 256"/>
                <a:gd name="T69" fmla="*/ 405 h 416"/>
                <a:gd name="T70" fmla="*/ 218 w 256"/>
                <a:gd name="T71" fmla="*/ 378 h 416"/>
                <a:gd name="T72" fmla="*/ 245 w 256"/>
                <a:gd name="T73" fmla="*/ 337 h 416"/>
                <a:gd name="T74" fmla="*/ 256 w 256"/>
                <a:gd name="T75" fmla="*/ 288 h 416"/>
                <a:gd name="T76" fmla="*/ 251 w 256"/>
                <a:gd name="T77" fmla="*/ 258 h 416"/>
                <a:gd name="T78" fmla="*/ 237 w 256"/>
                <a:gd name="T79" fmla="*/ 222 h 416"/>
                <a:gd name="T80" fmla="*/ 213 w 256"/>
                <a:gd name="T81" fmla="*/ 192 h 416"/>
                <a:gd name="T82" fmla="*/ 180 w 256"/>
                <a:gd name="T83" fmla="*/ 172 h 416"/>
                <a:gd name="T84" fmla="*/ 128 w 256"/>
                <a:gd name="T85" fmla="*/ 328 h 416"/>
                <a:gd name="T86" fmla="*/ 100 w 256"/>
                <a:gd name="T87" fmla="*/ 316 h 416"/>
                <a:gd name="T88" fmla="*/ 88 w 256"/>
                <a:gd name="T89" fmla="*/ 288 h 416"/>
                <a:gd name="T90" fmla="*/ 94 w 256"/>
                <a:gd name="T91" fmla="*/ 265 h 416"/>
                <a:gd name="T92" fmla="*/ 119 w 256"/>
                <a:gd name="T93" fmla="*/ 248 h 416"/>
                <a:gd name="T94" fmla="*/ 143 w 256"/>
                <a:gd name="T95" fmla="*/ 250 h 416"/>
                <a:gd name="T96" fmla="*/ 164 w 256"/>
                <a:gd name="T97" fmla="*/ 272 h 416"/>
                <a:gd name="T98" fmla="*/ 166 w 256"/>
                <a:gd name="T99" fmla="*/ 295 h 416"/>
                <a:gd name="T100" fmla="*/ 150 w 256"/>
                <a:gd name="T101" fmla="*/ 321 h 416"/>
                <a:gd name="T102" fmla="*/ 128 w 256"/>
                <a:gd name="T103" fmla="*/ 32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6" h="416">
                  <a:moveTo>
                    <a:pt x="172" y="167"/>
                  </a:moveTo>
                  <a:lnTo>
                    <a:pt x="172" y="153"/>
                  </a:lnTo>
                  <a:lnTo>
                    <a:pt x="172" y="153"/>
                  </a:lnTo>
                  <a:lnTo>
                    <a:pt x="181" y="157"/>
                  </a:lnTo>
                  <a:lnTo>
                    <a:pt x="187" y="158"/>
                  </a:lnTo>
                  <a:lnTo>
                    <a:pt x="192" y="159"/>
                  </a:lnTo>
                  <a:lnTo>
                    <a:pt x="192" y="159"/>
                  </a:lnTo>
                  <a:lnTo>
                    <a:pt x="200" y="158"/>
                  </a:lnTo>
                  <a:lnTo>
                    <a:pt x="207" y="156"/>
                  </a:lnTo>
                  <a:lnTo>
                    <a:pt x="215" y="152"/>
                  </a:lnTo>
                  <a:lnTo>
                    <a:pt x="221" y="147"/>
                  </a:lnTo>
                  <a:lnTo>
                    <a:pt x="221" y="147"/>
                  </a:lnTo>
                  <a:lnTo>
                    <a:pt x="228" y="140"/>
                  </a:lnTo>
                  <a:lnTo>
                    <a:pt x="232" y="133"/>
                  </a:lnTo>
                  <a:lnTo>
                    <a:pt x="234" y="125"/>
                  </a:lnTo>
                  <a:lnTo>
                    <a:pt x="235" y="117"/>
                  </a:lnTo>
                  <a:lnTo>
                    <a:pt x="235" y="108"/>
                  </a:lnTo>
                  <a:lnTo>
                    <a:pt x="233" y="100"/>
                  </a:lnTo>
                  <a:lnTo>
                    <a:pt x="230" y="92"/>
                  </a:lnTo>
                  <a:lnTo>
                    <a:pt x="224" y="85"/>
                  </a:lnTo>
                  <a:lnTo>
                    <a:pt x="160" y="14"/>
                  </a:lnTo>
                  <a:lnTo>
                    <a:pt x="160" y="14"/>
                  </a:lnTo>
                  <a:lnTo>
                    <a:pt x="159" y="14"/>
                  </a:lnTo>
                  <a:lnTo>
                    <a:pt x="159" y="14"/>
                  </a:lnTo>
                  <a:lnTo>
                    <a:pt x="158" y="12"/>
                  </a:lnTo>
                  <a:lnTo>
                    <a:pt x="158" y="12"/>
                  </a:lnTo>
                  <a:lnTo>
                    <a:pt x="157" y="10"/>
                  </a:lnTo>
                  <a:lnTo>
                    <a:pt x="157" y="10"/>
                  </a:lnTo>
                  <a:lnTo>
                    <a:pt x="156" y="9"/>
                  </a:lnTo>
                  <a:lnTo>
                    <a:pt x="156" y="9"/>
                  </a:lnTo>
                  <a:lnTo>
                    <a:pt x="152" y="7"/>
                  </a:lnTo>
                  <a:lnTo>
                    <a:pt x="152" y="7"/>
                  </a:lnTo>
                  <a:lnTo>
                    <a:pt x="151" y="6"/>
                  </a:lnTo>
                  <a:lnTo>
                    <a:pt x="151" y="6"/>
                  </a:lnTo>
                  <a:lnTo>
                    <a:pt x="148" y="5"/>
                  </a:lnTo>
                  <a:lnTo>
                    <a:pt x="148" y="5"/>
                  </a:lnTo>
                  <a:lnTo>
                    <a:pt x="145" y="4"/>
                  </a:lnTo>
                  <a:lnTo>
                    <a:pt x="145" y="4"/>
                  </a:lnTo>
                  <a:lnTo>
                    <a:pt x="144" y="3"/>
                  </a:lnTo>
                  <a:lnTo>
                    <a:pt x="144" y="3"/>
                  </a:lnTo>
                  <a:lnTo>
                    <a:pt x="139" y="2"/>
                  </a:lnTo>
                  <a:lnTo>
                    <a:pt x="139" y="2"/>
                  </a:lnTo>
                  <a:lnTo>
                    <a:pt x="137" y="1"/>
                  </a:lnTo>
                  <a:lnTo>
                    <a:pt x="137" y="1"/>
                  </a:lnTo>
                  <a:lnTo>
                    <a:pt x="135" y="1"/>
                  </a:lnTo>
                  <a:lnTo>
                    <a:pt x="135" y="1"/>
                  </a:lnTo>
                  <a:lnTo>
                    <a:pt x="132" y="0"/>
                  </a:lnTo>
                  <a:lnTo>
                    <a:pt x="132" y="0"/>
                  </a:lnTo>
                  <a:lnTo>
                    <a:pt x="129" y="0"/>
                  </a:lnTo>
                  <a:lnTo>
                    <a:pt x="129" y="0"/>
                  </a:lnTo>
                  <a:lnTo>
                    <a:pt x="128" y="0"/>
                  </a:lnTo>
                  <a:lnTo>
                    <a:pt x="128" y="0"/>
                  </a:lnTo>
                  <a:lnTo>
                    <a:pt x="126" y="0"/>
                  </a:lnTo>
                  <a:lnTo>
                    <a:pt x="126" y="0"/>
                  </a:lnTo>
                  <a:lnTo>
                    <a:pt x="123" y="0"/>
                  </a:lnTo>
                  <a:lnTo>
                    <a:pt x="123" y="0"/>
                  </a:lnTo>
                  <a:lnTo>
                    <a:pt x="120" y="1"/>
                  </a:lnTo>
                  <a:lnTo>
                    <a:pt x="120" y="1"/>
                  </a:lnTo>
                  <a:lnTo>
                    <a:pt x="118" y="1"/>
                  </a:lnTo>
                  <a:lnTo>
                    <a:pt x="118" y="1"/>
                  </a:lnTo>
                  <a:lnTo>
                    <a:pt x="115" y="2"/>
                  </a:lnTo>
                  <a:lnTo>
                    <a:pt x="115" y="2"/>
                  </a:lnTo>
                  <a:lnTo>
                    <a:pt x="111" y="3"/>
                  </a:lnTo>
                  <a:lnTo>
                    <a:pt x="111" y="3"/>
                  </a:lnTo>
                  <a:lnTo>
                    <a:pt x="109" y="3"/>
                  </a:lnTo>
                  <a:lnTo>
                    <a:pt x="109" y="3"/>
                  </a:lnTo>
                  <a:lnTo>
                    <a:pt x="107" y="5"/>
                  </a:lnTo>
                  <a:lnTo>
                    <a:pt x="107" y="5"/>
                  </a:lnTo>
                  <a:lnTo>
                    <a:pt x="104" y="6"/>
                  </a:lnTo>
                  <a:lnTo>
                    <a:pt x="104" y="6"/>
                  </a:lnTo>
                  <a:lnTo>
                    <a:pt x="102" y="7"/>
                  </a:lnTo>
                  <a:lnTo>
                    <a:pt x="102" y="7"/>
                  </a:lnTo>
                  <a:lnTo>
                    <a:pt x="100" y="9"/>
                  </a:lnTo>
                  <a:lnTo>
                    <a:pt x="100" y="9"/>
                  </a:lnTo>
                  <a:lnTo>
                    <a:pt x="99" y="10"/>
                  </a:lnTo>
                  <a:lnTo>
                    <a:pt x="99" y="10"/>
                  </a:lnTo>
                  <a:lnTo>
                    <a:pt x="97" y="12"/>
                  </a:lnTo>
                  <a:lnTo>
                    <a:pt x="97" y="12"/>
                  </a:lnTo>
                  <a:lnTo>
                    <a:pt x="95" y="14"/>
                  </a:lnTo>
                  <a:lnTo>
                    <a:pt x="95" y="14"/>
                  </a:lnTo>
                  <a:lnTo>
                    <a:pt x="95" y="14"/>
                  </a:lnTo>
                  <a:lnTo>
                    <a:pt x="31" y="85"/>
                  </a:lnTo>
                  <a:lnTo>
                    <a:pt x="31" y="85"/>
                  </a:lnTo>
                  <a:lnTo>
                    <a:pt x="25" y="92"/>
                  </a:lnTo>
                  <a:lnTo>
                    <a:pt x="22" y="100"/>
                  </a:lnTo>
                  <a:lnTo>
                    <a:pt x="20" y="108"/>
                  </a:lnTo>
                  <a:lnTo>
                    <a:pt x="19" y="117"/>
                  </a:lnTo>
                  <a:lnTo>
                    <a:pt x="20" y="125"/>
                  </a:lnTo>
                  <a:lnTo>
                    <a:pt x="23" y="133"/>
                  </a:lnTo>
                  <a:lnTo>
                    <a:pt x="28" y="140"/>
                  </a:lnTo>
                  <a:lnTo>
                    <a:pt x="34" y="147"/>
                  </a:lnTo>
                  <a:lnTo>
                    <a:pt x="34" y="147"/>
                  </a:lnTo>
                  <a:lnTo>
                    <a:pt x="40" y="152"/>
                  </a:lnTo>
                  <a:lnTo>
                    <a:pt x="48" y="156"/>
                  </a:lnTo>
                  <a:lnTo>
                    <a:pt x="56" y="158"/>
                  </a:lnTo>
                  <a:lnTo>
                    <a:pt x="63" y="159"/>
                  </a:lnTo>
                  <a:lnTo>
                    <a:pt x="63" y="159"/>
                  </a:lnTo>
                  <a:lnTo>
                    <a:pt x="68" y="158"/>
                  </a:lnTo>
                  <a:lnTo>
                    <a:pt x="74" y="157"/>
                  </a:lnTo>
                  <a:lnTo>
                    <a:pt x="83" y="153"/>
                  </a:lnTo>
                  <a:lnTo>
                    <a:pt x="83" y="167"/>
                  </a:lnTo>
                  <a:lnTo>
                    <a:pt x="83" y="167"/>
                  </a:lnTo>
                  <a:lnTo>
                    <a:pt x="75" y="172"/>
                  </a:lnTo>
                  <a:lnTo>
                    <a:pt x="66" y="176"/>
                  </a:lnTo>
                  <a:lnTo>
                    <a:pt x="58" y="180"/>
                  </a:lnTo>
                  <a:lnTo>
                    <a:pt x="50" y="187"/>
                  </a:lnTo>
                  <a:lnTo>
                    <a:pt x="43" y="192"/>
                  </a:lnTo>
                  <a:lnTo>
                    <a:pt x="35" y="199"/>
                  </a:lnTo>
                  <a:lnTo>
                    <a:pt x="29" y="206"/>
                  </a:lnTo>
                  <a:lnTo>
                    <a:pt x="23" y="214"/>
                  </a:lnTo>
                  <a:lnTo>
                    <a:pt x="18" y="222"/>
                  </a:lnTo>
                  <a:lnTo>
                    <a:pt x="14" y="230"/>
                  </a:lnTo>
                  <a:lnTo>
                    <a:pt x="9" y="239"/>
                  </a:lnTo>
                  <a:lnTo>
                    <a:pt x="6" y="248"/>
                  </a:lnTo>
                  <a:lnTo>
                    <a:pt x="3" y="258"/>
                  </a:lnTo>
                  <a:lnTo>
                    <a:pt x="2" y="267"/>
                  </a:lnTo>
                  <a:lnTo>
                    <a:pt x="0" y="277"/>
                  </a:lnTo>
                  <a:lnTo>
                    <a:pt x="0" y="288"/>
                  </a:lnTo>
                  <a:lnTo>
                    <a:pt x="0" y="288"/>
                  </a:lnTo>
                  <a:lnTo>
                    <a:pt x="1" y="301"/>
                  </a:lnTo>
                  <a:lnTo>
                    <a:pt x="2" y="314"/>
                  </a:lnTo>
                  <a:lnTo>
                    <a:pt x="5" y="325"/>
                  </a:lnTo>
                  <a:lnTo>
                    <a:pt x="9" y="337"/>
                  </a:lnTo>
                  <a:lnTo>
                    <a:pt x="15" y="348"/>
                  </a:lnTo>
                  <a:lnTo>
                    <a:pt x="21" y="359"/>
                  </a:lnTo>
                  <a:lnTo>
                    <a:pt x="29" y="368"/>
                  </a:lnTo>
                  <a:lnTo>
                    <a:pt x="37" y="378"/>
                  </a:lnTo>
                  <a:lnTo>
                    <a:pt x="46" y="386"/>
                  </a:lnTo>
                  <a:lnTo>
                    <a:pt x="56" y="393"/>
                  </a:lnTo>
                  <a:lnTo>
                    <a:pt x="66" y="400"/>
                  </a:lnTo>
                  <a:lnTo>
                    <a:pt x="78" y="405"/>
                  </a:lnTo>
                  <a:lnTo>
                    <a:pt x="90" y="409"/>
                  </a:lnTo>
                  <a:lnTo>
                    <a:pt x="102" y="412"/>
                  </a:lnTo>
                  <a:lnTo>
                    <a:pt x="115" y="415"/>
                  </a:lnTo>
                  <a:lnTo>
                    <a:pt x="128" y="416"/>
                  </a:lnTo>
                  <a:lnTo>
                    <a:pt x="128" y="416"/>
                  </a:lnTo>
                  <a:lnTo>
                    <a:pt x="140" y="415"/>
                  </a:lnTo>
                  <a:lnTo>
                    <a:pt x="153" y="412"/>
                  </a:lnTo>
                  <a:lnTo>
                    <a:pt x="165" y="409"/>
                  </a:lnTo>
                  <a:lnTo>
                    <a:pt x="177" y="405"/>
                  </a:lnTo>
                  <a:lnTo>
                    <a:pt x="188" y="400"/>
                  </a:lnTo>
                  <a:lnTo>
                    <a:pt x="199" y="393"/>
                  </a:lnTo>
                  <a:lnTo>
                    <a:pt x="208" y="386"/>
                  </a:lnTo>
                  <a:lnTo>
                    <a:pt x="218" y="378"/>
                  </a:lnTo>
                  <a:lnTo>
                    <a:pt x="226" y="368"/>
                  </a:lnTo>
                  <a:lnTo>
                    <a:pt x="233" y="359"/>
                  </a:lnTo>
                  <a:lnTo>
                    <a:pt x="239" y="348"/>
                  </a:lnTo>
                  <a:lnTo>
                    <a:pt x="245" y="337"/>
                  </a:lnTo>
                  <a:lnTo>
                    <a:pt x="249" y="325"/>
                  </a:lnTo>
                  <a:lnTo>
                    <a:pt x="252" y="314"/>
                  </a:lnTo>
                  <a:lnTo>
                    <a:pt x="254" y="301"/>
                  </a:lnTo>
                  <a:lnTo>
                    <a:pt x="256" y="288"/>
                  </a:lnTo>
                  <a:lnTo>
                    <a:pt x="256" y="288"/>
                  </a:lnTo>
                  <a:lnTo>
                    <a:pt x="254" y="277"/>
                  </a:lnTo>
                  <a:lnTo>
                    <a:pt x="253" y="267"/>
                  </a:lnTo>
                  <a:lnTo>
                    <a:pt x="251" y="258"/>
                  </a:lnTo>
                  <a:lnTo>
                    <a:pt x="249" y="248"/>
                  </a:lnTo>
                  <a:lnTo>
                    <a:pt x="246" y="239"/>
                  </a:lnTo>
                  <a:lnTo>
                    <a:pt x="242" y="230"/>
                  </a:lnTo>
                  <a:lnTo>
                    <a:pt x="237" y="222"/>
                  </a:lnTo>
                  <a:lnTo>
                    <a:pt x="232" y="214"/>
                  </a:lnTo>
                  <a:lnTo>
                    <a:pt x="225" y="206"/>
                  </a:lnTo>
                  <a:lnTo>
                    <a:pt x="219" y="199"/>
                  </a:lnTo>
                  <a:lnTo>
                    <a:pt x="213" y="192"/>
                  </a:lnTo>
                  <a:lnTo>
                    <a:pt x="205" y="187"/>
                  </a:lnTo>
                  <a:lnTo>
                    <a:pt x="197" y="180"/>
                  </a:lnTo>
                  <a:lnTo>
                    <a:pt x="189" y="176"/>
                  </a:lnTo>
                  <a:lnTo>
                    <a:pt x="180" y="172"/>
                  </a:lnTo>
                  <a:lnTo>
                    <a:pt x="172" y="167"/>
                  </a:lnTo>
                  <a:lnTo>
                    <a:pt x="172" y="167"/>
                  </a:lnTo>
                  <a:close/>
                  <a:moveTo>
                    <a:pt x="128" y="328"/>
                  </a:moveTo>
                  <a:lnTo>
                    <a:pt x="128" y="328"/>
                  </a:lnTo>
                  <a:lnTo>
                    <a:pt x="119" y="326"/>
                  </a:lnTo>
                  <a:lnTo>
                    <a:pt x="111" y="324"/>
                  </a:lnTo>
                  <a:lnTo>
                    <a:pt x="105" y="321"/>
                  </a:lnTo>
                  <a:lnTo>
                    <a:pt x="100" y="316"/>
                  </a:lnTo>
                  <a:lnTo>
                    <a:pt x="94" y="310"/>
                  </a:lnTo>
                  <a:lnTo>
                    <a:pt x="91" y="303"/>
                  </a:lnTo>
                  <a:lnTo>
                    <a:pt x="88" y="295"/>
                  </a:lnTo>
                  <a:lnTo>
                    <a:pt x="88" y="288"/>
                  </a:lnTo>
                  <a:lnTo>
                    <a:pt x="88" y="288"/>
                  </a:lnTo>
                  <a:lnTo>
                    <a:pt x="88" y="279"/>
                  </a:lnTo>
                  <a:lnTo>
                    <a:pt x="91" y="272"/>
                  </a:lnTo>
                  <a:lnTo>
                    <a:pt x="94" y="265"/>
                  </a:lnTo>
                  <a:lnTo>
                    <a:pt x="100" y="259"/>
                  </a:lnTo>
                  <a:lnTo>
                    <a:pt x="105" y="254"/>
                  </a:lnTo>
                  <a:lnTo>
                    <a:pt x="111" y="250"/>
                  </a:lnTo>
                  <a:lnTo>
                    <a:pt x="119" y="248"/>
                  </a:lnTo>
                  <a:lnTo>
                    <a:pt x="128" y="248"/>
                  </a:lnTo>
                  <a:lnTo>
                    <a:pt x="128" y="248"/>
                  </a:lnTo>
                  <a:lnTo>
                    <a:pt x="135" y="248"/>
                  </a:lnTo>
                  <a:lnTo>
                    <a:pt x="143" y="250"/>
                  </a:lnTo>
                  <a:lnTo>
                    <a:pt x="150" y="254"/>
                  </a:lnTo>
                  <a:lnTo>
                    <a:pt x="156" y="259"/>
                  </a:lnTo>
                  <a:lnTo>
                    <a:pt x="161" y="265"/>
                  </a:lnTo>
                  <a:lnTo>
                    <a:pt x="164" y="272"/>
                  </a:lnTo>
                  <a:lnTo>
                    <a:pt x="166" y="279"/>
                  </a:lnTo>
                  <a:lnTo>
                    <a:pt x="167" y="288"/>
                  </a:lnTo>
                  <a:lnTo>
                    <a:pt x="167" y="288"/>
                  </a:lnTo>
                  <a:lnTo>
                    <a:pt x="166" y="295"/>
                  </a:lnTo>
                  <a:lnTo>
                    <a:pt x="164" y="303"/>
                  </a:lnTo>
                  <a:lnTo>
                    <a:pt x="161" y="310"/>
                  </a:lnTo>
                  <a:lnTo>
                    <a:pt x="156" y="316"/>
                  </a:lnTo>
                  <a:lnTo>
                    <a:pt x="150" y="321"/>
                  </a:lnTo>
                  <a:lnTo>
                    <a:pt x="143" y="324"/>
                  </a:lnTo>
                  <a:lnTo>
                    <a:pt x="135" y="326"/>
                  </a:lnTo>
                  <a:lnTo>
                    <a:pt x="128" y="328"/>
                  </a:lnTo>
                  <a:lnTo>
                    <a:pt x="128"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fr-FR" sz="1350">
                <a:solidFill>
                  <a:prstClr val="black"/>
                </a:solidFill>
                <a:latin typeface="Calibri" panose="020F0502020204030204"/>
              </a:endParaRPr>
            </a:p>
          </p:txBody>
        </p:sp>
        <p:sp>
          <p:nvSpPr>
            <p:cNvPr id="17" name="Freeform 6"/>
            <p:cNvSpPr>
              <a:spLocks noEditPoints="1"/>
            </p:cNvSpPr>
            <p:nvPr/>
          </p:nvSpPr>
          <p:spPr bwMode="auto">
            <a:xfrm>
              <a:off x="-1645" y="-177"/>
              <a:ext cx="1620" cy="1557"/>
            </a:xfrm>
            <a:custGeom>
              <a:avLst/>
              <a:gdLst>
                <a:gd name="T0" fmla="*/ 2066 w 3240"/>
                <a:gd name="T1" fmla="*/ 1395 h 3114"/>
                <a:gd name="T2" fmla="*/ 2577 w 3240"/>
                <a:gd name="T3" fmla="*/ 1246 h 3114"/>
                <a:gd name="T4" fmla="*/ 2806 w 3240"/>
                <a:gd name="T5" fmla="*/ 1076 h 3114"/>
                <a:gd name="T6" fmla="*/ 2879 w 3240"/>
                <a:gd name="T7" fmla="*/ 431 h 3114"/>
                <a:gd name="T8" fmla="*/ 2781 w 3240"/>
                <a:gd name="T9" fmla="*/ 157 h 3114"/>
                <a:gd name="T10" fmla="*/ 2535 w 3240"/>
                <a:gd name="T11" fmla="*/ 9 h 3114"/>
                <a:gd name="T12" fmla="*/ 263 w 3240"/>
                <a:gd name="T13" fmla="*/ 34 h 3114"/>
                <a:gd name="T14" fmla="*/ 52 w 3240"/>
                <a:gd name="T15" fmla="*/ 226 h 3114"/>
                <a:gd name="T16" fmla="*/ 1 w 3240"/>
                <a:gd name="T17" fmla="*/ 871 h 3114"/>
                <a:gd name="T18" fmla="*/ 85 w 3240"/>
                <a:gd name="T19" fmla="*/ 1091 h 3114"/>
                <a:gd name="T20" fmla="*/ 295 w 3240"/>
                <a:gd name="T21" fmla="*/ 1254 h 3114"/>
                <a:gd name="T22" fmla="*/ 347 w 3240"/>
                <a:gd name="T23" fmla="*/ 2680 h 3114"/>
                <a:gd name="T24" fmla="*/ 566 w 3240"/>
                <a:gd name="T25" fmla="*/ 2876 h 3114"/>
                <a:gd name="T26" fmla="*/ 1328 w 3240"/>
                <a:gd name="T27" fmla="*/ 2903 h 3114"/>
                <a:gd name="T28" fmla="*/ 1521 w 3240"/>
                <a:gd name="T29" fmla="*/ 3095 h 3114"/>
                <a:gd name="T30" fmla="*/ 1715 w 3240"/>
                <a:gd name="T31" fmla="*/ 3100 h 3114"/>
                <a:gd name="T32" fmla="*/ 1921 w 3240"/>
                <a:gd name="T33" fmla="*/ 2904 h 3114"/>
                <a:gd name="T34" fmla="*/ 2969 w 3240"/>
                <a:gd name="T35" fmla="*/ 2887 h 3114"/>
                <a:gd name="T36" fmla="*/ 3181 w 3240"/>
                <a:gd name="T37" fmla="*/ 2713 h 3114"/>
                <a:gd name="T38" fmla="*/ 3240 w 3240"/>
                <a:gd name="T39" fmla="*/ 2110 h 3114"/>
                <a:gd name="T40" fmla="*/ 3129 w 3240"/>
                <a:gd name="T41" fmla="*/ 1843 h 3114"/>
                <a:gd name="T42" fmla="*/ 2877 w 3240"/>
                <a:gd name="T43" fmla="*/ 1708 h 3114"/>
                <a:gd name="T44" fmla="*/ 1646 w 3240"/>
                <a:gd name="T45" fmla="*/ 1889 h 3114"/>
                <a:gd name="T46" fmla="*/ 1683 w 3240"/>
                <a:gd name="T47" fmla="*/ 1554 h 3114"/>
                <a:gd name="T48" fmla="*/ 1239 w 3240"/>
                <a:gd name="T49" fmla="*/ 1459 h 3114"/>
                <a:gd name="T50" fmla="*/ 976 w 3240"/>
                <a:gd name="T51" fmla="*/ 1697 h 3114"/>
                <a:gd name="T52" fmla="*/ 810 w 3240"/>
                <a:gd name="T53" fmla="*/ 1597 h 3114"/>
                <a:gd name="T54" fmla="*/ 744 w 3240"/>
                <a:gd name="T55" fmla="*/ 1412 h 3114"/>
                <a:gd name="T56" fmla="*/ 1273 w 3240"/>
                <a:gd name="T57" fmla="*/ 1378 h 3114"/>
                <a:gd name="T58" fmla="*/ 1002 w 3240"/>
                <a:gd name="T59" fmla="*/ 1049 h 3114"/>
                <a:gd name="T60" fmla="*/ 993 w 3240"/>
                <a:gd name="T61" fmla="*/ 637 h 3114"/>
                <a:gd name="T62" fmla="*/ 1247 w 3240"/>
                <a:gd name="T63" fmla="*/ 296 h 3114"/>
                <a:gd name="T64" fmla="*/ 1640 w 3240"/>
                <a:gd name="T65" fmla="*/ 187 h 3114"/>
                <a:gd name="T66" fmla="*/ 2039 w 3240"/>
                <a:gd name="T67" fmla="*/ 353 h 3114"/>
                <a:gd name="T68" fmla="*/ 2242 w 3240"/>
                <a:gd name="T69" fmla="*/ 731 h 3114"/>
                <a:gd name="T70" fmla="*/ 2171 w 3240"/>
                <a:gd name="T71" fmla="*/ 1134 h 3114"/>
                <a:gd name="T72" fmla="*/ 1856 w 3240"/>
                <a:gd name="T73" fmla="*/ 1420 h 3114"/>
                <a:gd name="T74" fmla="*/ 684 w 3240"/>
                <a:gd name="T75" fmla="*/ 2821 h 3114"/>
                <a:gd name="T76" fmla="*/ 474 w 3240"/>
                <a:gd name="T77" fmla="*/ 2708 h 3114"/>
                <a:gd name="T78" fmla="*/ 382 w 3240"/>
                <a:gd name="T79" fmla="*/ 2486 h 3114"/>
                <a:gd name="T80" fmla="*/ 663 w 3240"/>
                <a:gd name="T81" fmla="*/ 1489 h 3114"/>
                <a:gd name="T82" fmla="*/ 794 w 3240"/>
                <a:gd name="T83" fmla="*/ 1704 h 3114"/>
                <a:gd name="T84" fmla="*/ 1034 w 3240"/>
                <a:gd name="T85" fmla="*/ 1791 h 3114"/>
                <a:gd name="T86" fmla="*/ 1298 w 3240"/>
                <a:gd name="T87" fmla="*/ 2062 h 3114"/>
                <a:gd name="T88" fmla="*/ 1177 w 3240"/>
                <a:gd name="T89" fmla="*/ 2326 h 3114"/>
                <a:gd name="T90" fmla="*/ 1180 w 3240"/>
                <a:gd name="T91" fmla="*/ 2612 h 3114"/>
                <a:gd name="T92" fmla="*/ 1704 w 3240"/>
                <a:gd name="T93" fmla="*/ 3010 h 3114"/>
                <a:gd name="T94" fmla="*/ 1482 w 3240"/>
                <a:gd name="T95" fmla="*/ 2960 h 3114"/>
                <a:gd name="T96" fmla="*/ 1252 w 3240"/>
                <a:gd name="T97" fmla="*/ 2529 h 3114"/>
                <a:gd name="T98" fmla="*/ 1294 w 3240"/>
                <a:gd name="T99" fmla="*/ 2242 h 3114"/>
                <a:gd name="T100" fmla="*/ 1479 w 3240"/>
                <a:gd name="T101" fmla="*/ 2015 h 3114"/>
                <a:gd name="T102" fmla="*/ 1695 w 3240"/>
                <a:gd name="T103" fmla="*/ 1984 h 3114"/>
                <a:gd name="T104" fmla="*/ 1842 w 3240"/>
                <a:gd name="T105" fmla="*/ 2069 h 3114"/>
                <a:gd name="T106" fmla="*/ 2001 w 3240"/>
                <a:gd name="T107" fmla="*/ 2464 h 3114"/>
                <a:gd name="T108" fmla="*/ 1888 w 3240"/>
                <a:gd name="T109" fmla="*/ 2795 h 3114"/>
                <a:gd name="T110" fmla="*/ 3138 w 3240"/>
                <a:gd name="T111" fmla="*/ 2596 h 3114"/>
                <a:gd name="T112" fmla="*/ 3009 w 3240"/>
                <a:gd name="T113" fmla="*/ 2769 h 3114"/>
                <a:gd name="T114" fmla="*/ 1973 w 3240"/>
                <a:gd name="T115" fmla="*/ 2824 h 3114"/>
                <a:gd name="T116" fmla="*/ 2089 w 3240"/>
                <a:gd name="T117" fmla="*/ 2485 h 3114"/>
                <a:gd name="T118" fmla="*/ 2025 w 3240"/>
                <a:gd name="T119" fmla="*/ 2183 h 3114"/>
                <a:gd name="T120" fmla="*/ 1858 w 3240"/>
                <a:gd name="T121" fmla="*/ 1969 h 3114"/>
                <a:gd name="T122" fmla="*/ 2928 w 3240"/>
                <a:gd name="T123" fmla="*/ 1811 h 3114"/>
                <a:gd name="T124" fmla="*/ 3103 w 3240"/>
                <a:gd name="T125" fmla="*/ 1955 h 3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40" h="3114">
                  <a:moveTo>
                    <a:pt x="2811" y="1703"/>
                  </a:moveTo>
                  <a:lnTo>
                    <a:pt x="1796" y="1703"/>
                  </a:lnTo>
                  <a:lnTo>
                    <a:pt x="1796" y="1534"/>
                  </a:lnTo>
                  <a:lnTo>
                    <a:pt x="1796" y="1534"/>
                  </a:lnTo>
                  <a:lnTo>
                    <a:pt x="1826" y="1525"/>
                  </a:lnTo>
                  <a:lnTo>
                    <a:pt x="1855" y="1516"/>
                  </a:lnTo>
                  <a:lnTo>
                    <a:pt x="1884" y="1504"/>
                  </a:lnTo>
                  <a:lnTo>
                    <a:pt x="1912" y="1492"/>
                  </a:lnTo>
                  <a:lnTo>
                    <a:pt x="1939" y="1478"/>
                  </a:lnTo>
                  <a:lnTo>
                    <a:pt x="1966" y="1464"/>
                  </a:lnTo>
                  <a:lnTo>
                    <a:pt x="1992" y="1448"/>
                  </a:lnTo>
                  <a:lnTo>
                    <a:pt x="2017" y="1432"/>
                  </a:lnTo>
                  <a:lnTo>
                    <a:pt x="2042" y="1415"/>
                  </a:lnTo>
                  <a:lnTo>
                    <a:pt x="2066" y="1395"/>
                  </a:lnTo>
                  <a:lnTo>
                    <a:pt x="2089" y="1376"/>
                  </a:lnTo>
                  <a:lnTo>
                    <a:pt x="2111" y="1355"/>
                  </a:lnTo>
                  <a:lnTo>
                    <a:pt x="2132" y="1334"/>
                  </a:lnTo>
                  <a:lnTo>
                    <a:pt x="2153" y="1312"/>
                  </a:lnTo>
                  <a:lnTo>
                    <a:pt x="2173" y="1289"/>
                  </a:lnTo>
                  <a:lnTo>
                    <a:pt x="2192" y="1265"/>
                  </a:lnTo>
                  <a:lnTo>
                    <a:pt x="2449" y="1265"/>
                  </a:lnTo>
                  <a:lnTo>
                    <a:pt x="2449" y="1265"/>
                  </a:lnTo>
                  <a:lnTo>
                    <a:pt x="2470" y="1265"/>
                  </a:lnTo>
                  <a:lnTo>
                    <a:pt x="2493" y="1263"/>
                  </a:lnTo>
                  <a:lnTo>
                    <a:pt x="2514" y="1261"/>
                  </a:lnTo>
                  <a:lnTo>
                    <a:pt x="2535" y="1257"/>
                  </a:lnTo>
                  <a:lnTo>
                    <a:pt x="2556" y="1252"/>
                  </a:lnTo>
                  <a:lnTo>
                    <a:pt x="2577" y="1246"/>
                  </a:lnTo>
                  <a:lnTo>
                    <a:pt x="2596" y="1239"/>
                  </a:lnTo>
                  <a:lnTo>
                    <a:pt x="2615" y="1232"/>
                  </a:lnTo>
                  <a:lnTo>
                    <a:pt x="2635" y="1223"/>
                  </a:lnTo>
                  <a:lnTo>
                    <a:pt x="2654" y="1214"/>
                  </a:lnTo>
                  <a:lnTo>
                    <a:pt x="2671" y="1203"/>
                  </a:lnTo>
                  <a:lnTo>
                    <a:pt x="2689" y="1192"/>
                  </a:lnTo>
                  <a:lnTo>
                    <a:pt x="2706" y="1180"/>
                  </a:lnTo>
                  <a:lnTo>
                    <a:pt x="2722" y="1167"/>
                  </a:lnTo>
                  <a:lnTo>
                    <a:pt x="2738" y="1153"/>
                  </a:lnTo>
                  <a:lnTo>
                    <a:pt x="2753" y="1139"/>
                  </a:lnTo>
                  <a:lnTo>
                    <a:pt x="2767" y="1124"/>
                  </a:lnTo>
                  <a:lnTo>
                    <a:pt x="2781" y="1109"/>
                  </a:lnTo>
                  <a:lnTo>
                    <a:pt x="2794" y="1092"/>
                  </a:lnTo>
                  <a:lnTo>
                    <a:pt x="2806" y="1076"/>
                  </a:lnTo>
                  <a:lnTo>
                    <a:pt x="2816" y="1058"/>
                  </a:lnTo>
                  <a:lnTo>
                    <a:pt x="2827" y="1041"/>
                  </a:lnTo>
                  <a:lnTo>
                    <a:pt x="2837" y="1021"/>
                  </a:lnTo>
                  <a:lnTo>
                    <a:pt x="2845" y="1003"/>
                  </a:lnTo>
                  <a:lnTo>
                    <a:pt x="2853" y="982"/>
                  </a:lnTo>
                  <a:lnTo>
                    <a:pt x="2859" y="963"/>
                  </a:lnTo>
                  <a:lnTo>
                    <a:pt x="2866" y="943"/>
                  </a:lnTo>
                  <a:lnTo>
                    <a:pt x="2870" y="921"/>
                  </a:lnTo>
                  <a:lnTo>
                    <a:pt x="2874" y="901"/>
                  </a:lnTo>
                  <a:lnTo>
                    <a:pt x="2877" y="879"/>
                  </a:lnTo>
                  <a:lnTo>
                    <a:pt x="2879" y="857"/>
                  </a:lnTo>
                  <a:lnTo>
                    <a:pt x="2879" y="835"/>
                  </a:lnTo>
                  <a:lnTo>
                    <a:pt x="2879" y="431"/>
                  </a:lnTo>
                  <a:lnTo>
                    <a:pt x="2879" y="431"/>
                  </a:lnTo>
                  <a:lnTo>
                    <a:pt x="2879" y="408"/>
                  </a:lnTo>
                  <a:lnTo>
                    <a:pt x="2877" y="387"/>
                  </a:lnTo>
                  <a:lnTo>
                    <a:pt x="2874" y="365"/>
                  </a:lnTo>
                  <a:lnTo>
                    <a:pt x="2870" y="344"/>
                  </a:lnTo>
                  <a:lnTo>
                    <a:pt x="2866" y="324"/>
                  </a:lnTo>
                  <a:lnTo>
                    <a:pt x="2859" y="303"/>
                  </a:lnTo>
                  <a:lnTo>
                    <a:pt x="2853" y="283"/>
                  </a:lnTo>
                  <a:lnTo>
                    <a:pt x="2845" y="263"/>
                  </a:lnTo>
                  <a:lnTo>
                    <a:pt x="2837" y="244"/>
                  </a:lnTo>
                  <a:lnTo>
                    <a:pt x="2827" y="226"/>
                  </a:lnTo>
                  <a:lnTo>
                    <a:pt x="2816" y="207"/>
                  </a:lnTo>
                  <a:lnTo>
                    <a:pt x="2806" y="190"/>
                  </a:lnTo>
                  <a:lnTo>
                    <a:pt x="2794" y="173"/>
                  </a:lnTo>
                  <a:lnTo>
                    <a:pt x="2781" y="157"/>
                  </a:lnTo>
                  <a:lnTo>
                    <a:pt x="2767" y="142"/>
                  </a:lnTo>
                  <a:lnTo>
                    <a:pt x="2753" y="127"/>
                  </a:lnTo>
                  <a:lnTo>
                    <a:pt x="2738" y="112"/>
                  </a:lnTo>
                  <a:lnTo>
                    <a:pt x="2722" y="99"/>
                  </a:lnTo>
                  <a:lnTo>
                    <a:pt x="2706" y="86"/>
                  </a:lnTo>
                  <a:lnTo>
                    <a:pt x="2689" y="74"/>
                  </a:lnTo>
                  <a:lnTo>
                    <a:pt x="2671" y="62"/>
                  </a:lnTo>
                  <a:lnTo>
                    <a:pt x="2654" y="53"/>
                  </a:lnTo>
                  <a:lnTo>
                    <a:pt x="2635" y="43"/>
                  </a:lnTo>
                  <a:lnTo>
                    <a:pt x="2615" y="34"/>
                  </a:lnTo>
                  <a:lnTo>
                    <a:pt x="2596" y="27"/>
                  </a:lnTo>
                  <a:lnTo>
                    <a:pt x="2577" y="19"/>
                  </a:lnTo>
                  <a:lnTo>
                    <a:pt x="2556" y="14"/>
                  </a:lnTo>
                  <a:lnTo>
                    <a:pt x="2535" y="9"/>
                  </a:lnTo>
                  <a:lnTo>
                    <a:pt x="2514" y="5"/>
                  </a:lnTo>
                  <a:lnTo>
                    <a:pt x="2493" y="2"/>
                  </a:lnTo>
                  <a:lnTo>
                    <a:pt x="2470" y="1"/>
                  </a:lnTo>
                  <a:lnTo>
                    <a:pt x="2449" y="0"/>
                  </a:lnTo>
                  <a:lnTo>
                    <a:pt x="431" y="0"/>
                  </a:lnTo>
                  <a:lnTo>
                    <a:pt x="431" y="0"/>
                  </a:lnTo>
                  <a:lnTo>
                    <a:pt x="409" y="1"/>
                  </a:lnTo>
                  <a:lnTo>
                    <a:pt x="387" y="2"/>
                  </a:lnTo>
                  <a:lnTo>
                    <a:pt x="366" y="5"/>
                  </a:lnTo>
                  <a:lnTo>
                    <a:pt x="344" y="9"/>
                  </a:lnTo>
                  <a:lnTo>
                    <a:pt x="323" y="14"/>
                  </a:lnTo>
                  <a:lnTo>
                    <a:pt x="302" y="19"/>
                  </a:lnTo>
                  <a:lnTo>
                    <a:pt x="283" y="27"/>
                  </a:lnTo>
                  <a:lnTo>
                    <a:pt x="263" y="34"/>
                  </a:lnTo>
                  <a:lnTo>
                    <a:pt x="244" y="43"/>
                  </a:lnTo>
                  <a:lnTo>
                    <a:pt x="226" y="53"/>
                  </a:lnTo>
                  <a:lnTo>
                    <a:pt x="208" y="62"/>
                  </a:lnTo>
                  <a:lnTo>
                    <a:pt x="190" y="74"/>
                  </a:lnTo>
                  <a:lnTo>
                    <a:pt x="173" y="86"/>
                  </a:lnTo>
                  <a:lnTo>
                    <a:pt x="157" y="99"/>
                  </a:lnTo>
                  <a:lnTo>
                    <a:pt x="141" y="112"/>
                  </a:lnTo>
                  <a:lnTo>
                    <a:pt x="126" y="127"/>
                  </a:lnTo>
                  <a:lnTo>
                    <a:pt x="112" y="142"/>
                  </a:lnTo>
                  <a:lnTo>
                    <a:pt x="98" y="157"/>
                  </a:lnTo>
                  <a:lnTo>
                    <a:pt x="86" y="173"/>
                  </a:lnTo>
                  <a:lnTo>
                    <a:pt x="73" y="190"/>
                  </a:lnTo>
                  <a:lnTo>
                    <a:pt x="62" y="207"/>
                  </a:lnTo>
                  <a:lnTo>
                    <a:pt x="52" y="226"/>
                  </a:lnTo>
                  <a:lnTo>
                    <a:pt x="43" y="244"/>
                  </a:lnTo>
                  <a:lnTo>
                    <a:pt x="33" y="263"/>
                  </a:lnTo>
                  <a:lnTo>
                    <a:pt x="26" y="283"/>
                  </a:lnTo>
                  <a:lnTo>
                    <a:pt x="19" y="303"/>
                  </a:lnTo>
                  <a:lnTo>
                    <a:pt x="14" y="324"/>
                  </a:lnTo>
                  <a:lnTo>
                    <a:pt x="9" y="344"/>
                  </a:lnTo>
                  <a:lnTo>
                    <a:pt x="5" y="365"/>
                  </a:lnTo>
                  <a:lnTo>
                    <a:pt x="2" y="387"/>
                  </a:lnTo>
                  <a:lnTo>
                    <a:pt x="1" y="408"/>
                  </a:lnTo>
                  <a:lnTo>
                    <a:pt x="0" y="431"/>
                  </a:lnTo>
                  <a:lnTo>
                    <a:pt x="0" y="835"/>
                  </a:lnTo>
                  <a:lnTo>
                    <a:pt x="0" y="835"/>
                  </a:lnTo>
                  <a:lnTo>
                    <a:pt x="0" y="852"/>
                  </a:lnTo>
                  <a:lnTo>
                    <a:pt x="1" y="871"/>
                  </a:lnTo>
                  <a:lnTo>
                    <a:pt x="3" y="888"/>
                  </a:lnTo>
                  <a:lnTo>
                    <a:pt x="5" y="905"/>
                  </a:lnTo>
                  <a:lnTo>
                    <a:pt x="9" y="922"/>
                  </a:lnTo>
                  <a:lnTo>
                    <a:pt x="13" y="939"/>
                  </a:lnTo>
                  <a:lnTo>
                    <a:pt x="17" y="956"/>
                  </a:lnTo>
                  <a:lnTo>
                    <a:pt x="23" y="972"/>
                  </a:lnTo>
                  <a:lnTo>
                    <a:pt x="28" y="988"/>
                  </a:lnTo>
                  <a:lnTo>
                    <a:pt x="34" y="1004"/>
                  </a:lnTo>
                  <a:lnTo>
                    <a:pt x="41" y="1019"/>
                  </a:lnTo>
                  <a:lnTo>
                    <a:pt x="48" y="1034"/>
                  </a:lnTo>
                  <a:lnTo>
                    <a:pt x="57" y="1049"/>
                  </a:lnTo>
                  <a:lnTo>
                    <a:pt x="66" y="1063"/>
                  </a:lnTo>
                  <a:lnTo>
                    <a:pt x="75" y="1077"/>
                  </a:lnTo>
                  <a:lnTo>
                    <a:pt x="85" y="1091"/>
                  </a:lnTo>
                  <a:lnTo>
                    <a:pt x="105" y="1117"/>
                  </a:lnTo>
                  <a:lnTo>
                    <a:pt x="128" y="1142"/>
                  </a:lnTo>
                  <a:lnTo>
                    <a:pt x="153" y="1164"/>
                  </a:lnTo>
                  <a:lnTo>
                    <a:pt x="180" y="1185"/>
                  </a:lnTo>
                  <a:lnTo>
                    <a:pt x="192" y="1194"/>
                  </a:lnTo>
                  <a:lnTo>
                    <a:pt x="206" y="1203"/>
                  </a:lnTo>
                  <a:lnTo>
                    <a:pt x="222" y="1211"/>
                  </a:lnTo>
                  <a:lnTo>
                    <a:pt x="237" y="1219"/>
                  </a:lnTo>
                  <a:lnTo>
                    <a:pt x="252" y="1226"/>
                  </a:lnTo>
                  <a:lnTo>
                    <a:pt x="267" y="1233"/>
                  </a:lnTo>
                  <a:lnTo>
                    <a:pt x="283" y="1239"/>
                  </a:lnTo>
                  <a:lnTo>
                    <a:pt x="299" y="1245"/>
                  </a:lnTo>
                  <a:lnTo>
                    <a:pt x="299" y="1245"/>
                  </a:lnTo>
                  <a:lnTo>
                    <a:pt x="295" y="1254"/>
                  </a:lnTo>
                  <a:lnTo>
                    <a:pt x="294" y="1260"/>
                  </a:lnTo>
                  <a:lnTo>
                    <a:pt x="294" y="1265"/>
                  </a:lnTo>
                  <a:lnTo>
                    <a:pt x="294" y="2468"/>
                  </a:lnTo>
                  <a:lnTo>
                    <a:pt x="294" y="2468"/>
                  </a:lnTo>
                  <a:lnTo>
                    <a:pt x="295" y="2491"/>
                  </a:lnTo>
                  <a:lnTo>
                    <a:pt x="296" y="2513"/>
                  </a:lnTo>
                  <a:lnTo>
                    <a:pt x="299" y="2536"/>
                  </a:lnTo>
                  <a:lnTo>
                    <a:pt x="302" y="2557"/>
                  </a:lnTo>
                  <a:lnTo>
                    <a:pt x="308" y="2579"/>
                  </a:lnTo>
                  <a:lnTo>
                    <a:pt x="314" y="2599"/>
                  </a:lnTo>
                  <a:lnTo>
                    <a:pt x="320" y="2621"/>
                  </a:lnTo>
                  <a:lnTo>
                    <a:pt x="329" y="2640"/>
                  </a:lnTo>
                  <a:lnTo>
                    <a:pt x="338" y="2660"/>
                  </a:lnTo>
                  <a:lnTo>
                    <a:pt x="347" y="2680"/>
                  </a:lnTo>
                  <a:lnTo>
                    <a:pt x="358" y="2698"/>
                  </a:lnTo>
                  <a:lnTo>
                    <a:pt x="370" y="2716"/>
                  </a:lnTo>
                  <a:lnTo>
                    <a:pt x="382" y="2733"/>
                  </a:lnTo>
                  <a:lnTo>
                    <a:pt x="396" y="2750"/>
                  </a:lnTo>
                  <a:lnTo>
                    <a:pt x="410" y="2766"/>
                  </a:lnTo>
                  <a:lnTo>
                    <a:pt x="424" y="2782"/>
                  </a:lnTo>
                  <a:lnTo>
                    <a:pt x="440" y="2796"/>
                  </a:lnTo>
                  <a:lnTo>
                    <a:pt x="456" y="2810"/>
                  </a:lnTo>
                  <a:lnTo>
                    <a:pt x="472" y="2824"/>
                  </a:lnTo>
                  <a:lnTo>
                    <a:pt x="489" y="2836"/>
                  </a:lnTo>
                  <a:lnTo>
                    <a:pt x="508" y="2847"/>
                  </a:lnTo>
                  <a:lnTo>
                    <a:pt x="527" y="2858"/>
                  </a:lnTo>
                  <a:lnTo>
                    <a:pt x="545" y="2868"/>
                  </a:lnTo>
                  <a:lnTo>
                    <a:pt x="566" y="2876"/>
                  </a:lnTo>
                  <a:lnTo>
                    <a:pt x="585" y="2885"/>
                  </a:lnTo>
                  <a:lnTo>
                    <a:pt x="606" y="2891"/>
                  </a:lnTo>
                  <a:lnTo>
                    <a:pt x="627" y="2898"/>
                  </a:lnTo>
                  <a:lnTo>
                    <a:pt x="648" y="2903"/>
                  </a:lnTo>
                  <a:lnTo>
                    <a:pt x="671" y="2907"/>
                  </a:lnTo>
                  <a:lnTo>
                    <a:pt x="693" y="2910"/>
                  </a:lnTo>
                  <a:lnTo>
                    <a:pt x="715" y="2911"/>
                  </a:lnTo>
                  <a:lnTo>
                    <a:pt x="738" y="2912"/>
                  </a:lnTo>
                  <a:lnTo>
                    <a:pt x="1302" y="2912"/>
                  </a:lnTo>
                  <a:lnTo>
                    <a:pt x="1302" y="2912"/>
                  </a:lnTo>
                  <a:lnTo>
                    <a:pt x="1310" y="2911"/>
                  </a:lnTo>
                  <a:lnTo>
                    <a:pt x="1316" y="2910"/>
                  </a:lnTo>
                  <a:lnTo>
                    <a:pt x="1323" y="2907"/>
                  </a:lnTo>
                  <a:lnTo>
                    <a:pt x="1328" y="2903"/>
                  </a:lnTo>
                  <a:lnTo>
                    <a:pt x="1328" y="2903"/>
                  </a:lnTo>
                  <a:lnTo>
                    <a:pt x="1350" y="2933"/>
                  </a:lnTo>
                  <a:lnTo>
                    <a:pt x="1371" y="2962"/>
                  </a:lnTo>
                  <a:lnTo>
                    <a:pt x="1413" y="3016"/>
                  </a:lnTo>
                  <a:lnTo>
                    <a:pt x="1413" y="3016"/>
                  </a:lnTo>
                  <a:lnTo>
                    <a:pt x="1424" y="3027"/>
                  </a:lnTo>
                  <a:lnTo>
                    <a:pt x="1433" y="3038"/>
                  </a:lnTo>
                  <a:lnTo>
                    <a:pt x="1445" y="3048"/>
                  </a:lnTo>
                  <a:lnTo>
                    <a:pt x="1456" y="3058"/>
                  </a:lnTo>
                  <a:lnTo>
                    <a:pt x="1469" y="3067"/>
                  </a:lnTo>
                  <a:lnTo>
                    <a:pt x="1481" y="3074"/>
                  </a:lnTo>
                  <a:lnTo>
                    <a:pt x="1494" y="3082"/>
                  </a:lnTo>
                  <a:lnTo>
                    <a:pt x="1508" y="3088"/>
                  </a:lnTo>
                  <a:lnTo>
                    <a:pt x="1521" y="3095"/>
                  </a:lnTo>
                  <a:lnTo>
                    <a:pt x="1535" y="3100"/>
                  </a:lnTo>
                  <a:lnTo>
                    <a:pt x="1550" y="3104"/>
                  </a:lnTo>
                  <a:lnTo>
                    <a:pt x="1564" y="3108"/>
                  </a:lnTo>
                  <a:lnTo>
                    <a:pt x="1579" y="3111"/>
                  </a:lnTo>
                  <a:lnTo>
                    <a:pt x="1594" y="3113"/>
                  </a:lnTo>
                  <a:lnTo>
                    <a:pt x="1610" y="3114"/>
                  </a:lnTo>
                  <a:lnTo>
                    <a:pt x="1625" y="3114"/>
                  </a:lnTo>
                  <a:lnTo>
                    <a:pt x="1625" y="3114"/>
                  </a:lnTo>
                  <a:lnTo>
                    <a:pt x="1640" y="3114"/>
                  </a:lnTo>
                  <a:lnTo>
                    <a:pt x="1656" y="3113"/>
                  </a:lnTo>
                  <a:lnTo>
                    <a:pt x="1671" y="3111"/>
                  </a:lnTo>
                  <a:lnTo>
                    <a:pt x="1686" y="3108"/>
                  </a:lnTo>
                  <a:lnTo>
                    <a:pt x="1700" y="3104"/>
                  </a:lnTo>
                  <a:lnTo>
                    <a:pt x="1715" y="3100"/>
                  </a:lnTo>
                  <a:lnTo>
                    <a:pt x="1729" y="3095"/>
                  </a:lnTo>
                  <a:lnTo>
                    <a:pt x="1742" y="3088"/>
                  </a:lnTo>
                  <a:lnTo>
                    <a:pt x="1756" y="3082"/>
                  </a:lnTo>
                  <a:lnTo>
                    <a:pt x="1769" y="3074"/>
                  </a:lnTo>
                  <a:lnTo>
                    <a:pt x="1781" y="3067"/>
                  </a:lnTo>
                  <a:lnTo>
                    <a:pt x="1794" y="3058"/>
                  </a:lnTo>
                  <a:lnTo>
                    <a:pt x="1804" y="3048"/>
                  </a:lnTo>
                  <a:lnTo>
                    <a:pt x="1815" y="3038"/>
                  </a:lnTo>
                  <a:lnTo>
                    <a:pt x="1826" y="3027"/>
                  </a:lnTo>
                  <a:lnTo>
                    <a:pt x="1836" y="3016"/>
                  </a:lnTo>
                  <a:lnTo>
                    <a:pt x="1836" y="3016"/>
                  </a:lnTo>
                  <a:lnTo>
                    <a:pt x="1879" y="2962"/>
                  </a:lnTo>
                  <a:lnTo>
                    <a:pt x="1899" y="2934"/>
                  </a:lnTo>
                  <a:lnTo>
                    <a:pt x="1921" y="2904"/>
                  </a:lnTo>
                  <a:lnTo>
                    <a:pt x="1921" y="2904"/>
                  </a:lnTo>
                  <a:lnTo>
                    <a:pt x="1926" y="2908"/>
                  </a:lnTo>
                  <a:lnTo>
                    <a:pt x="1932" y="2910"/>
                  </a:lnTo>
                  <a:lnTo>
                    <a:pt x="1938" y="2912"/>
                  </a:lnTo>
                  <a:lnTo>
                    <a:pt x="1945" y="2912"/>
                  </a:lnTo>
                  <a:lnTo>
                    <a:pt x="2827" y="2912"/>
                  </a:lnTo>
                  <a:lnTo>
                    <a:pt x="2827" y="2912"/>
                  </a:lnTo>
                  <a:lnTo>
                    <a:pt x="2849" y="2911"/>
                  </a:lnTo>
                  <a:lnTo>
                    <a:pt x="2870" y="2910"/>
                  </a:lnTo>
                  <a:lnTo>
                    <a:pt x="2891" y="2908"/>
                  </a:lnTo>
                  <a:lnTo>
                    <a:pt x="2911" y="2903"/>
                  </a:lnTo>
                  <a:lnTo>
                    <a:pt x="2930" y="2899"/>
                  </a:lnTo>
                  <a:lnTo>
                    <a:pt x="2950" y="2894"/>
                  </a:lnTo>
                  <a:lnTo>
                    <a:pt x="2969" y="2887"/>
                  </a:lnTo>
                  <a:lnTo>
                    <a:pt x="2988" y="2880"/>
                  </a:lnTo>
                  <a:lnTo>
                    <a:pt x="3007" y="2871"/>
                  </a:lnTo>
                  <a:lnTo>
                    <a:pt x="3024" y="2862"/>
                  </a:lnTo>
                  <a:lnTo>
                    <a:pt x="3041" y="2852"/>
                  </a:lnTo>
                  <a:lnTo>
                    <a:pt x="3058" y="2841"/>
                  </a:lnTo>
                  <a:lnTo>
                    <a:pt x="3074" y="2830"/>
                  </a:lnTo>
                  <a:lnTo>
                    <a:pt x="3089" y="2817"/>
                  </a:lnTo>
                  <a:lnTo>
                    <a:pt x="3105" y="2804"/>
                  </a:lnTo>
                  <a:lnTo>
                    <a:pt x="3120" y="2790"/>
                  </a:lnTo>
                  <a:lnTo>
                    <a:pt x="3132" y="2776"/>
                  </a:lnTo>
                  <a:lnTo>
                    <a:pt x="3146" y="2761"/>
                  </a:lnTo>
                  <a:lnTo>
                    <a:pt x="3158" y="2746"/>
                  </a:lnTo>
                  <a:lnTo>
                    <a:pt x="3170" y="2730"/>
                  </a:lnTo>
                  <a:lnTo>
                    <a:pt x="3181" y="2713"/>
                  </a:lnTo>
                  <a:lnTo>
                    <a:pt x="3191" y="2696"/>
                  </a:lnTo>
                  <a:lnTo>
                    <a:pt x="3199" y="2678"/>
                  </a:lnTo>
                  <a:lnTo>
                    <a:pt x="3208" y="2659"/>
                  </a:lnTo>
                  <a:lnTo>
                    <a:pt x="3215" y="2641"/>
                  </a:lnTo>
                  <a:lnTo>
                    <a:pt x="3222" y="2622"/>
                  </a:lnTo>
                  <a:lnTo>
                    <a:pt x="3227" y="2602"/>
                  </a:lnTo>
                  <a:lnTo>
                    <a:pt x="3232" y="2582"/>
                  </a:lnTo>
                  <a:lnTo>
                    <a:pt x="3236" y="2561"/>
                  </a:lnTo>
                  <a:lnTo>
                    <a:pt x="3238" y="2541"/>
                  </a:lnTo>
                  <a:lnTo>
                    <a:pt x="3240" y="2521"/>
                  </a:lnTo>
                  <a:lnTo>
                    <a:pt x="3240" y="2499"/>
                  </a:lnTo>
                  <a:lnTo>
                    <a:pt x="3240" y="2132"/>
                  </a:lnTo>
                  <a:lnTo>
                    <a:pt x="3240" y="2132"/>
                  </a:lnTo>
                  <a:lnTo>
                    <a:pt x="3240" y="2110"/>
                  </a:lnTo>
                  <a:lnTo>
                    <a:pt x="3238" y="2087"/>
                  </a:lnTo>
                  <a:lnTo>
                    <a:pt x="3236" y="2066"/>
                  </a:lnTo>
                  <a:lnTo>
                    <a:pt x="3231" y="2046"/>
                  </a:lnTo>
                  <a:lnTo>
                    <a:pt x="3227" y="2025"/>
                  </a:lnTo>
                  <a:lnTo>
                    <a:pt x="3221" y="2005"/>
                  </a:lnTo>
                  <a:lnTo>
                    <a:pt x="3214" y="1984"/>
                  </a:lnTo>
                  <a:lnTo>
                    <a:pt x="3207" y="1965"/>
                  </a:lnTo>
                  <a:lnTo>
                    <a:pt x="3198" y="1946"/>
                  </a:lnTo>
                  <a:lnTo>
                    <a:pt x="3188" y="1927"/>
                  </a:lnTo>
                  <a:lnTo>
                    <a:pt x="3179" y="1909"/>
                  </a:lnTo>
                  <a:lnTo>
                    <a:pt x="3167" y="1892"/>
                  </a:lnTo>
                  <a:lnTo>
                    <a:pt x="3155" y="1876"/>
                  </a:lnTo>
                  <a:lnTo>
                    <a:pt x="3142" y="1860"/>
                  </a:lnTo>
                  <a:lnTo>
                    <a:pt x="3129" y="1843"/>
                  </a:lnTo>
                  <a:lnTo>
                    <a:pt x="3114" y="1828"/>
                  </a:lnTo>
                  <a:lnTo>
                    <a:pt x="3100" y="1814"/>
                  </a:lnTo>
                  <a:lnTo>
                    <a:pt x="3084" y="1800"/>
                  </a:lnTo>
                  <a:lnTo>
                    <a:pt x="3068" y="1789"/>
                  </a:lnTo>
                  <a:lnTo>
                    <a:pt x="3051" y="1776"/>
                  </a:lnTo>
                  <a:lnTo>
                    <a:pt x="3034" y="1765"/>
                  </a:lnTo>
                  <a:lnTo>
                    <a:pt x="3015" y="1754"/>
                  </a:lnTo>
                  <a:lnTo>
                    <a:pt x="2997" y="1746"/>
                  </a:lnTo>
                  <a:lnTo>
                    <a:pt x="2979" y="1737"/>
                  </a:lnTo>
                  <a:lnTo>
                    <a:pt x="2958" y="1728"/>
                  </a:lnTo>
                  <a:lnTo>
                    <a:pt x="2939" y="1722"/>
                  </a:lnTo>
                  <a:lnTo>
                    <a:pt x="2918" y="1717"/>
                  </a:lnTo>
                  <a:lnTo>
                    <a:pt x="2898" y="1711"/>
                  </a:lnTo>
                  <a:lnTo>
                    <a:pt x="2877" y="1708"/>
                  </a:lnTo>
                  <a:lnTo>
                    <a:pt x="2855" y="1705"/>
                  </a:lnTo>
                  <a:lnTo>
                    <a:pt x="2834" y="1704"/>
                  </a:lnTo>
                  <a:lnTo>
                    <a:pt x="2811" y="1703"/>
                  </a:lnTo>
                  <a:lnTo>
                    <a:pt x="2811" y="1703"/>
                  </a:lnTo>
                  <a:close/>
                  <a:moveTo>
                    <a:pt x="1709" y="1747"/>
                  </a:moveTo>
                  <a:lnTo>
                    <a:pt x="1709" y="1747"/>
                  </a:lnTo>
                  <a:lnTo>
                    <a:pt x="1709" y="1747"/>
                  </a:lnTo>
                  <a:lnTo>
                    <a:pt x="1709" y="1747"/>
                  </a:lnTo>
                  <a:lnTo>
                    <a:pt x="1709" y="1747"/>
                  </a:lnTo>
                  <a:lnTo>
                    <a:pt x="1709" y="1898"/>
                  </a:lnTo>
                  <a:lnTo>
                    <a:pt x="1709" y="1898"/>
                  </a:lnTo>
                  <a:lnTo>
                    <a:pt x="1688" y="1894"/>
                  </a:lnTo>
                  <a:lnTo>
                    <a:pt x="1667" y="1891"/>
                  </a:lnTo>
                  <a:lnTo>
                    <a:pt x="1646" y="1889"/>
                  </a:lnTo>
                  <a:lnTo>
                    <a:pt x="1625" y="1888"/>
                  </a:lnTo>
                  <a:lnTo>
                    <a:pt x="1625" y="1888"/>
                  </a:lnTo>
                  <a:lnTo>
                    <a:pt x="1603" y="1889"/>
                  </a:lnTo>
                  <a:lnTo>
                    <a:pt x="1583" y="1891"/>
                  </a:lnTo>
                  <a:lnTo>
                    <a:pt x="1562" y="1894"/>
                  </a:lnTo>
                  <a:lnTo>
                    <a:pt x="1542" y="1897"/>
                  </a:lnTo>
                  <a:lnTo>
                    <a:pt x="1541" y="1555"/>
                  </a:lnTo>
                  <a:lnTo>
                    <a:pt x="1541" y="1555"/>
                  </a:lnTo>
                  <a:lnTo>
                    <a:pt x="1573" y="1558"/>
                  </a:lnTo>
                  <a:lnTo>
                    <a:pt x="1607" y="1559"/>
                  </a:lnTo>
                  <a:lnTo>
                    <a:pt x="1607" y="1559"/>
                  </a:lnTo>
                  <a:lnTo>
                    <a:pt x="1632" y="1559"/>
                  </a:lnTo>
                  <a:lnTo>
                    <a:pt x="1658" y="1556"/>
                  </a:lnTo>
                  <a:lnTo>
                    <a:pt x="1683" y="1554"/>
                  </a:lnTo>
                  <a:lnTo>
                    <a:pt x="1709" y="1551"/>
                  </a:lnTo>
                  <a:lnTo>
                    <a:pt x="1709" y="1747"/>
                  </a:lnTo>
                  <a:close/>
                  <a:moveTo>
                    <a:pt x="744" y="1265"/>
                  </a:moveTo>
                  <a:lnTo>
                    <a:pt x="1022" y="1265"/>
                  </a:lnTo>
                  <a:lnTo>
                    <a:pt x="1022" y="1265"/>
                  </a:lnTo>
                  <a:lnTo>
                    <a:pt x="1042" y="1291"/>
                  </a:lnTo>
                  <a:lnTo>
                    <a:pt x="1062" y="1316"/>
                  </a:lnTo>
                  <a:lnTo>
                    <a:pt x="1085" y="1339"/>
                  </a:lnTo>
                  <a:lnTo>
                    <a:pt x="1109" y="1362"/>
                  </a:lnTo>
                  <a:lnTo>
                    <a:pt x="1132" y="1383"/>
                  </a:lnTo>
                  <a:lnTo>
                    <a:pt x="1158" y="1404"/>
                  </a:lnTo>
                  <a:lnTo>
                    <a:pt x="1184" y="1424"/>
                  </a:lnTo>
                  <a:lnTo>
                    <a:pt x="1211" y="1443"/>
                  </a:lnTo>
                  <a:lnTo>
                    <a:pt x="1239" y="1459"/>
                  </a:lnTo>
                  <a:lnTo>
                    <a:pt x="1267" y="1475"/>
                  </a:lnTo>
                  <a:lnTo>
                    <a:pt x="1297" y="1490"/>
                  </a:lnTo>
                  <a:lnTo>
                    <a:pt x="1327" y="1503"/>
                  </a:lnTo>
                  <a:lnTo>
                    <a:pt x="1357" y="1515"/>
                  </a:lnTo>
                  <a:lnTo>
                    <a:pt x="1389" y="1525"/>
                  </a:lnTo>
                  <a:lnTo>
                    <a:pt x="1421" y="1535"/>
                  </a:lnTo>
                  <a:lnTo>
                    <a:pt x="1454" y="1542"/>
                  </a:lnTo>
                  <a:lnTo>
                    <a:pt x="1454" y="1703"/>
                  </a:lnTo>
                  <a:lnTo>
                    <a:pt x="1034" y="1703"/>
                  </a:lnTo>
                  <a:lnTo>
                    <a:pt x="1034" y="1703"/>
                  </a:lnTo>
                  <a:lnTo>
                    <a:pt x="1019" y="1703"/>
                  </a:lnTo>
                  <a:lnTo>
                    <a:pt x="1004" y="1702"/>
                  </a:lnTo>
                  <a:lnTo>
                    <a:pt x="990" y="1699"/>
                  </a:lnTo>
                  <a:lnTo>
                    <a:pt x="976" y="1697"/>
                  </a:lnTo>
                  <a:lnTo>
                    <a:pt x="961" y="1694"/>
                  </a:lnTo>
                  <a:lnTo>
                    <a:pt x="948" y="1690"/>
                  </a:lnTo>
                  <a:lnTo>
                    <a:pt x="934" y="1685"/>
                  </a:lnTo>
                  <a:lnTo>
                    <a:pt x="922" y="1680"/>
                  </a:lnTo>
                  <a:lnTo>
                    <a:pt x="909" y="1675"/>
                  </a:lnTo>
                  <a:lnTo>
                    <a:pt x="896" y="1668"/>
                  </a:lnTo>
                  <a:lnTo>
                    <a:pt x="884" y="1661"/>
                  </a:lnTo>
                  <a:lnTo>
                    <a:pt x="872" y="1653"/>
                  </a:lnTo>
                  <a:lnTo>
                    <a:pt x="860" y="1645"/>
                  </a:lnTo>
                  <a:lnTo>
                    <a:pt x="850" y="1636"/>
                  </a:lnTo>
                  <a:lnTo>
                    <a:pt x="839" y="1627"/>
                  </a:lnTo>
                  <a:lnTo>
                    <a:pt x="829" y="1618"/>
                  </a:lnTo>
                  <a:lnTo>
                    <a:pt x="819" y="1608"/>
                  </a:lnTo>
                  <a:lnTo>
                    <a:pt x="810" y="1597"/>
                  </a:lnTo>
                  <a:lnTo>
                    <a:pt x="801" y="1587"/>
                  </a:lnTo>
                  <a:lnTo>
                    <a:pt x="794" y="1575"/>
                  </a:lnTo>
                  <a:lnTo>
                    <a:pt x="786" y="1563"/>
                  </a:lnTo>
                  <a:lnTo>
                    <a:pt x="779" y="1551"/>
                  </a:lnTo>
                  <a:lnTo>
                    <a:pt x="772" y="1538"/>
                  </a:lnTo>
                  <a:lnTo>
                    <a:pt x="767" y="1525"/>
                  </a:lnTo>
                  <a:lnTo>
                    <a:pt x="761" y="1512"/>
                  </a:lnTo>
                  <a:lnTo>
                    <a:pt x="757" y="1498"/>
                  </a:lnTo>
                  <a:lnTo>
                    <a:pt x="753" y="1484"/>
                  </a:lnTo>
                  <a:lnTo>
                    <a:pt x="750" y="1470"/>
                  </a:lnTo>
                  <a:lnTo>
                    <a:pt x="747" y="1456"/>
                  </a:lnTo>
                  <a:lnTo>
                    <a:pt x="745" y="1441"/>
                  </a:lnTo>
                  <a:lnTo>
                    <a:pt x="744" y="1427"/>
                  </a:lnTo>
                  <a:lnTo>
                    <a:pt x="744" y="1412"/>
                  </a:lnTo>
                  <a:lnTo>
                    <a:pt x="744" y="1265"/>
                  </a:lnTo>
                  <a:close/>
                  <a:moveTo>
                    <a:pt x="1607" y="1472"/>
                  </a:moveTo>
                  <a:lnTo>
                    <a:pt x="1607" y="1472"/>
                  </a:lnTo>
                  <a:lnTo>
                    <a:pt x="1573" y="1470"/>
                  </a:lnTo>
                  <a:lnTo>
                    <a:pt x="1541" y="1467"/>
                  </a:lnTo>
                  <a:lnTo>
                    <a:pt x="1509" y="1464"/>
                  </a:lnTo>
                  <a:lnTo>
                    <a:pt x="1478" y="1458"/>
                  </a:lnTo>
                  <a:lnTo>
                    <a:pt x="1446" y="1451"/>
                  </a:lnTo>
                  <a:lnTo>
                    <a:pt x="1415" y="1443"/>
                  </a:lnTo>
                  <a:lnTo>
                    <a:pt x="1386" y="1432"/>
                  </a:lnTo>
                  <a:lnTo>
                    <a:pt x="1356" y="1420"/>
                  </a:lnTo>
                  <a:lnTo>
                    <a:pt x="1328" y="1408"/>
                  </a:lnTo>
                  <a:lnTo>
                    <a:pt x="1300" y="1393"/>
                  </a:lnTo>
                  <a:lnTo>
                    <a:pt x="1273" y="1378"/>
                  </a:lnTo>
                  <a:lnTo>
                    <a:pt x="1247" y="1361"/>
                  </a:lnTo>
                  <a:lnTo>
                    <a:pt x="1222" y="1344"/>
                  </a:lnTo>
                  <a:lnTo>
                    <a:pt x="1198" y="1324"/>
                  </a:lnTo>
                  <a:lnTo>
                    <a:pt x="1174" y="1304"/>
                  </a:lnTo>
                  <a:lnTo>
                    <a:pt x="1152" y="1282"/>
                  </a:lnTo>
                  <a:lnTo>
                    <a:pt x="1131" y="1260"/>
                  </a:lnTo>
                  <a:lnTo>
                    <a:pt x="1111" y="1237"/>
                  </a:lnTo>
                  <a:lnTo>
                    <a:pt x="1091" y="1212"/>
                  </a:lnTo>
                  <a:lnTo>
                    <a:pt x="1073" y="1188"/>
                  </a:lnTo>
                  <a:lnTo>
                    <a:pt x="1057" y="1162"/>
                  </a:lnTo>
                  <a:lnTo>
                    <a:pt x="1041" y="1134"/>
                  </a:lnTo>
                  <a:lnTo>
                    <a:pt x="1027" y="1107"/>
                  </a:lnTo>
                  <a:lnTo>
                    <a:pt x="1014" y="1078"/>
                  </a:lnTo>
                  <a:lnTo>
                    <a:pt x="1002" y="1049"/>
                  </a:lnTo>
                  <a:lnTo>
                    <a:pt x="993" y="1019"/>
                  </a:lnTo>
                  <a:lnTo>
                    <a:pt x="984" y="989"/>
                  </a:lnTo>
                  <a:lnTo>
                    <a:pt x="976" y="958"/>
                  </a:lnTo>
                  <a:lnTo>
                    <a:pt x="971" y="927"/>
                  </a:lnTo>
                  <a:lnTo>
                    <a:pt x="967" y="894"/>
                  </a:lnTo>
                  <a:lnTo>
                    <a:pt x="965" y="861"/>
                  </a:lnTo>
                  <a:lnTo>
                    <a:pt x="964" y="829"/>
                  </a:lnTo>
                  <a:lnTo>
                    <a:pt x="964" y="829"/>
                  </a:lnTo>
                  <a:lnTo>
                    <a:pt x="965" y="795"/>
                  </a:lnTo>
                  <a:lnTo>
                    <a:pt x="967" y="763"/>
                  </a:lnTo>
                  <a:lnTo>
                    <a:pt x="971" y="731"/>
                  </a:lnTo>
                  <a:lnTo>
                    <a:pt x="976" y="699"/>
                  </a:lnTo>
                  <a:lnTo>
                    <a:pt x="984" y="669"/>
                  </a:lnTo>
                  <a:lnTo>
                    <a:pt x="993" y="637"/>
                  </a:lnTo>
                  <a:lnTo>
                    <a:pt x="1002" y="607"/>
                  </a:lnTo>
                  <a:lnTo>
                    <a:pt x="1014" y="578"/>
                  </a:lnTo>
                  <a:lnTo>
                    <a:pt x="1027" y="550"/>
                  </a:lnTo>
                  <a:lnTo>
                    <a:pt x="1041" y="522"/>
                  </a:lnTo>
                  <a:lnTo>
                    <a:pt x="1057" y="496"/>
                  </a:lnTo>
                  <a:lnTo>
                    <a:pt x="1073" y="470"/>
                  </a:lnTo>
                  <a:lnTo>
                    <a:pt x="1091" y="444"/>
                  </a:lnTo>
                  <a:lnTo>
                    <a:pt x="1111" y="420"/>
                  </a:lnTo>
                  <a:lnTo>
                    <a:pt x="1131" y="397"/>
                  </a:lnTo>
                  <a:lnTo>
                    <a:pt x="1152" y="374"/>
                  </a:lnTo>
                  <a:lnTo>
                    <a:pt x="1174" y="353"/>
                  </a:lnTo>
                  <a:lnTo>
                    <a:pt x="1198" y="333"/>
                  </a:lnTo>
                  <a:lnTo>
                    <a:pt x="1222" y="314"/>
                  </a:lnTo>
                  <a:lnTo>
                    <a:pt x="1247" y="296"/>
                  </a:lnTo>
                  <a:lnTo>
                    <a:pt x="1273" y="279"/>
                  </a:lnTo>
                  <a:lnTo>
                    <a:pt x="1300" y="263"/>
                  </a:lnTo>
                  <a:lnTo>
                    <a:pt x="1328" y="249"/>
                  </a:lnTo>
                  <a:lnTo>
                    <a:pt x="1356" y="236"/>
                  </a:lnTo>
                  <a:lnTo>
                    <a:pt x="1386" y="225"/>
                  </a:lnTo>
                  <a:lnTo>
                    <a:pt x="1415" y="215"/>
                  </a:lnTo>
                  <a:lnTo>
                    <a:pt x="1446" y="206"/>
                  </a:lnTo>
                  <a:lnTo>
                    <a:pt x="1478" y="199"/>
                  </a:lnTo>
                  <a:lnTo>
                    <a:pt x="1509" y="193"/>
                  </a:lnTo>
                  <a:lnTo>
                    <a:pt x="1541" y="189"/>
                  </a:lnTo>
                  <a:lnTo>
                    <a:pt x="1573" y="187"/>
                  </a:lnTo>
                  <a:lnTo>
                    <a:pt x="1607" y="186"/>
                  </a:lnTo>
                  <a:lnTo>
                    <a:pt x="1607" y="186"/>
                  </a:lnTo>
                  <a:lnTo>
                    <a:pt x="1640" y="187"/>
                  </a:lnTo>
                  <a:lnTo>
                    <a:pt x="1672" y="189"/>
                  </a:lnTo>
                  <a:lnTo>
                    <a:pt x="1704" y="193"/>
                  </a:lnTo>
                  <a:lnTo>
                    <a:pt x="1736" y="199"/>
                  </a:lnTo>
                  <a:lnTo>
                    <a:pt x="1767" y="206"/>
                  </a:lnTo>
                  <a:lnTo>
                    <a:pt x="1797" y="215"/>
                  </a:lnTo>
                  <a:lnTo>
                    <a:pt x="1827" y="225"/>
                  </a:lnTo>
                  <a:lnTo>
                    <a:pt x="1856" y="236"/>
                  </a:lnTo>
                  <a:lnTo>
                    <a:pt x="1885" y="249"/>
                  </a:lnTo>
                  <a:lnTo>
                    <a:pt x="1913" y="263"/>
                  </a:lnTo>
                  <a:lnTo>
                    <a:pt x="1940" y="279"/>
                  </a:lnTo>
                  <a:lnTo>
                    <a:pt x="1966" y="296"/>
                  </a:lnTo>
                  <a:lnTo>
                    <a:pt x="1990" y="314"/>
                  </a:lnTo>
                  <a:lnTo>
                    <a:pt x="2015" y="333"/>
                  </a:lnTo>
                  <a:lnTo>
                    <a:pt x="2039" y="353"/>
                  </a:lnTo>
                  <a:lnTo>
                    <a:pt x="2060" y="374"/>
                  </a:lnTo>
                  <a:lnTo>
                    <a:pt x="2082" y="397"/>
                  </a:lnTo>
                  <a:lnTo>
                    <a:pt x="2102" y="420"/>
                  </a:lnTo>
                  <a:lnTo>
                    <a:pt x="2122" y="444"/>
                  </a:lnTo>
                  <a:lnTo>
                    <a:pt x="2139" y="470"/>
                  </a:lnTo>
                  <a:lnTo>
                    <a:pt x="2156" y="496"/>
                  </a:lnTo>
                  <a:lnTo>
                    <a:pt x="2171" y="522"/>
                  </a:lnTo>
                  <a:lnTo>
                    <a:pt x="2186" y="550"/>
                  </a:lnTo>
                  <a:lnTo>
                    <a:pt x="2199" y="578"/>
                  </a:lnTo>
                  <a:lnTo>
                    <a:pt x="2210" y="607"/>
                  </a:lnTo>
                  <a:lnTo>
                    <a:pt x="2221" y="637"/>
                  </a:lnTo>
                  <a:lnTo>
                    <a:pt x="2229" y="669"/>
                  </a:lnTo>
                  <a:lnTo>
                    <a:pt x="2236" y="699"/>
                  </a:lnTo>
                  <a:lnTo>
                    <a:pt x="2242" y="731"/>
                  </a:lnTo>
                  <a:lnTo>
                    <a:pt x="2246" y="763"/>
                  </a:lnTo>
                  <a:lnTo>
                    <a:pt x="2249" y="795"/>
                  </a:lnTo>
                  <a:lnTo>
                    <a:pt x="2250" y="829"/>
                  </a:lnTo>
                  <a:lnTo>
                    <a:pt x="2250" y="829"/>
                  </a:lnTo>
                  <a:lnTo>
                    <a:pt x="2249" y="861"/>
                  </a:lnTo>
                  <a:lnTo>
                    <a:pt x="2246" y="894"/>
                  </a:lnTo>
                  <a:lnTo>
                    <a:pt x="2242" y="927"/>
                  </a:lnTo>
                  <a:lnTo>
                    <a:pt x="2236" y="958"/>
                  </a:lnTo>
                  <a:lnTo>
                    <a:pt x="2229" y="989"/>
                  </a:lnTo>
                  <a:lnTo>
                    <a:pt x="2221" y="1019"/>
                  </a:lnTo>
                  <a:lnTo>
                    <a:pt x="2210" y="1049"/>
                  </a:lnTo>
                  <a:lnTo>
                    <a:pt x="2199" y="1078"/>
                  </a:lnTo>
                  <a:lnTo>
                    <a:pt x="2186" y="1107"/>
                  </a:lnTo>
                  <a:lnTo>
                    <a:pt x="2171" y="1134"/>
                  </a:lnTo>
                  <a:lnTo>
                    <a:pt x="2156" y="1162"/>
                  </a:lnTo>
                  <a:lnTo>
                    <a:pt x="2139" y="1188"/>
                  </a:lnTo>
                  <a:lnTo>
                    <a:pt x="2122" y="1212"/>
                  </a:lnTo>
                  <a:lnTo>
                    <a:pt x="2102" y="1237"/>
                  </a:lnTo>
                  <a:lnTo>
                    <a:pt x="2082" y="1260"/>
                  </a:lnTo>
                  <a:lnTo>
                    <a:pt x="2060" y="1282"/>
                  </a:lnTo>
                  <a:lnTo>
                    <a:pt x="2039" y="1304"/>
                  </a:lnTo>
                  <a:lnTo>
                    <a:pt x="2015" y="1324"/>
                  </a:lnTo>
                  <a:lnTo>
                    <a:pt x="1990" y="1344"/>
                  </a:lnTo>
                  <a:lnTo>
                    <a:pt x="1966" y="1361"/>
                  </a:lnTo>
                  <a:lnTo>
                    <a:pt x="1940" y="1378"/>
                  </a:lnTo>
                  <a:lnTo>
                    <a:pt x="1913" y="1393"/>
                  </a:lnTo>
                  <a:lnTo>
                    <a:pt x="1885" y="1408"/>
                  </a:lnTo>
                  <a:lnTo>
                    <a:pt x="1856" y="1420"/>
                  </a:lnTo>
                  <a:lnTo>
                    <a:pt x="1827" y="1432"/>
                  </a:lnTo>
                  <a:lnTo>
                    <a:pt x="1797" y="1443"/>
                  </a:lnTo>
                  <a:lnTo>
                    <a:pt x="1767" y="1451"/>
                  </a:lnTo>
                  <a:lnTo>
                    <a:pt x="1736" y="1458"/>
                  </a:lnTo>
                  <a:lnTo>
                    <a:pt x="1704" y="1464"/>
                  </a:lnTo>
                  <a:lnTo>
                    <a:pt x="1672" y="1467"/>
                  </a:lnTo>
                  <a:lnTo>
                    <a:pt x="1640" y="1470"/>
                  </a:lnTo>
                  <a:lnTo>
                    <a:pt x="1607" y="1472"/>
                  </a:lnTo>
                  <a:lnTo>
                    <a:pt x="1607" y="1472"/>
                  </a:lnTo>
                  <a:close/>
                  <a:moveTo>
                    <a:pt x="738" y="2824"/>
                  </a:moveTo>
                  <a:lnTo>
                    <a:pt x="738" y="2824"/>
                  </a:lnTo>
                  <a:lnTo>
                    <a:pt x="719" y="2824"/>
                  </a:lnTo>
                  <a:lnTo>
                    <a:pt x="702" y="2823"/>
                  </a:lnTo>
                  <a:lnTo>
                    <a:pt x="684" y="2821"/>
                  </a:lnTo>
                  <a:lnTo>
                    <a:pt x="667" y="2817"/>
                  </a:lnTo>
                  <a:lnTo>
                    <a:pt x="650" y="2813"/>
                  </a:lnTo>
                  <a:lnTo>
                    <a:pt x="632" y="2808"/>
                  </a:lnTo>
                  <a:lnTo>
                    <a:pt x="615" y="2802"/>
                  </a:lnTo>
                  <a:lnTo>
                    <a:pt x="599" y="2796"/>
                  </a:lnTo>
                  <a:lnTo>
                    <a:pt x="584" y="2789"/>
                  </a:lnTo>
                  <a:lnTo>
                    <a:pt x="568" y="2781"/>
                  </a:lnTo>
                  <a:lnTo>
                    <a:pt x="554" y="2772"/>
                  </a:lnTo>
                  <a:lnTo>
                    <a:pt x="539" y="2764"/>
                  </a:lnTo>
                  <a:lnTo>
                    <a:pt x="525" y="2753"/>
                  </a:lnTo>
                  <a:lnTo>
                    <a:pt x="512" y="2743"/>
                  </a:lnTo>
                  <a:lnTo>
                    <a:pt x="498" y="2731"/>
                  </a:lnTo>
                  <a:lnTo>
                    <a:pt x="486" y="2720"/>
                  </a:lnTo>
                  <a:lnTo>
                    <a:pt x="474" y="2708"/>
                  </a:lnTo>
                  <a:lnTo>
                    <a:pt x="463" y="2695"/>
                  </a:lnTo>
                  <a:lnTo>
                    <a:pt x="453" y="2681"/>
                  </a:lnTo>
                  <a:lnTo>
                    <a:pt x="442" y="2667"/>
                  </a:lnTo>
                  <a:lnTo>
                    <a:pt x="433" y="2653"/>
                  </a:lnTo>
                  <a:lnTo>
                    <a:pt x="425" y="2638"/>
                  </a:lnTo>
                  <a:lnTo>
                    <a:pt x="416" y="2622"/>
                  </a:lnTo>
                  <a:lnTo>
                    <a:pt x="410" y="2607"/>
                  </a:lnTo>
                  <a:lnTo>
                    <a:pt x="403" y="2591"/>
                  </a:lnTo>
                  <a:lnTo>
                    <a:pt x="398" y="2573"/>
                  </a:lnTo>
                  <a:lnTo>
                    <a:pt x="392" y="2556"/>
                  </a:lnTo>
                  <a:lnTo>
                    <a:pt x="388" y="2539"/>
                  </a:lnTo>
                  <a:lnTo>
                    <a:pt x="386" y="2522"/>
                  </a:lnTo>
                  <a:lnTo>
                    <a:pt x="383" y="2505"/>
                  </a:lnTo>
                  <a:lnTo>
                    <a:pt x="382" y="2486"/>
                  </a:lnTo>
                  <a:lnTo>
                    <a:pt x="382" y="2468"/>
                  </a:lnTo>
                  <a:lnTo>
                    <a:pt x="382" y="1265"/>
                  </a:lnTo>
                  <a:lnTo>
                    <a:pt x="382" y="1265"/>
                  </a:lnTo>
                  <a:lnTo>
                    <a:pt x="381" y="1263"/>
                  </a:lnTo>
                  <a:lnTo>
                    <a:pt x="381" y="1263"/>
                  </a:lnTo>
                  <a:lnTo>
                    <a:pt x="405" y="1265"/>
                  </a:lnTo>
                  <a:lnTo>
                    <a:pt x="431" y="1265"/>
                  </a:lnTo>
                  <a:lnTo>
                    <a:pt x="656" y="1265"/>
                  </a:lnTo>
                  <a:lnTo>
                    <a:pt x="656" y="1412"/>
                  </a:lnTo>
                  <a:lnTo>
                    <a:pt x="656" y="1412"/>
                  </a:lnTo>
                  <a:lnTo>
                    <a:pt x="656" y="1432"/>
                  </a:lnTo>
                  <a:lnTo>
                    <a:pt x="658" y="1451"/>
                  </a:lnTo>
                  <a:lnTo>
                    <a:pt x="660" y="1469"/>
                  </a:lnTo>
                  <a:lnTo>
                    <a:pt x="663" y="1489"/>
                  </a:lnTo>
                  <a:lnTo>
                    <a:pt x="668" y="1507"/>
                  </a:lnTo>
                  <a:lnTo>
                    <a:pt x="673" y="1524"/>
                  </a:lnTo>
                  <a:lnTo>
                    <a:pt x="679" y="1542"/>
                  </a:lnTo>
                  <a:lnTo>
                    <a:pt x="686" y="1560"/>
                  </a:lnTo>
                  <a:lnTo>
                    <a:pt x="694" y="1576"/>
                  </a:lnTo>
                  <a:lnTo>
                    <a:pt x="702" y="1592"/>
                  </a:lnTo>
                  <a:lnTo>
                    <a:pt x="711" y="1608"/>
                  </a:lnTo>
                  <a:lnTo>
                    <a:pt x="720" y="1624"/>
                  </a:lnTo>
                  <a:lnTo>
                    <a:pt x="731" y="1638"/>
                  </a:lnTo>
                  <a:lnTo>
                    <a:pt x="742" y="1653"/>
                  </a:lnTo>
                  <a:lnTo>
                    <a:pt x="755" y="1666"/>
                  </a:lnTo>
                  <a:lnTo>
                    <a:pt x="767" y="1680"/>
                  </a:lnTo>
                  <a:lnTo>
                    <a:pt x="780" y="1692"/>
                  </a:lnTo>
                  <a:lnTo>
                    <a:pt x="794" y="1704"/>
                  </a:lnTo>
                  <a:lnTo>
                    <a:pt x="809" y="1716"/>
                  </a:lnTo>
                  <a:lnTo>
                    <a:pt x="823" y="1726"/>
                  </a:lnTo>
                  <a:lnTo>
                    <a:pt x="839" y="1736"/>
                  </a:lnTo>
                  <a:lnTo>
                    <a:pt x="854" y="1745"/>
                  </a:lnTo>
                  <a:lnTo>
                    <a:pt x="871" y="1753"/>
                  </a:lnTo>
                  <a:lnTo>
                    <a:pt x="887" y="1761"/>
                  </a:lnTo>
                  <a:lnTo>
                    <a:pt x="904" y="1767"/>
                  </a:lnTo>
                  <a:lnTo>
                    <a:pt x="922" y="1774"/>
                  </a:lnTo>
                  <a:lnTo>
                    <a:pt x="940" y="1779"/>
                  </a:lnTo>
                  <a:lnTo>
                    <a:pt x="958" y="1783"/>
                  </a:lnTo>
                  <a:lnTo>
                    <a:pt x="976" y="1786"/>
                  </a:lnTo>
                  <a:lnTo>
                    <a:pt x="996" y="1789"/>
                  </a:lnTo>
                  <a:lnTo>
                    <a:pt x="1015" y="1790"/>
                  </a:lnTo>
                  <a:lnTo>
                    <a:pt x="1034" y="1791"/>
                  </a:lnTo>
                  <a:lnTo>
                    <a:pt x="1454" y="1791"/>
                  </a:lnTo>
                  <a:lnTo>
                    <a:pt x="1455" y="1929"/>
                  </a:lnTo>
                  <a:lnTo>
                    <a:pt x="1455" y="1929"/>
                  </a:lnTo>
                  <a:lnTo>
                    <a:pt x="1439" y="1938"/>
                  </a:lnTo>
                  <a:lnTo>
                    <a:pt x="1423" y="1948"/>
                  </a:lnTo>
                  <a:lnTo>
                    <a:pt x="1408" y="1957"/>
                  </a:lnTo>
                  <a:lnTo>
                    <a:pt x="1393" y="1968"/>
                  </a:lnTo>
                  <a:lnTo>
                    <a:pt x="1378" y="1980"/>
                  </a:lnTo>
                  <a:lnTo>
                    <a:pt x="1364" y="1992"/>
                  </a:lnTo>
                  <a:lnTo>
                    <a:pt x="1350" y="2005"/>
                  </a:lnTo>
                  <a:lnTo>
                    <a:pt x="1336" y="2018"/>
                  </a:lnTo>
                  <a:lnTo>
                    <a:pt x="1323" y="2032"/>
                  </a:lnTo>
                  <a:lnTo>
                    <a:pt x="1310" y="2047"/>
                  </a:lnTo>
                  <a:lnTo>
                    <a:pt x="1298" y="2062"/>
                  </a:lnTo>
                  <a:lnTo>
                    <a:pt x="1286" y="2078"/>
                  </a:lnTo>
                  <a:lnTo>
                    <a:pt x="1274" y="2094"/>
                  </a:lnTo>
                  <a:lnTo>
                    <a:pt x="1264" y="2110"/>
                  </a:lnTo>
                  <a:lnTo>
                    <a:pt x="1253" y="2128"/>
                  </a:lnTo>
                  <a:lnTo>
                    <a:pt x="1243" y="2146"/>
                  </a:lnTo>
                  <a:lnTo>
                    <a:pt x="1233" y="2164"/>
                  </a:lnTo>
                  <a:lnTo>
                    <a:pt x="1225" y="2183"/>
                  </a:lnTo>
                  <a:lnTo>
                    <a:pt x="1216" y="2201"/>
                  </a:lnTo>
                  <a:lnTo>
                    <a:pt x="1209" y="2222"/>
                  </a:lnTo>
                  <a:lnTo>
                    <a:pt x="1201" y="2241"/>
                  </a:lnTo>
                  <a:lnTo>
                    <a:pt x="1194" y="2262"/>
                  </a:lnTo>
                  <a:lnTo>
                    <a:pt x="1188" y="2283"/>
                  </a:lnTo>
                  <a:lnTo>
                    <a:pt x="1182" y="2304"/>
                  </a:lnTo>
                  <a:lnTo>
                    <a:pt x="1177" y="2326"/>
                  </a:lnTo>
                  <a:lnTo>
                    <a:pt x="1173" y="2348"/>
                  </a:lnTo>
                  <a:lnTo>
                    <a:pt x="1169" y="2370"/>
                  </a:lnTo>
                  <a:lnTo>
                    <a:pt x="1166" y="2392"/>
                  </a:lnTo>
                  <a:lnTo>
                    <a:pt x="1164" y="2415"/>
                  </a:lnTo>
                  <a:lnTo>
                    <a:pt x="1162" y="2438"/>
                  </a:lnTo>
                  <a:lnTo>
                    <a:pt x="1161" y="2462"/>
                  </a:lnTo>
                  <a:lnTo>
                    <a:pt x="1160" y="2485"/>
                  </a:lnTo>
                  <a:lnTo>
                    <a:pt x="1160" y="2485"/>
                  </a:lnTo>
                  <a:lnTo>
                    <a:pt x="1161" y="2506"/>
                  </a:lnTo>
                  <a:lnTo>
                    <a:pt x="1162" y="2527"/>
                  </a:lnTo>
                  <a:lnTo>
                    <a:pt x="1166" y="2548"/>
                  </a:lnTo>
                  <a:lnTo>
                    <a:pt x="1170" y="2569"/>
                  </a:lnTo>
                  <a:lnTo>
                    <a:pt x="1174" y="2591"/>
                  </a:lnTo>
                  <a:lnTo>
                    <a:pt x="1180" y="2612"/>
                  </a:lnTo>
                  <a:lnTo>
                    <a:pt x="1186" y="2634"/>
                  </a:lnTo>
                  <a:lnTo>
                    <a:pt x="1194" y="2655"/>
                  </a:lnTo>
                  <a:lnTo>
                    <a:pt x="1202" y="2677"/>
                  </a:lnTo>
                  <a:lnTo>
                    <a:pt x="1211" y="2698"/>
                  </a:lnTo>
                  <a:lnTo>
                    <a:pt x="1231" y="2741"/>
                  </a:lnTo>
                  <a:lnTo>
                    <a:pt x="1253" y="2783"/>
                  </a:lnTo>
                  <a:lnTo>
                    <a:pt x="1276" y="2824"/>
                  </a:lnTo>
                  <a:lnTo>
                    <a:pt x="738" y="2824"/>
                  </a:lnTo>
                  <a:close/>
                  <a:moveTo>
                    <a:pt x="1768" y="2960"/>
                  </a:moveTo>
                  <a:lnTo>
                    <a:pt x="1768" y="2960"/>
                  </a:lnTo>
                  <a:lnTo>
                    <a:pt x="1754" y="2975"/>
                  </a:lnTo>
                  <a:lnTo>
                    <a:pt x="1739" y="2988"/>
                  </a:lnTo>
                  <a:lnTo>
                    <a:pt x="1723" y="3000"/>
                  </a:lnTo>
                  <a:lnTo>
                    <a:pt x="1704" y="3010"/>
                  </a:lnTo>
                  <a:lnTo>
                    <a:pt x="1686" y="3017"/>
                  </a:lnTo>
                  <a:lnTo>
                    <a:pt x="1667" y="3023"/>
                  </a:lnTo>
                  <a:lnTo>
                    <a:pt x="1646" y="3026"/>
                  </a:lnTo>
                  <a:lnTo>
                    <a:pt x="1625" y="3027"/>
                  </a:lnTo>
                  <a:lnTo>
                    <a:pt x="1625" y="3027"/>
                  </a:lnTo>
                  <a:lnTo>
                    <a:pt x="1603" y="3026"/>
                  </a:lnTo>
                  <a:lnTo>
                    <a:pt x="1583" y="3023"/>
                  </a:lnTo>
                  <a:lnTo>
                    <a:pt x="1564" y="3017"/>
                  </a:lnTo>
                  <a:lnTo>
                    <a:pt x="1545" y="3010"/>
                  </a:lnTo>
                  <a:lnTo>
                    <a:pt x="1527" y="3000"/>
                  </a:lnTo>
                  <a:lnTo>
                    <a:pt x="1511" y="2988"/>
                  </a:lnTo>
                  <a:lnTo>
                    <a:pt x="1495" y="2975"/>
                  </a:lnTo>
                  <a:lnTo>
                    <a:pt x="1482" y="2960"/>
                  </a:lnTo>
                  <a:lnTo>
                    <a:pt x="1482" y="2960"/>
                  </a:lnTo>
                  <a:lnTo>
                    <a:pt x="1441" y="2909"/>
                  </a:lnTo>
                  <a:lnTo>
                    <a:pt x="1421" y="2882"/>
                  </a:lnTo>
                  <a:lnTo>
                    <a:pt x="1400" y="2854"/>
                  </a:lnTo>
                  <a:lnTo>
                    <a:pt x="1381" y="2824"/>
                  </a:lnTo>
                  <a:lnTo>
                    <a:pt x="1361" y="2795"/>
                  </a:lnTo>
                  <a:lnTo>
                    <a:pt x="1342" y="2764"/>
                  </a:lnTo>
                  <a:lnTo>
                    <a:pt x="1325" y="2732"/>
                  </a:lnTo>
                  <a:lnTo>
                    <a:pt x="1309" y="2701"/>
                  </a:lnTo>
                  <a:lnTo>
                    <a:pt x="1294" y="2670"/>
                  </a:lnTo>
                  <a:lnTo>
                    <a:pt x="1281" y="2639"/>
                  </a:lnTo>
                  <a:lnTo>
                    <a:pt x="1270" y="2608"/>
                  </a:lnTo>
                  <a:lnTo>
                    <a:pt x="1260" y="2575"/>
                  </a:lnTo>
                  <a:lnTo>
                    <a:pt x="1254" y="2545"/>
                  </a:lnTo>
                  <a:lnTo>
                    <a:pt x="1252" y="2529"/>
                  </a:lnTo>
                  <a:lnTo>
                    <a:pt x="1250" y="2514"/>
                  </a:lnTo>
                  <a:lnTo>
                    <a:pt x="1248" y="2499"/>
                  </a:lnTo>
                  <a:lnTo>
                    <a:pt x="1248" y="2485"/>
                  </a:lnTo>
                  <a:lnTo>
                    <a:pt x="1248" y="2485"/>
                  </a:lnTo>
                  <a:lnTo>
                    <a:pt x="1248" y="2458"/>
                  </a:lnTo>
                  <a:lnTo>
                    <a:pt x="1251" y="2433"/>
                  </a:lnTo>
                  <a:lnTo>
                    <a:pt x="1253" y="2408"/>
                  </a:lnTo>
                  <a:lnTo>
                    <a:pt x="1256" y="2382"/>
                  </a:lnTo>
                  <a:lnTo>
                    <a:pt x="1260" y="2357"/>
                  </a:lnTo>
                  <a:lnTo>
                    <a:pt x="1266" y="2334"/>
                  </a:lnTo>
                  <a:lnTo>
                    <a:pt x="1271" y="2310"/>
                  </a:lnTo>
                  <a:lnTo>
                    <a:pt x="1278" y="2286"/>
                  </a:lnTo>
                  <a:lnTo>
                    <a:pt x="1285" y="2264"/>
                  </a:lnTo>
                  <a:lnTo>
                    <a:pt x="1294" y="2242"/>
                  </a:lnTo>
                  <a:lnTo>
                    <a:pt x="1303" y="2221"/>
                  </a:lnTo>
                  <a:lnTo>
                    <a:pt x="1313" y="2200"/>
                  </a:lnTo>
                  <a:lnTo>
                    <a:pt x="1323" y="2180"/>
                  </a:lnTo>
                  <a:lnTo>
                    <a:pt x="1334" y="2162"/>
                  </a:lnTo>
                  <a:lnTo>
                    <a:pt x="1346" y="2142"/>
                  </a:lnTo>
                  <a:lnTo>
                    <a:pt x="1358" y="2125"/>
                  </a:lnTo>
                  <a:lnTo>
                    <a:pt x="1372" y="2108"/>
                  </a:lnTo>
                  <a:lnTo>
                    <a:pt x="1385" y="2092"/>
                  </a:lnTo>
                  <a:lnTo>
                    <a:pt x="1400" y="2077"/>
                  </a:lnTo>
                  <a:lnTo>
                    <a:pt x="1414" y="2063"/>
                  </a:lnTo>
                  <a:lnTo>
                    <a:pt x="1430" y="2050"/>
                  </a:lnTo>
                  <a:lnTo>
                    <a:pt x="1445" y="2037"/>
                  </a:lnTo>
                  <a:lnTo>
                    <a:pt x="1461" y="2026"/>
                  </a:lnTo>
                  <a:lnTo>
                    <a:pt x="1479" y="2015"/>
                  </a:lnTo>
                  <a:lnTo>
                    <a:pt x="1496" y="2007"/>
                  </a:lnTo>
                  <a:lnTo>
                    <a:pt x="1513" y="1998"/>
                  </a:lnTo>
                  <a:lnTo>
                    <a:pt x="1531" y="1992"/>
                  </a:lnTo>
                  <a:lnTo>
                    <a:pt x="1548" y="1986"/>
                  </a:lnTo>
                  <a:lnTo>
                    <a:pt x="1568" y="1982"/>
                  </a:lnTo>
                  <a:lnTo>
                    <a:pt x="1586" y="1979"/>
                  </a:lnTo>
                  <a:lnTo>
                    <a:pt x="1605" y="1977"/>
                  </a:lnTo>
                  <a:lnTo>
                    <a:pt x="1625" y="1976"/>
                  </a:lnTo>
                  <a:lnTo>
                    <a:pt x="1625" y="1976"/>
                  </a:lnTo>
                  <a:lnTo>
                    <a:pt x="1639" y="1976"/>
                  </a:lnTo>
                  <a:lnTo>
                    <a:pt x="1653" y="1977"/>
                  </a:lnTo>
                  <a:lnTo>
                    <a:pt x="1667" y="1979"/>
                  </a:lnTo>
                  <a:lnTo>
                    <a:pt x="1681" y="1981"/>
                  </a:lnTo>
                  <a:lnTo>
                    <a:pt x="1695" y="1984"/>
                  </a:lnTo>
                  <a:lnTo>
                    <a:pt x="1708" y="1989"/>
                  </a:lnTo>
                  <a:lnTo>
                    <a:pt x="1722" y="1993"/>
                  </a:lnTo>
                  <a:lnTo>
                    <a:pt x="1735" y="1998"/>
                  </a:lnTo>
                  <a:lnTo>
                    <a:pt x="1735" y="1998"/>
                  </a:lnTo>
                  <a:lnTo>
                    <a:pt x="1737" y="1998"/>
                  </a:lnTo>
                  <a:lnTo>
                    <a:pt x="1737" y="1998"/>
                  </a:lnTo>
                  <a:lnTo>
                    <a:pt x="1751" y="2005"/>
                  </a:lnTo>
                  <a:lnTo>
                    <a:pt x="1765" y="2012"/>
                  </a:lnTo>
                  <a:lnTo>
                    <a:pt x="1779" y="2020"/>
                  </a:lnTo>
                  <a:lnTo>
                    <a:pt x="1792" y="2028"/>
                  </a:lnTo>
                  <a:lnTo>
                    <a:pt x="1804" y="2038"/>
                  </a:lnTo>
                  <a:lnTo>
                    <a:pt x="1817" y="2048"/>
                  </a:lnTo>
                  <a:lnTo>
                    <a:pt x="1830" y="2058"/>
                  </a:lnTo>
                  <a:lnTo>
                    <a:pt x="1842" y="2069"/>
                  </a:lnTo>
                  <a:lnTo>
                    <a:pt x="1854" y="2081"/>
                  </a:lnTo>
                  <a:lnTo>
                    <a:pt x="1866" y="2094"/>
                  </a:lnTo>
                  <a:lnTo>
                    <a:pt x="1876" y="2107"/>
                  </a:lnTo>
                  <a:lnTo>
                    <a:pt x="1887" y="2121"/>
                  </a:lnTo>
                  <a:lnTo>
                    <a:pt x="1908" y="2150"/>
                  </a:lnTo>
                  <a:lnTo>
                    <a:pt x="1926" y="2180"/>
                  </a:lnTo>
                  <a:lnTo>
                    <a:pt x="1943" y="2213"/>
                  </a:lnTo>
                  <a:lnTo>
                    <a:pt x="1958" y="2248"/>
                  </a:lnTo>
                  <a:lnTo>
                    <a:pt x="1971" y="2284"/>
                  </a:lnTo>
                  <a:lnTo>
                    <a:pt x="1982" y="2322"/>
                  </a:lnTo>
                  <a:lnTo>
                    <a:pt x="1990" y="2360"/>
                  </a:lnTo>
                  <a:lnTo>
                    <a:pt x="1996" y="2401"/>
                  </a:lnTo>
                  <a:lnTo>
                    <a:pt x="2000" y="2442"/>
                  </a:lnTo>
                  <a:lnTo>
                    <a:pt x="2001" y="2464"/>
                  </a:lnTo>
                  <a:lnTo>
                    <a:pt x="2001" y="2485"/>
                  </a:lnTo>
                  <a:lnTo>
                    <a:pt x="2001" y="2485"/>
                  </a:lnTo>
                  <a:lnTo>
                    <a:pt x="2001" y="2499"/>
                  </a:lnTo>
                  <a:lnTo>
                    <a:pt x="2000" y="2514"/>
                  </a:lnTo>
                  <a:lnTo>
                    <a:pt x="1998" y="2529"/>
                  </a:lnTo>
                  <a:lnTo>
                    <a:pt x="1996" y="2545"/>
                  </a:lnTo>
                  <a:lnTo>
                    <a:pt x="1989" y="2575"/>
                  </a:lnTo>
                  <a:lnTo>
                    <a:pt x="1980" y="2608"/>
                  </a:lnTo>
                  <a:lnTo>
                    <a:pt x="1969" y="2639"/>
                  </a:lnTo>
                  <a:lnTo>
                    <a:pt x="1956" y="2670"/>
                  </a:lnTo>
                  <a:lnTo>
                    <a:pt x="1941" y="2701"/>
                  </a:lnTo>
                  <a:lnTo>
                    <a:pt x="1925" y="2732"/>
                  </a:lnTo>
                  <a:lnTo>
                    <a:pt x="1907" y="2764"/>
                  </a:lnTo>
                  <a:lnTo>
                    <a:pt x="1888" y="2795"/>
                  </a:lnTo>
                  <a:lnTo>
                    <a:pt x="1869" y="2824"/>
                  </a:lnTo>
                  <a:lnTo>
                    <a:pt x="1850" y="2854"/>
                  </a:lnTo>
                  <a:lnTo>
                    <a:pt x="1829" y="2882"/>
                  </a:lnTo>
                  <a:lnTo>
                    <a:pt x="1809" y="2909"/>
                  </a:lnTo>
                  <a:lnTo>
                    <a:pt x="1768" y="2960"/>
                  </a:lnTo>
                  <a:lnTo>
                    <a:pt x="1768" y="2960"/>
                  </a:lnTo>
                  <a:close/>
                  <a:moveTo>
                    <a:pt x="3153" y="2499"/>
                  </a:moveTo>
                  <a:lnTo>
                    <a:pt x="3153" y="2499"/>
                  </a:lnTo>
                  <a:lnTo>
                    <a:pt x="3152" y="2516"/>
                  </a:lnTo>
                  <a:lnTo>
                    <a:pt x="3151" y="2532"/>
                  </a:lnTo>
                  <a:lnTo>
                    <a:pt x="3149" y="2549"/>
                  </a:lnTo>
                  <a:lnTo>
                    <a:pt x="3146" y="2565"/>
                  </a:lnTo>
                  <a:lnTo>
                    <a:pt x="3142" y="2581"/>
                  </a:lnTo>
                  <a:lnTo>
                    <a:pt x="3138" y="2596"/>
                  </a:lnTo>
                  <a:lnTo>
                    <a:pt x="3132" y="2611"/>
                  </a:lnTo>
                  <a:lnTo>
                    <a:pt x="3127" y="2626"/>
                  </a:lnTo>
                  <a:lnTo>
                    <a:pt x="3121" y="2640"/>
                  </a:lnTo>
                  <a:lnTo>
                    <a:pt x="3113" y="2654"/>
                  </a:lnTo>
                  <a:lnTo>
                    <a:pt x="3106" y="2668"/>
                  </a:lnTo>
                  <a:lnTo>
                    <a:pt x="3097" y="2681"/>
                  </a:lnTo>
                  <a:lnTo>
                    <a:pt x="3088" y="2694"/>
                  </a:lnTo>
                  <a:lnTo>
                    <a:pt x="3079" y="2706"/>
                  </a:lnTo>
                  <a:lnTo>
                    <a:pt x="3068" y="2717"/>
                  </a:lnTo>
                  <a:lnTo>
                    <a:pt x="3057" y="2729"/>
                  </a:lnTo>
                  <a:lnTo>
                    <a:pt x="3046" y="2740"/>
                  </a:lnTo>
                  <a:lnTo>
                    <a:pt x="3035" y="2750"/>
                  </a:lnTo>
                  <a:lnTo>
                    <a:pt x="3022" y="2759"/>
                  </a:lnTo>
                  <a:lnTo>
                    <a:pt x="3009" y="2769"/>
                  </a:lnTo>
                  <a:lnTo>
                    <a:pt x="2996" y="2778"/>
                  </a:lnTo>
                  <a:lnTo>
                    <a:pt x="2982" y="2785"/>
                  </a:lnTo>
                  <a:lnTo>
                    <a:pt x="2968" y="2793"/>
                  </a:lnTo>
                  <a:lnTo>
                    <a:pt x="2954" y="2799"/>
                  </a:lnTo>
                  <a:lnTo>
                    <a:pt x="2939" y="2804"/>
                  </a:lnTo>
                  <a:lnTo>
                    <a:pt x="2924" y="2810"/>
                  </a:lnTo>
                  <a:lnTo>
                    <a:pt x="2909" y="2814"/>
                  </a:lnTo>
                  <a:lnTo>
                    <a:pt x="2893" y="2817"/>
                  </a:lnTo>
                  <a:lnTo>
                    <a:pt x="2877" y="2821"/>
                  </a:lnTo>
                  <a:lnTo>
                    <a:pt x="2860" y="2823"/>
                  </a:lnTo>
                  <a:lnTo>
                    <a:pt x="2844" y="2824"/>
                  </a:lnTo>
                  <a:lnTo>
                    <a:pt x="2827" y="2824"/>
                  </a:lnTo>
                  <a:lnTo>
                    <a:pt x="1973" y="2824"/>
                  </a:lnTo>
                  <a:lnTo>
                    <a:pt x="1973" y="2824"/>
                  </a:lnTo>
                  <a:lnTo>
                    <a:pt x="1997" y="2783"/>
                  </a:lnTo>
                  <a:lnTo>
                    <a:pt x="2018" y="2741"/>
                  </a:lnTo>
                  <a:lnTo>
                    <a:pt x="2039" y="2698"/>
                  </a:lnTo>
                  <a:lnTo>
                    <a:pt x="2047" y="2677"/>
                  </a:lnTo>
                  <a:lnTo>
                    <a:pt x="2055" y="2655"/>
                  </a:lnTo>
                  <a:lnTo>
                    <a:pt x="2063" y="2634"/>
                  </a:lnTo>
                  <a:lnTo>
                    <a:pt x="2070" y="2612"/>
                  </a:lnTo>
                  <a:lnTo>
                    <a:pt x="2075" y="2591"/>
                  </a:lnTo>
                  <a:lnTo>
                    <a:pt x="2080" y="2569"/>
                  </a:lnTo>
                  <a:lnTo>
                    <a:pt x="2084" y="2548"/>
                  </a:lnTo>
                  <a:lnTo>
                    <a:pt x="2087" y="2527"/>
                  </a:lnTo>
                  <a:lnTo>
                    <a:pt x="2088" y="2506"/>
                  </a:lnTo>
                  <a:lnTo>
                    <a:pt x="2089" y="2485"/>
                  </a:lnTo>
                  <a:lnTo>
                    <a:pt x="2089" y="2485"/>
                  </a:lnTo>
                  <a:lnTo>
                    <a:pt x="2088" y="2462"/>
                  </a:lnTo>
                  <a:lnTo>
                    <a:pt x="2087" y="2438"/>
                  </a:lnTo>
                  <a:lnTo>
                    <a:pt x="2086" y="2415"/>
                  </a:lnTo>
                  <a:lnTo>
                    <a:pt x="2084" y="2393"/>
                  </a:lnTo>
                  <a:lnTo>
                    <a:pt x="2081" y="2370"/>
                  </a:lnTo>
                  <a:lnTo>
                    <a:pt x="2076" y="2348"/>
                  </a:lnTo>
                  <a:lnTo>
                    <a:pt x="2072" y="2326"/>
                  </a:lnTo>
                  <a:lnTo>
                    <a:pt x="2068" y="2305"/>
                  </a:lnTo>
                  <a:lnTo>
                    <a:pt x="2061" y="2283"/>
                  </a:lnTo>
                  <a:lnTo>
                    <a:pt x="2056" y="2263"/>
                  </a:lnTo>
                  <a:lnTo>
                    <a:pt x="2049" y="2242"/>
                  </a:lnTo>
                  <a:lnTo>
                    <a:pt x="2041" y="2222"/>
                  </a:lnTo>
                  <a:lnTo>
                    <a:pt x="2033" y="2202"/>
                  </a:lnTo>
                  <a:lnTo>
                    <a:pt x="2025" y="2183"/>
                  </a:lnTo>
                  <a:lnTo>
                    <a:pt x="2016" y="2165"/>
                  </a:lnTo>
                  <a:lnTo>
                    <a:pt x="2007" y="2147"/>
                  </a:lnTo>
                  <a:lnTo>
                    <a:pt x="1997" y="2128"/>
                  </a:lnTo>
                  <a:lnTo>
                    <a:pt x="1986" y="2111"/>
                  </a:lnTo>
                  <a:lnTo>
                    <a:pt x="1975" y="2094"/>
                  </a:lnTo>
                  <a:lnTo>
                    <a:pt x="1964" y="2078"/>
                  </a:lnTo>
                  <a:lnTo>
                    <a:pt x="1952" y="2063"/>
                  </a:lnTo>
                  <a:lnTo>
                    <a:pt x="1940" y="2048"/>
                  </a:lnTo>
                  <a:lnTo>
                    <a:pt x="1927" y="2033"/>
                  </a:lnTo>
                  <a:lnTo>
                    <a:pt x="1914" y="2019"/>
                  </a:lnTo>
                  <a:lnTo>
                    <a:pt x="1900" y="2006"/>
                  </a:lnTo>
                  <a:lnTo>
                    <a:pt x="1887" y="1993"/>
                  </a:lnTo>
                  <a:lnTo>
                    <a:pt x="1872" y="1980"/>
                  </a:lnTo>
                  <a:lnTo>
                    <a:pt x="1858" y="1969"/>
                  </a:lnTo>
                  <a:lnTo>
                    <a:pt x="1843" y="1958"/>
                  </a:lnTo>
                  <a:lnTo>
                    <a:pt x="1828" y="1948"/>
                  </a:lnTo>
                  <a:lnTo>
                    <a:pt x="1812" y="1939"/>
                  </a:lnTo>
                  <a:lnTo>
                    <a:pt x="1796" y="1931"/>
                  </a:lnTo>
                  <a:lnTo>
                    <a:pt x="1796" y="1791"/>
                  </a:lnTo>
                  <a:lnTo>
                    <a:pt x="2811" y="1791"/>
                  </a:lnTo>
                  <a:lnTo>
                    <a:pt x="2811" y="1791"/>
                  </a:lnTo>
                  <a:lnTo>
                    <a:pt x="2829" y="1791"/>
                  </a:lnTo>
                  <a:lnTo>
                    <a:pt x="2846" y="1792"/>
                  </a:lnTo>
                  <a:lnTo>
                    <a:pt x="2864" y="1794"/>
                  </a:lnTo>
                  <a:lnTo>
                    <a:pt x="2880" y="1797"/>
                  </a:lnTo>
                  <a:lnTo>
                    <a:pt x="2897" y="1802"/>
                  </a:lnTo>
                  <a:lnTo>
                    <a:pt x="2913" y="1806"/>
                  </a:lnTo>
                  <a:lnTo>
                    <a:pt x="2928" y="1811"/>
                  </a:lnTo>
                  <a:lnTo>
                    <a:pt x="2944" y="1818"/>
                  </a:lnTo>
                  <a:lnTo>
                    <a:pt x="2959" y="1824"/>
                  </a:lnTo>
                  <a:lnTo>
                    <a:pt x="2974" y="1832"/>
                  </a:lnTo>
                  <a:lnTo>
                    <a:pt x="2988" y="1840"/>
                  </a:lnTo>
                  <a:lnTo>
                    <a:pt x="3002" y="1849"/>
                  </a:lnTo>
                  <a:lnTo>
                    <a:pt x="3015" y="1859"/>
                  </a:lnTo>
                  <a:lnTo>
                    <a:pt x="3028" y="1868"/>
                  </a:lnTo>
                  <a:lnTo>
                    <a:pt x="3041" y="1879"/>
                  </a:lnTo>
                  <a:lnTo>
                    <a:pt x="3053" y="1891"/>
                  </a:lnTo>
                  <a:lnTo>
                    <a:pt x="3064" y="1903"/>
                  </a:lnTo>
                  <a:lnTo>
                    <a:pt x="3074" y="1914"/>
                  </a:lnTo>
                  <a:lnTo>
                    <a:pt x="3085" y="1927"/>
                  </a:lnTo>
                  <a:lnTo>
                    <a:pt x="3094" y="1941"/>
                  </a:lnTo>
                  <a:lnTo>
                    <a:pt x="3103" y="1955"/>
                  </a:lnTo>
                  <a:lnTo>
                    <a:pt x="3111" y="1969"/>
                  </a:lnTo>
                  <a:lnTo>
                    <a:pt x="3118" y="1984"/>
                  </a:lnTo>
                  <a:lnTo>
                    <a:pt x="3126" y="1999"/>
                  </a:lnTo>
                  <a:lnTo>
                    <a:pt x="3131" y="2014"/>
                  </a:lnTo>
                  <a:lnTo>
                    <a:pt x="3137" y="2030"/>
                  </a:lnTo>
                  <a:lnTo>
                    <a:pt x="3142" y="2047"/>
                  </a:lnTo>
                  <a:lnTo>
                    <a:pt x="3145" y="2063"/>
                  </a:lnTo>
                  <a:lnTo>
                    <a:pt x="3149" y="2080"/>
                  </a:lnTo>
                  <a:lnTo>
                    <a:pt x="3151" y="2097"/>
                  </a:lnTo>
                  <a:lnTo>
                    <a:pt x="3152" y="2114"/>
                  </a:lnTo>
                  <a:lnTo>
                    <a:pt x="3153" y="2132"/>
                  </a:lnTo>
                  <a:lnTo>
                    <a:pt x="3153" y="24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fr-FR" sz="1350">
                <a:solidFill>
                  <a:prstClr val="black"/>
                </a:solidFill>
                <a:latin typeface="Calibri" panose="020F0502020204030204"/>
              </a:endParaRPr>
            </a:p>
          </p:txBody>
        </p:sp>
        <p:sp>
          <p:nvSpPr>
            <p:cNvPr id="18" name="Freeform 7"/>
            <p:cNvSpPr>
              <a:spLocks noEditPoints="1"/>
            </p:cNvSpPr>
            <p:nvPr/>
          </p:nvSpPr>
          <p:spPr bwMode="auto">
            <a:xfrm>
              <a:off x="-1127" y="-48"/>
              <a:ext cx="570" cy="570"/>
            </a:xfrm>
            <a:custGeom>
              <a:avLst/>
              <a:gdLst>
                <a:gd name="T0" fmla="*/ 1137 w 1139"/>
                <a:gd name="T1" fmla="*/ 521 h 1140"/>
                <a:gd name="T2" fmla="*/ 1105 w 1139"/>
                <a:gd name="T3" fmla="*/ 375 h 1140"/>
                <a:gd name="T4" fmla="*/ 1035 w 1139"/>
                <a:gd name="T5" fmla="*/ 243 h 1140"/>
                <a:gd name="T6" fmla="*/ 934 w 1139"/>
                <a:gd name="T7" fmla="*/ 132 h 1140"/>
                <a:gd name="T8" fmla="*/ 695 w 1139"/>
                <a:gd name="T9" fmla="*/ 14 h 1140"/>
                <a:gd name="T10" fmla="*/ 444 w 1139"/>
                <a:gd name="T11" fmla="*/ 14 h 1140"/>
                <a:gd name="T12" fmla="*/ 205 w 1139"/>
                <a:gd name="T13" fmla="*/ 132 h 1140"/>
                <a:gd name="T14" fmla="*/ 103 w 1139"/>
                <a:gd name="T15" fmla="*/ 243 h 1140"/>
                <a:gd name="T16" fmla="*/ 34 w 1139"/>
                <a:gd name="T17" fmla="*/ 375 h 1140"/>
                <a:gd name="T18" fmla="*/ 2 w 1139"/>
                <a:gd name="T19" fmla="*/ 521 h 1140"/>
                <a:gd name="T20" fmla="*/ 8 w 1139"/>
                <a:gd name="T21" fmla="*/ 671 h 1140"/>
                <a:gd name="T22" fmla="*/ 76 w 1139"/>
                <a:gd name="T23" fmla="*/ 856 h 1140"/>
                <a:gd name="T24" fmla="*/ 200 w 1139"/>
                <a:gd name="T25" fmla="*/ 1004 h 1140"/>
                <a:gd name="T26" fmla="*/ 328 w 1139"/>
                <a:gd name="T27" fmla="*/ 1087 h 1140"/>
                <a:gd name="T28" fmla="*/ 570 w 1139"/>
                <a:gd name="T29" fmla="*/ 1140 h 1140"/>
                <a:gd name="T30" fmla="*/ 833 w 1139"/>
                <a:gd name="T31" fmla="*/ 1076 h 1140"/>
                <a:gd name="T32" fmla="*/ 957 w 1139"/>
                <a:gd name="T33" fmla="*/ 988 h 1140"/>
                <a:gd name="T34" fmla="*/ 1064 w 1139"/>
                <a:gd name="T35" fmla="*/ 853 h 1140"/>
                <a:gd name="T36" fmla="*/ 1131 w 1139"/>
                <a:gd name="T37" fmla="*/ 670 h 1140"/>
                <a:gd name="T38" fmla="*/ 901 w 1139"/>
                <a:gd name="T39" fmla="*/ 712 h 1140"/>
                <a:gd name="T40" fmla="*/ 843 w 1139"/>
                <a:gd name="T41" fmla="*/ 757 h 1140"/>
                <a:gd name="T42" fmla="*/ 912 w 1139"/>
                <a:gd name="T43" fmla="*/ 910 h 1140"/>
                <a:gd name="T44" fmla="*/ 777 w 1139"/>
                <a:gd name="T45" fmla="*/ 817 h 1140"/>
                <a:gd name="T46" fmla="*/ 828 w 1139"/>
                <a:gd name="T47" fmla="*/ 978 h 1140"/>
                <a:gd name="T48" fmla="*/ 696 w 1139"/>
                <a:gd name="T49" fmla="*/ 871 h 1140"/>
                <a:gd name="T50" fmla="*/ 653 w 1139"/>
                <a:gd name="T51" fmla="*/ 930 h 1140"/>
                <a:gd name="T52" fmla="*/ 606 w 1139"/>
                <a:gd name="T53" fmla="*/ 913 h 1140"/>
                <a:gd name="T54" fmla="*/ 533 w 1139"/>
                <a:gd name="T55" fmla="*/ 913 h 1140"/>
                <a:gd name="T56" fmla="*/ 486 w 1139"/>
                <a:gd name="T57" fmla="*/ 930 h 1140"/>
                <a:gd name="T58" fmla="*/ 442 w 1139"/>
                <a:gd name="T59" fmla="*/ 871 h 1140"/>
                <a:gd name="T60" fmla="*/ 311 w 1139"/>
                <a:gd name="T61" fmla="*/ 978 h 1140"/>
                <a:gd name="T62" fmla="*/ 362 w 1139"/>
                <a:gd name="T63" fmla="*/ 817 h 1140"/>
                <a:gd name="T64" fmla="*/ 228 w 1139"/>
                <a:gd name="T65" fmla="*/ 910 h 1140"/>
                <a:gd name="T66" fmla="*/ 296 w 1139"/>
                <a:gd name="T67" fmla="*/ 757 h 1140"/>
                <a:gd name="T68" fmla="*/ 238 w 1139"/>
                <a:gd name="T69" fmla="*/ 712 h 1140"/>
                <a:gd name="T70" fmla="*/ 233 w 1139"/>
                <a:gd name="T71" fmla="*/ 671 h 1140"/>
                <a:gd name="T72" fmla="*/ 234 w 1139"/>
                <a:gd name="T73" fmla="*/ 599 h 1140"/>
                <a:gd name="T74" fmla="*/ 89 w 1139"/>
                <a:gd name="T75" fmla="*/ 530 h 1140"/>
                <a:gd name="T76" fmla="*/ 250 w 1139"/>
                <a:gd name="T77" fmla="*/ 522 h 1140"/>
                <a:gd name="T78" fmla="*/ 104 w 1139"/>
                <a:gd name="T79" fmla="*/ 444 h 1140"/>
                <a:gd name="T80" fmla="*/ 252 w 1139"/>
                <a:gd name="T81" fmla="*/ 431 h 1140"/>
                <a:gd name="T82" fmla="*/ 294 w 1139"/>
                <a:gd name="T83" fmla="*/ 401 h 1140"/>
                <a:gd name="T84" fmla="*/ 200 w 1139"/>
                <a:gd name="T85" fmla="*/ 260 h 1140"/>
                <a:gd name="T86" fmla="*/ 349 w 1139"/>
                <a:gd name="T87" fmla="*/ 331 h 1140"/>
                <a:gd name="T88" fmla="*/ 367 w 1139"/>
                <a:gd name="T89" fmla="*/ 262 h 1140"/>
                <a:gd name="T90" fmla="*/ 414 w 1139"/>
                <a:gd name="T91" fmla="*/ 258 h 1140"/>
                <a:gd name="T92" fmla="*/ 474 w 1139"/>
                <a:gd name="T93" fmla="*/ 259 h 1140"/>
                <a:gd name="T94" fmla="*/ 505 w 1139"/>
                <a:gd name="T95" fmla="*/ 92 h 1140"/>
                <a:gd name="T96" fmla="*/ 570 w 1139"/>
                <a:gd name="T97" fmla="*/ 248 h 1140"/>
                <a:gd name="T98" fmla="*/ 614 w 1139"/>
                <a:gd name="T99" fmla="*/ 90 h 1140"/>
                <a:gd name="T100" fmla="*/ 659 w 1139"/>
                <a:gd name="T101" fmla="*/ 253 h 1140"/>
                <a:gd name="T102" fmla="*/ 720 w 1139"/>
                <a:gd name="T103" fmla="*/ 262 h 1140"/>
                <a:gd name="T104" fmla="*/ 772 w 1139"/>
                <a:gd name="T105" fmla="*/ 262 h 1140"/>
                <a:gd name="T106" fmla="*/ 784 w 1139"/>
                <a:gd name="T107" fmla="*/ 328 h 1140"/>
                <a:gd name="T108" fmla="*/ 925 w 1139"/>
                <a:gd name="T109" fmla="*/ 245 h 1140"/>
                <a:gd name="T110" fmla="*/ 843 w 1139"/>
                <a:gd name="T111" fmla="*/ 393 h 1140"/>
                <a:gd name="T112" fmla="*/ 887 w 1139"/>
                <a:gd name="T113" fmla="*/ 431 h 1140"/>
                <a:gd name="T114" fmla="*/ 1035 w 1139"/>
                <a:gd name="T115" fmla="*/ 444 h 1140"/>
                <a:gd name="T116" fmla="*/ 887 w 1139"/>
                <a:gd name="T117" fmla="*/ 515 h 1140"/>
                <a:gd name="T118" fmla="*/ 1050 w 1139"/>
                <a:gd name="T119" fmla="*/ 530 h 1140"/>
                <a:gd name="T120" fmla="*/ 913 w 1139"/>
                <a:gd name="T121" fmla="*/ 594 h 1140"/>
                <a:gd name="T122" fmla="*/ 900 w 1139"/>
                <a:gd name="T123" fmla="*/ 665 h 1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1140">
                  <a:moveTo>
                    <a:pt x="1131" y="670"/>
                  </a:moveTo>
                  <a:lnTo>
                    <a:pt x="1131" y="670"/>
                  </a:lnTo>
                  <a:lnTo>
                    <a:pt x="1131" y="669"/>
                  </a:lnTo>
                  <a:lnTo>
                    <a:pt x="1131" y="669"/>
                  </a:lnTo>
                  <a:lnTo>
                    <a:pt x="1135" y="644"/>
                  </a:lnTo>
                  <a:lnTo>
                    <a:pt x="1137" y="620"/>
                  </a:lnTo>
                  <a:lnTo>
                    <a:pt x="1139" y="595"/>
                  </a:lnTo>
                  <a:lnTo>
                    <a:pt x="1139" y="571"/>
                  </a:lnTo>
                  <a:lnTo>
                    <a:pt x="1139" y="571"/>
                  </a:lnTo>
                  <a:lnTo>
                    <a:pt x="1139" y="546"/>
                  </a:lnTo>
                  <a:lnTo>
                    <a:pt x="1137" y="521"/>
                  </a:lnTo>
                  <a:lnTo>
                    <a:pt x="1135" y="497"/>
                  </a:lnTo>
                  <a:lnTo>
                    <a:pt x="1131" y="473"/>
                  </a:lnTo>
                  <a:lnTo>
                    <a:pt x="1131" y="473"/>
                  </a:lnTo>
                  <a:lnTo>
                    <a:pt x="1131" y="472"/>
                  </a:lnTo>
                  <a:lnTo>
                    <a:pt x="1131" y="472"/>
                  </a:lnTo>
                  <a:lnTo>
                    <a:pt x="1131" y="471"/>
                  </a:lnTo>
                  <a:lnTo>
                    <a:pt x="1131" y="471"/>
                  </a:lnTo>
                  <a:lnTo>
                    <a:pt x="1126" y="446"/>
                  </a:lnTo>
                  <a:lnTo>
                    <a:pt x="1120" y="422"/>
                  </a:lnTo>
                  <a:lnTo>
                    <a:pt x="1113" y="399"/>
                  </a:lnTo>
                  <a:lnTo>
                    <a:pt x="1105" y="375"/>
                  </a:lnTo>
                  <a:lnTo>
                    <a:pt x="1096" y="353"/>
                  </a:lnTo>
                  <a:lnTo>
                    <a:pt x="1087" y="331"/>
                  </a:lnTo>
                  <a:lnTo>
                    <a:pt x="1076" y="310"/>
                  </a:lnTo>
                  <a:lnTo>
                    <a:pt x="1064" y="288"/>
                  </a:lnTo>
                  <a:lnTo>
                    <a:pt x="1064" y="288"/>
                  </a:lnTo>
                  <a:lnTo>
                    <a:pt x="1063" y="286"/>
                  </a:lnTo>
                  <a:lnTo>
                    <a:pt x="1063" y="286"/>
                  </a:lnTo>
                  <a:lnTo>
                    <a:pt x="1062" y="284"/>
                  </a:lnTo>
                  <a:lnTo>
                    <a:pt x="1062" y="284"/>
                  </a:lnTo>
                  <a:lnTo>
                    <a:pt x="1049" y="262"/>
                  </a:lnTo>
                  <a:lnTo>
                    <a:pt x="1035" y="243"/>
                  </a:lnTo>
                  <a:lnTo>
                    <a:pt x="1021" y="224"/>
                  </a:lnTo>
                  <a:lnTo>
                    <a:pt x="1006" y="204"/>
                  </a:lnTo>
                  <a:lnTo>
                    <a:pt x="991" y="187"/>
                  </a:lnTo>
                  <a:lnTo>
                    <a:pt x="974" y="170"/>
                  </a:lnTo>
                  <a:lnTo>
                    <a:pt x="957" y="153"/>
                  </a:lnTo>
                  <a:lnTo>
                    <a:pt x="938" y="136"/>
                  </a:lnTo>
                  <a:lnTo>
                    <a:pt x="938" y="136"/>
                  </a:lnTo>
                  <a:lnTo>
                    <a:pt x="936" y="133"/>
                  </a:lnTo>
                  <a:lnTo>
                    <a:pt x="936" y="133"/>
                  </a:lnTo>
                  <a:lnTo>
                    <a:pt x="934" y="132"/>
                  </a:lnTo>
                  <a:lnTo>
                    <a:pt x="934" y="132"/>
                  </a:lnTo>
                  <a:lnTo>
                    <a:pt x="915" y="117"/>
                  </a:lnTo>
                  <a:lnTo>
                    <a:pt x="895" y="103"/>
                  </a:lnTo>
                  <a:lnTo>
                    <a:pt x="875" y="89"/>
                  </a:lnTo>
                  <a:lnTo>
                    <a:pt x="855" y="77"/>
                  </a:lnTo>
                  <a:lnTo>
                    <a:pt x="833" y="66"/>
                  </a:lnTo>
                  <a:lnTo>
                    <a:pt x="812" y="55"/>
                  </a:lnTo>
                  <a:lnTo>
                    <a:pt x="789" y="44"/>
                  </a:lnTo>
                  <a:lnTo>
                    <a:pt x="766" y="35"/>
                  </a:lnTo>
                  <a:lnTo>
                    <a:pt x="743" y="28"/>
                  </a:lnTo>
                  <a:lnTo>
                    <a:pt x="719" y="20"/>
                  </a:lnTo>
                  <a:lnTo>
                    <a:pt x="695" y="14"/>
                  </a:lnTo>
                  <a:lnTo>
                    <a:pt x="671" y="10"/>
                  </a:lnTo>
                  <a:lnTo>
                    <a:pt x="646" y="5"/>
                  </a:lnTo>
                  <a:lnTo>
                    <a:pt x="621" y="3"/>
                  </a:lnTo>
                  <a:lnTo>
                    <a:pt x="595" y="1"/>
                  </a:lnTo>
                  <a:lnTo>
                    <a:pt x="570" y="0"/>
                  </a:lnTo>
                  <a:lnTo>
                    <a:pt x="570" y="0"/>
                  </a:lnTo>
                  <a:lnTo>
                    <a:pt x="544" y="1"/>
                  </a:lnTo>
                  <a:lnTo>
                    <a:pt x="518" y="3"/>
                  </a:lnTo>
                  <a:lnTo>
                    <a:pt x="493" y="5"/>
                  </a:lnTo>
                  <a:lnTo>
                    <a:pt x="468" y="10"/>
                  </a:lnTo>
                  <a:lnTo>
                    <a:pt x="444" y="14"/>
                  </a:lnTo>
                  <a:lnTo>
                    <a:pt x="419" y="20"/>
                  </a:lnTo>
                  <a:lnTo>
                    <a:pt x="395" y="28"/>
                  </a:lnTo>
                  <a:lnTo>
                    <a:pt x="373" y="35"/>
                  </a:lnTo>
                  <a:lnTo>
                    <a:pt x="350" y="44"/>
                  </a:lnTo>
                  <a:lnTo>
                    <a:pt x="328" y="55"/>
                  </a:lnTo>
                  <a:lnTo>
                    <a:pt x="306" y="66"/>
                  </a:lnTo>
                  <a:lnTo>
                    <a:pt x="285" y="77"/>
                  </a:lnTo>
                  <a:lnTo>
                    <a:pt x="264" y="89"/>
                  </a:lnTo>
                  <a:lnTo>
                    <a:pt x="244" y="103"/>
                  </a:lnTo>
                  <a:lnTo>
                    <a:pt x="224" y="117"/>
                  </a:lnTo>
                  <a:lnTo>
                    <a:pt x="205" y="132"/>
                  </a:lnTo>
                  <a:lnTo>
                    <a:pt x="205" y="132"/>
                  </a:lnTo>
                  <a:lnTo>
                    <a:pt x="203" y="133"/>
                  </a:lnTo>
                  <a:lnTo>
                    <a:pt x="203" y="133"/>
                  </a:lnTo>
                  <a:lnTo>
                    <a:pt x="200" y="136"/>
                  </a:lnTo>
                  <a:lnTo>
                    <a:pt x="200" y="136"/>
                  </a:lnTo>
                  <a:lnTo>
                    <a:pt x="182" y="153"/>
                  </a:lnTo>
                  <a:lnTo>
                    <a:pt x="165" y="170"/>
                  </a:lnTo>
                  <a:lnTo>
                    <a:pt x="148" y="187"/>
                  </a:lnTo>
                  <a:lnTo>
                    <a:pt x="133" y="204"/>
                  </a:lnTo>
                  <a:lnTo>
                    <a:pt x="118" y="224"/>
                  </a:lnTo>
                  <a:lnTo>
                    <a:pt x="103" y="243"/>
                  </a:lnTo>
                  <a:lnTo>
                    <a:pt x="90" y="262"/>
                  </a:lnTo>
                  <a:lnTo>
                    <a:pt x="77" y="284"/>
                  </a:lnTo>
                  <a:lnTo>
                    <a:pt x="77" y="284"/>
                  </a:lnTo>
                  <a:lnTo>
                    <a:pt x="76" y="286"/>
                  </a:lnTo>
                  <a:lnTo>
                    <a:pt x="76" y="286"/>
                  </a:lnTo>
                  <a:lnTo>
                    <a:pt x="75" y="288"/>
                  </a:lnTo>
                  <a:lnTo>
                    <a:pt x="75" y="288"/>
                  </a:lnTo>
                  <a:lnTo>
                    <a:pt x="63" y="310"/>
                  </a:lnTo>
                  <a:lnTo>
                    <a:pt x="52" y="331"/>
                  </a:lnTo>
                  <a:lnTo>
                    <a:pt x="43" y="353"/>
                  </a:lnTo>
                  <a:lnTo>
                    <a:pt x="34" y="375"/>
                  </a:lnTo>
                  <a:lnTo>
                    <a:pt x="25" y="399"/>
                  </a:lnTo>
                  <a:lnTo>
                    <a:pt x="19" y="422"/>
                  </a:lnTo>
                  <a:lnTo>
                    <a:pt x="13" y="446"/>
                  </a:lnTo>
                  <a:lnTo>
                    <a:pt x="8" y="471"/>
                  </a:lnTo>
                  <a:lnTo>
                    <a:pt x="8" y="471"/>
                  </a:lnTo>
                  <a:lnTo>
                    <a:pt x="8" y="472"/>
                  </a:lnTo>
                  <a:lnTo>
                    <a:pt x="8" y="472"/>
                  </a:lnTo>
                  <a:lnTo>
                    <a:pt x="8" y="473"/>
                  </a:lnTo>
                  <a:lnTo>
                    <a:pt x="8" y="473"/>
                  </a:lnTo>
                  <a:lnTo>
                    <a:pt x="4" y="497"/>
                  </a:lnTo>
                  <a:lnTo>
                    <a:pt x="2" y="521"/>
                  </a:lnTo>
                  <a:lnTo>
                    <a:pt x="0" y="546"/>
                  </a:lnTo>
                  <a:lnTo>
                    <a:pt x="0" y="571"/>
                  </a:lnTo>
                  <a:lnTo>
                    <a:pt x="0" y="571"/>
                  </a:lnTo>
                  <a:lnTo>
                    <a:pt x="0" y="595"/>
                  </a:lnTo>
                  <a:lnTo>
                    <a:pt x="2" y="620"/>
                  </a:lnTo>
                  <a:lnTo>
                    <a:pt x="4" y="644"/>
                  </a:lnTo>
                  <a:lnTo>
                    <a:pt x="8" y="669"/>
                  </a:lnTo>
                  <a:lnTo>
                    <a:pt x="8" y="669"/>
                  </a:lnTo>
                  <a:lnTo>
                    <a:pt x="8" y="670"/>
                  </a:lnTo>
                  <a:lnTo>
                    <a:pt x="8" y="670"/>
                  </a:lnTo>
                  <a:lnTo>
                    <a:pt x="8" y="671"/>
                  </a:lnTo>
                  <a:lnTo>
                    <a:pt x="8" y="671"/>
                  </a:lnTo>
                  <a:lnTo>
                    <a:pt x="13" y="695"/>
                  </a:lnTo>
                  <a:lnTo>
                    <a:pt x="19" y="719"/>
                  </a:lnTo>
                  <a:lnTo>
                    <a:pt x="25" y="743"/>
                  </a:lnTo>
                  <a:lnTo>
                    <a:pt x="34" y="765"/>
                  </a:lnTo>
                  <a:lnTo>
                    <a:pt x="43" y="788"/>
                  </a:lnTo>
                  <a:lnTo>
                    <a:pt x="52" y="810"/>
                  </a:lnTo>
                  <a:lnTo>
                    <a:pt x="63" y="832"/>
                  </a:lnTo>
                  <a:lnTo>
                    <a:pt x="75" y="853"/>
                  </a:lnTo>
                  <a:lnTo>
                    <a:pt x="75" y="853"/>
                  </a:lnTo>
                  <a:lnTo>
                    <a:pt x="76" y="856"/>
                  </a:lnTo>
                  <a:lnTo>
                    <a:pt x="76" y="856"/>
                  </a:lnTo>
                  <a:lnTo>
                    <a:pt x="77" y="857"/>
                  </a:lnTo>
                  <a:lnTo>
                    <a:pt x="77" y="857"/>
                  </a:lnTo>
                  <a:lnTo>
                    <a:pt x="89" y="878"/>
                  </a:lnTo>
                  <a:lnTo>
                    <a:pt x="103" y="898"/>
                  </a:lnTo>
                  <a:lnTo>
                    <a:pt x="117" y="917"/>
                  </a:lnTo>
                  <a:lnTo>
                    <a:pt x="132" y="936"/>
                  </a:lnTo>
                  <a:lnTo>
                    <a:pt x="148" y="954"/>
                  </a:lnTo>
                  <a:lnTo>
                    <a:pt x="165" y="972"/>
                  </a:lnTo>
                  <a:lnTo>
                    <a:pt x="182" y="988"/>
                  </a:lnTo>
                  <a:lnTo>
                    <a:pt x="200" y="1004"/>
                  </a:lnTo>
                  <a:lnTo>
                    <a:pt x="200" y="1004"/>
                  </a:lnTo>
                  <a:lnTo>
                    <a:pt x="203" y="1007"/>
                  </a:lnTo>
                  <a:lnTo>
                    <a:pt x="203" y="1007"/>
                  </a:lnTo>
                  <a:lnTo>
                    <a:pt x="205" y="1009"/>
                  </a:lnTo>
                  <a:lnTo>
                    <a:pt x="205" y="1009"/>
                  </a:lnTo>
                  <a:lnTo>
                    <a:pt x="224" y="1024"/>
                  </a:lnTo>
                  <a:lnTo>
                    <a:pt x="244" y="1038"/>
                  </a:lnTo>
                  <a:lnTo>
                    <a:pt x="264" y="1051"/>
                  </a:lnTo>
                  <a:lnTo>
                    <a:pt x="285" y="1064"/>
                  </a:lnTo>
                  <a:lnTo>
                    <a:pt x="306" y="1076"/>
                  </a:lnTo>
                  <a:lnTo>
                    <a:pt x="328" y="1087"/>
                  </a:lnTo>
                  <a:lnTo>
                    <a:pt x="350" y="1096"/>
                  </a:lnTo>
                  <a:lnTo>
                    <a:pt x="373" y="1106"/>
                  </a:lnTo>
                  <a:lnTo>
                    <a:pt x="396" y="1114"/>
                  </a:lnTo>
                  <a:lnTo>
                    <a:pt x="420" y="1121"/>
                  </a:lnTo>
                  <a:lnTo>
                    <a:pt x="444" y="1126"/>
                  </a:lnTo>
                  <a:lnTo>
                    <a:pt x="468" y="1132"/>
                  </a:lnTo>
                  <a:lnTo>
                    <a:pt x="493" y="1135"/>
                  </a:lnTo>
                  <a:lnTo>
                    <a:pt x="518" y="1138"/>
                  </a:lnTo>
                  <a:lnTo>
                    <a:pt x="544" y="1140"/>
                  </a:lnTo>
                  <a:lnTo>
                    <a:pt x="570" y="1140"/>
                  </a:lnTo>
                  <a:lnTo>
                    <a:pt x="570" y="1140"/>
                  </a:lnTo>
                  <a:lnTo>
                    <a:pt x="595" y="1140"/>
                  </a:lnTo>
                  <a:lnTo>
                    <a:pt x="621" y="1138"/>
                  </a:lnTo>
                  <a:lnTo>
                    <a:pt x="646" y="1135"/>
                  </a:lnTo>
                  <a:lnTo>
                    <a:pt x="671" y="1132"/>
                  </a:lnTo>
                  <a:lnTo>
                    <a:pt x="695" y="1126"/>
                  </a:lnTo>
                  <a:lnTo>
                    <a:pt x="719" y="1121"/>
                  </a:lnTo>
                  <a:lnTo>
                    <a:pt x="743" y="1114"/>
                  </a:lnTo>
                  <a:lnTo>
                    <a:pt x="766" y="1106"/>
                  </a:lnTo>
                  <a:lnTo>
                    <a:pt x="789" y="1096"/>
                  </a:lnTo>
                  <a:lnTo>
                    <a:pt x="812" y="1087"/>
                  </a:lnTo>
                  <a:lnTo>
                    <a:pt x="833" y="1076"/>
                  </a:lnTo>
                  <a:lnTo>
                    <a:pt x="855" y="1064"/>
                  </a:lnTo>
                  <a:lnTo>
                    <a:pt x="875" y="1051"/>
                  </a:lnTo>
                  <a:lnTo>
                    <a:pt x="895" y="1038"/>
                  </a:lnTo>
                  <a:lnTo>
                    <a:pt x="915" y="1024"/>
                  </a:lnTo>
                  <a:lnTo>
                    <a:pt x="933" y="1009"/>
                  </a:lnTo>
                  <a:lnTo>
                    <a:pt x="933" y="1009"/>
                  </a:lnTo>
                  <a:lnTo>
                    <a:pt x="936" y="1007"/>
                  </a:lnTo>
                  <a:lnTo>
                    <a:pt x="936" y="1007"/>
                  </a:lnTo>
                  <a:lnTo>
                    <a:pt x="938" y="1004"/>
                  </a:lnTo>
                  <a:lnTo>
                    <a:pt x="938" y="1004"/>
                  </a:lnTo>
                  <a:lnTo>
                    <a:pt x="957" y="988"/>
                  </a:lnTo>
                  <a:lnTo>
                    <a:pt x="974" y="972"/>
                  </a:lnTo>
                  <a:lnTo>
                    <a:pt x="991" y="954"/>
                  </a:lnTo>
                  <a:lnTo>
                    <a:pt x="1006" y="936"/>
                  </a:lnTo>
                  <a:lnTo>
                    <a:pt x="1021" y="917"/>
                  </a:lnTo>
                  <a:lnTo>
                    <a:pt x="1036" y="898"/>
                  </a:lnTo>
                  <a:lnTo>
                    <a:pt x="1049" y="878"/>
                  </a:lnTo>
                  <a:lnTo>
                    <a:pt x="1062" y="857"/>
                  </a:lnTo>
                  <a:lnTo>
                    <a:pt x="1062" y="857"/>
                  </a:lnTo>
                  <a:lnTo>
                    <a:pt x="1063" y="856"/>
                  </a:lnTo>
                  <a:lnTo>
                    <a:pt x="1063" y="856"/>
                  </a:lnTo>
                  <a:lnTo>
                    <a:pt x="1064" y="853"/>
                  </a:lnTo>
                  <a:lnTo>
                    <a:pt x="1064" y="853"/>
                  </a:lnTo>
                  <a:lnTo>
                    <a:pt x="1076" y="832"/>
                  </a:lnTo>
                  <a:lnTo>
                    <a:pt x="1087" y="810"/>
                  </a:lnTo>
                  <a:lnTo>
                    <a:pt x="1096" y="788"/>
                  </a:lnTo>
                  <a:lnTo>
                    <a:pt x="1105" y="765"/>
                  </a:lnTo>
                  <a:lnTo>
                    <a:pt x="1113" y="743"/>
                  </a:lnTo>
                  <a:lnTo>
                    <a:pt x="1120" y="719"/>
                  </a:lnTo>
                  <a:lnTo>
                    <a:pt x="1126" y="695"/>
                  </a:lnTo>
                  <a:lnTo>
                    <a:pt x="1131" y="671"/>
                  </a:lnTo>
                  <a:lnTo>
                    <a:pt x="1131" y="671"/>
                  </a:lnTo>
                  <a:lnTo>
                    <a:pt x="1131" y="670"/>
                  </a:lnTo>
                  <a:lnTo>
                    <a:pt x="1131" y="670"/>
                  </a:lnTo>
                  <a:close/>
                  <a:moveTo>
                    <a:pt x="922" y="677"/>
                  </a:moveTo>
                  <a:lnTo>
                    <a:pt x="1035" y="698"/>
                  </a:lnTo>
                  <a:lnTo>
                    <a:pt x="1035" y="698"/>
                  </a:lnTo>
                  <a:lnTo>
                    <a:pt x="1030" y="717"/>
                  </a:lnTo>
                  <a:lnTo>
                    <a:pt x="1022" y="735"/>
                  </a:lnTo>
                  <a:lnTo>
                    <a:pt x="1016" y="755"/>
                  </a:lnTo>
                  <a:lnTo>
                    <a:pt x="1007" y="773"/>
                  </a:lnTo>
                  <a:lnTo>
                    <a:pt x="908" y="716"/>
                  </a:lnTo>
                  <a:lnTo>
                    <a:pt x="908" y="716"/>
                  </a:lnTo>
                  <a:lnTo>
                    <a:pt x="901" y="712"/>
                  </a:lnTo>
                  <a:lnTo>
                    <a:pt x="892" y="710"/>
                  </a:lnTo>
                  <a:lnTo>
                    <a:pt x="884" y="709"/>
                  </a:lnTo>
                  <a:lnTo>
                    <a:pt x="875" y="712"/>
                  </a:lnTo>
                  <a:lnTo>
                    <a:pt x="867" y="714"/>
                  </a:lnTo>
                  <a:lnTo>
                    <a:pt x="860" y="718"/>
                  </a:lnTo>
                  <a:lnTo>
                    <a:pt x="853" y="724"/>
                  </a:lnTo>
                  <a:lnTo>
                    <a:pt x="848" y="732"/>
                  </a:lnTo>
                  <a:lnTo>
                    <a:pt x="848" y="732"/>
                  </a:lnTo>
                  <a:lnTo>
                    <a:pt x="845" y="740"/>
                  </a:lnTo>
                  <a:lnTo>
                    <a:pt x="843" y="748"/>
                  </a:lnTo>
                  <a:lnTo>
                    <a:pt x="843" y="757"/>
                  </a:lnTo>
                  <a:lnTo>
                    <a:pt x="844" y="765"/>
                  </a:lnTo>
                  <a:lnTo>
                    <a:pt x="847" y="773"/>
                  </a:lnTo>
                  <a:lnTo>
                    <a:pt x="851" y="780"/>
                  </a:lnTo>
                  <a:lnTo>
                    <a:pt x="858" y="787"/>
                  </a:lnTo>
                  <a:lnTo>
                    <a:pt x="864" y="791"/>
                  </a:lnTo>
                  <a:lnTo>
                    <a:pt x="963" y="848"/>
                  </a:lnTo>
                  <a:lnTo>
                    <a:pt x="963" y="848"/>
                  </a:lnTo>
                  <a:lnTo>
                    <a:pt x="951" y="864"/>
                  </a:lnTo>
                  <a:lnTo>
                    <a:pt x="938" y="880"/>
                  </a:lnTo>
                  <a:lnTo>
                    <a:pt x="925" y="895"/>
                  </a:lnTo>
                  <a:lnTo>
                    <a:pt x="912" y="910"/>
                  </a:lnTo>
                  <a:lnTo>
                    <a:pt x="838" y="822"/>
                  </a:lnTo>
                  <a:lnTo>
                    <a:pt x="838" y="822"/>
                  </a:lnTo>
                  <a:lnTo>
                    <a:pt x="832" y="817"/>
                  </a:lnTo>
                  <a:lnTo>
                    <a:pt x="824" y="812"/>
                  </a:lnTo>
                  <a:lnTo>
                    <a:pt x="817" y="808"/>
                  </a:lnTo>
                  <a:lnTo>
                    <a:pt x="808" y="807"/>
                  </a:lnTo>
                  <a:lnTo>
                    <a:pt x="801" y="807"/>
                  </a:lnTo>
                  <a:lnTo>
                    <a:pt x="792" y="809"/>
                  </a:lnTo>
                  <a:lnTo>
                    <a:pt x="784" y="813"/>
                  </a:lnTo>
                  <a:lnTo>
                    <a:pt x="777" y="817"/>
                  </a:lnTo>
                  <a:lnTo>
                    <a:pt x="777" y="817"/>
                  </a:lnTo>
                  <a:lnTo>
                    <a:pt x="771" y="823"/>
                  </a:lnTo>
                  <a:lnTo>
                    <a:pt x="765" y="831"/>
                  </a:lnTo>
                  <a:lnTo>
                    <a:pt x="763" y="838"/>
                  </a:lnTo>
                  <a:lnTo>
                    <a:pt x="761" y="847"/>
                  </a:lnTo>
                  <a:lnTo>
                    <a:pt x="761" y="856"/>
                  </a:lnTo>
                  <a:lnTo>
                    <a:pt x="763" y="864"/>
                  </a:lnTo>
                  <a:lnTo>
                    <a:pt x="766" y="872"/>
                  </a:lnTo>
                  <a:lnTo>
                    <a:pt x="772" y="879"/>
                  </a:lnTo>
                  <a:lnTo>
                    <a:pt x="845" y="966"/>
                  </a:lnTo>
                  <a:lnTo>
                    <a:pt x="845" y="966"/>
                  </a:lnTo>
                  <a:lnTo>
                    <a:pt x="828" y="978"/>
                  </a:lnTo>
                  <a:lnTo>
                    <a:pt x="810" y="988"/>
                  </a:lnTo>
                  <a:lnTo>
                    <a:pt x="793" y="997"/>
                  </a:lnTo>
                  <a:lnTo>
                    <a:pt x="775" y="1007"/>
                  </a:lnTo>
                  <a:lnTo>
                    <a:pt x="736" y="900"/>
                  </a:lnTo>
                  <a:lnTo>
                    <a:pt x="736" y="900"/>
                  </a:lnTo>
                  <a:lnTo>
                    <a:pt x="732" y="891"/>
                  </a:lnTo>
                  <a:lnTo>
                    <a:pt x="727" y="885"/>
                  </a:lnTo>
                  <a:lnTo>
                    <a:pt x="720" y="879"/>
                  </a:lnTo>
                  <a:lnTo>
                    <a:pt x="714" y="875"/>
                  </a:lnTo>
                  <a:lnTo>
                    <a:pt x="705" y="872"/>
                  </a:lnTo>
                  <a:lnTo>
                    <a:pt x="696" y="871"/>
                  </a:lnTo>
                  <a:lnTo>
                    <a:pt x="688" y="871"/>
                  </a:lnTo>
                  <a:lnTo>
                    <a:pt x="679" y="873"/>
                  </a:lnTo>
                  <a:lnTo>
                    <a:pt x="679" y="873"/>
                  </a:lnTo>
                  <a:lnTo>
                    <a:pt x="672" y="877"/>
                  </a:lnTo>
                  <a:lnTo>
                    <a:pt x="665" y="882"/>
                  </a:lnTo>
                  <a:lnTo>
                    <a:pt x="659" y="889"/>
                  </a:lnTo>
                  <a:lnTo>
                    <a:pt x="655" y="896"/>
                  </a:lnTo>
                  <a:lnTo>
                    <a:pt x="652" y="904"/>
                  </a:lnTo>
                  <a:lnTo>
                    <a:pt x="651" y="913"/>
                  </a:lnTo>
                  <a:lnTo>
                    <a:pt x="651" y="921"/>
                  </a:lnTo>
                  <a:lnTo>
                    <a:pt x="653" y="930"/>
                  </a:lnTo>
                  <a:lnTo>
                    <a:pt x="692" y="1037"/>
                  </a:lnTo>
                  <a:lnTo>
                    <a:pt x="692" y="1037"/>
                  </a:lnTo>
                  <a:lnTo>
                    <a:pt x="673" y="1042"/>
                  </a:lnTo>
                  <a:lnTo>
                    <a:pt x="653" y="1046"/>
                  </a:lnTo>
                  <a:lnTo>
                    <a:pt x="633" y="1049"/>
                  </a:lnTo>
                  <a:lnTo>
                    <a:pt x="614" y="1051"/>
                  </a:lnTo>
                  <a:lnTo>
                    <a:pt x="614" y="936"/>
                  </a:lnTo>
                  <a:lnTo>
                    <a:pt x="614" y="936"/>
                  </a:lnTo>
                  <a:lnTo>
                    <a:pt x="613" y="928"/>
                  </a:lnTo>
                  <a:lnTo>
                    <a:pt x="609" y="919"/>
                  </a:lnTo>
                  <a:lnTo>
                    <a:pt x="606" y="913"/>
                  </a:lnTo>
                  <a:lnTo>
                    <a:pt x="601" y="905"/>
                  </a:lnTo>
                  <a:lnTo>
                    <a:pt x="594" y="901"/>
                  </a:lnTo>
                  <a:lnTo>
                    <a:pt x="587" y="896"/>
                  </a:lnTo>
                  <a:lnTo>
                    <a:pt x="578" y="893"/>
                  </a:lnTo>
                  <a:lnTo>
                    <a:pt x="570" y="893"/>
                  </a:lnTo>
                  <a:lnTo>
                    <a:pt x="570" y="893"/>
                  </a:lnTo>
                  <a:lnTo>
                    <a:pt x="561" y="893"/>
                  </a:lnTo>
                  <a:lnTo>
                    <a:pt x="552" y="896"/>
                  </a:lnTo>
                  <a:lnTo>
                    <a:pt x="545" y="901"/>
                  </a:lnTo>
                  <a:lnTo>
                    <a:pt x="538" y="905"/>
                  </a:lnTo>
                  <a:lnTo>
                    <a:pt x="533" y="913"/>
                  </a:lnTo>
                  <a:lnTo>
                    <a:pt x="529" y="919"/>
                  </a:lnTo>
                  <a:lnTo>
                    <a:pt x="527" y="928"/>
                  </a:lnTo>
                  <a:lnTo>
                    <a:pt x="525" y="936"/>
                  </a:lnTo>
                  <a:lnTo>
                    <a:pt x="525" y="1051"/>
                  </a:lnTo>
                  <a:lnTo>
                    <a:pt x="525" y="1051"/>
                  </a:lnTo>
                  <a:lnTo>
                    <a:pt x="505" y="1049"/>
                  </a:lnTo>
                  <a:lnTo>
                    <a:pt x="486" y="1046"/>
                  </a:lnTo>
                  <a:lnTo>
                    <a:pt x="465" y="1042"/>
                  </a:lnTo>
                  <a:lnTo>
                    <a:pt x="446" y="1037"/>
                  </a:lnTo>
                  <a:lnTo>
                    <a:pt x="486" y="930"/>
                  </a:lnTo>
                  <a:lnTo>
                    <a:pt x="486" y="930"/>
                  </a:lnTo>
                  <a:lnTo>
                    <a:pt x="488" y="921"/>
                  </a:lnTo>
                  <a:lnTo>
                    <a:pt x="488" y="913"/>
                  </a:lnTo>
                  <a:lnTo>
                    <a:pt x="487" y="904"/>
                  </a:lnTo>
                  <a:lnTo>
                    <a:pt x="484" y="896"/>
                  </a:lnTo>
                  <a:lnTo>
                    <a:pt x="479" y="889"/>
                  </a:lnTo>
                  <a:lnTo>
                    <a:pt x="474" y="882"/>
                  </a:lnTo>
                  <a:lnTo>
                    <a:pt x="467" y="877"/>
                  </a:lnTo>
                  <a:lnTo>
                    <a:pt x="459" y="873"/>
                  </a:lnTo>
                  <a:lnTo>
                    <a:pt x="459" y="873"/>
                  </a:lnTo>
                  <a:lnTo>
                    <a:pt x="450" y="871"/>
                  </a:lnTo>
                  <a:lnTo>
                    <a:pt x="442" y="871"/>
                  </a:lnTo>
                  <a:lnTo>
                    <a:pt x="434" y="872"/>
                  </a:lnTo>
                  <a:lnTo>
                    <a:pt x="425" y="875"/>
                  </a:lnTo>
                  <a:lnTo>
                    <a:pt x="418" y="879"/>
                  </a:lnTo>
                  <a:lnTo>
                    <a:pt x="413" y="885"/>
                  </a:lnTo>
                  <a:lnTo>
                    <a:pt x="407" y="891"/>
                  </a:lnTo>
                  <a:lnTo>
                    <a:pt x="403" y="900"/>
                  </a:lnTo>
                  <a:lnTo>
                    <a:pt x="364" y="1007"/>
                  </a:lnTo>
                  <a:lnTo>
                    <a:pt x="364" y="1007"/>
                  </a:lnTo>
                  <a:lnTo>
                    <a:pt x="346" y="997"/>
                  </a:lnTo>
                  <a:lnTo>
                    <a:pt x="329" y="988"/>
                  </a:lnTo>
                  <a:lnTo>
                    <a:pt x="311" y="978"/>
                  </a:lnTo>
                  <a:lnTo>
                    <a:pt x="294" y="966"/>
                  </a:lnTo>
                  <a:lnTo>
                    <a:pt x="367" y="879"/>
                  </a:lnTo>
                  <a:lnTo>
                    <a:pt x="367" y="879"/>
                  </a:lnTo>
                  <a:lnTo>
                    <a:pt x="373" y="872"/>
                  </a:lnTo>
                  <a:lnTo>
                    <a:pt x="376" y="864"/>
                  </a:lnTo>
                  <a:lnTo>
                    <a:pt x="378" y="856"/>
                  </a:lnTo>
                  <a:lnTo>
                    <a:pt x="378" y="847"/>
                  </a:lnTo>
                  <a:lnTo>
                    <a:pt x="376" y="838"/>
                  </a:lnTo>
                  <a:lnTo>
                    <a:pt x="373" y="831"/>
                  </a:lnTo>
                  <a:lnTo>
                    <a:pt x="368" y="823"/>
                  </a:lnTo>
                  <a:lnTo>
                    <a:pt x="362" y="817"/>
                  </a:lnTo>
                  <a:lnTo>
                    <a:pt x="362" y="817"/>
                  </a:lnTo>
                  <a:lnTo>
                    <a:pt x="354" y="813"/>
                  </a:lnTo>
                  <a:lnTo>
                    <a:pt x="347" y="809"/>
                  </a:lnTo>
                  <a:lnTo>
                    <a:pt x="338" y="807"/>
                  </a:lnTo>
                  <a:lnTo>
                    <a:pt x="330" y="807"/>
                  </a:lnTo>
                  <a:lnTo>
                    <a:pt x="322" y="808"/>
                  </a:lnTo>
                  <a:lnTo>
                    <a:pt x="314" y="812"/>
                  </a:lnTo>
                  <a:lnTo>
                    <a:pt x="307" y="817"/>
                  </a:lnTo>
                  <a:lnTo>
                    <a:pt x="301" y="822"/>
                  </a:lnTo>
                  <a:lnTo>
                    <a:pt x="228" y="910"/>
                  </a:lnTo>
                  <a:lnTo>
                    <a:pt x="228" y="910"/>
                  </a:lnTo>
                  <a:lnTo>
                    <a:pt x="214" y="895"/>
                  </a:lnTo>
                  <a:lnTo>
                    <a:pt x="200" y="880"/>
                  </a:lnTo>
                  <a:lnTo>
                    <a:pt x="188" y="864"/>
                  </a:lnTo>
                  <a:lnTo>
                    <a:pt x="176" y="848"/>
                  </a:lnTo>
                  <a:lnTo>
                    <a:pt x="274" y="791"/>
                  </a:lnTo>
                  <a:lnTo>
                    <a:pt x="274" y="791"/>
                  </a:lnTo>
                  <a:lnTo>
                    <a:pt x="281" y="787"/>
                  </a:lnTo>
                  <a:lnTo>
                    <a:pt x="288" y="780"/>
                  </a:lnTo>
                  <a:lnTo>
                    <a:pt x="292" y="773"/>
                  </a:lnTo>
                  <a:lnTo>
                    <a:pt x="294" y="765"/>
                  </a:lnTo>
                  <a:lnTo>
                    <a:pt x="296" y="757"/>
                  </a:lnTo>
                  <a:lnTo>
                    <a:pt x="295" y="748"/>
                  </a:lnTo>
                  <a:lnTo>
                    <a:pt x="294" y="740"/>
                  </a:lnTo>
                  <a:lnTo>
                    <a:pt x="290" y="732"/>
                  </a:lnTo>
                  <a:lnTo>
                    <a:pt x="290" y="732"/>
                  </a:lnTo>
                  <a:lnTo>
                    <a:pt x="285" y="724"/>
                  </a:lnTo>
                  <a:lnTo>
                    <a:pt x="279" y="718"/>
                  </a:lnTo>
                  <a:lnTo>
                    <a:pt x="272" y="714"/>
                  </a:lnTo>
                  <a:lnTo>
                    <a:pt x="264" y="712"/>
                  </a:lnTo>
                  <a:lnTo>
                    <a:pt x="256" y="709"/>
                  </a:lnTo>
                  <a:lnTo>
                    <a:pt x="247" y="710"/>
                  </a:lnTo>
                  <a:lnTo>
                    <a:pt x="238" y="712"/>
                  </a:lnTo>
                  <a:lnTo>
                    <a:pt x="231" y="716"/>
                  </a:lnTo>
                  <a:lnTo>
                    <a:pt x="132" y="773"/>
                  </a:lnTo>
                  <a:lnTo>
                    <a:pt x="132" y="773"/>
                  </a:lnTo>
                  <a:lnTo>
                    <a:pt x="123" y="755"/>
                  </a:lnTo>
                  <a:lnTo>
                    <a:pt x="116" y="735"/>
                  </a:lnTo>
                  <a:lnTo>
                    <a:pt x="109" y="717"/>
                  </a:lnTo>
                  <a:lnTo>
                    <a:pt x="104" y="698"/>
                  </a:lnTo>
                  <a:lnTo>
                    <a:pt x="217" y="677"/>
                  </a:lnTo>
                  <a:lnTo>
                    <a:pt x="217" y="677"/>
                  </a:lnTo>
                  <a:lnTo>
                    <a:pt x="225" y="675"/>
                  </a:lnTo>
                  <a:lnTo>
                    <a:pt x="233" y="671"/>
                  </a:lnTo>
                  <a:lnTo>
                    <a:pt x="239" y="665"/>
                  </a:lnTo>
                  <a:lnTo>
                    <a:pt x="245" y="659"/>
                  </a:lnTo>
                  <a:lnTo>
                    <a:pt x="249" y="652"/>
                  </a:lnTo>
                  <a:lnTo>
                    <a:pt x="251" y="644"/>
                  </a:lnTo>
                  <a:lnTo>
                    <a:pt x="252" y="635"/>
                  </a:lnTo>
                  <a:lnTo>
                    <a:pt x="252" y="627"/>
                  </a:lnTo>
                  <a:lnTo>
                    <a:pt x="252" y="627"/>
                  </a:lnTo>
                  <a:lnTo>
                    <a:pt x="249" y="618"/>
                  </a:lnTo>
                  <a:lnTo>
                    <a:pt x="246" y="611"/>
                  </a:lnTo>
                  <a:lnTo>
                    <a:pt x="241" y="604"/>
                  </a:lnTo>
                  <a:lnTo>
                    <a:pt x="234" y="599"/>
                  </a:lnTo>
                  <a:lnTo>
                    <a:pt x="227" y="594"/>
                  </a:lnTo>
                  <a:lnTo>
                    <a:pt x="219" y="591"/>
                  </a:lnTo>
                  <a:lnTo>
                    <a:pt x="210" y="590"/>
                  </a:lnTo>
                  <a:lnTo>
                    <a:pt x="201" y="591"/>
                  </a:lnTo>
                  <a:lnTo>
                    <a:pt x="89" y="611"/>
                  </a:lnTo>
                  <a:lnTo>
                    <a:pt x="89" y="611"/>
                  </a:lnTo>
                  <a:lnTo>
                    <a:pt x="88" y="591"/>
                  </a:lnTo>
                  <a:lnTo>
                    <a:pt x="87" y="571"/>
                  </a:lnTo>
                  <a:lnTo>
                    <a:pt x="87" y="571"/>
                  </a:lnTo>
                  <a:lnTo>
                    <a:pt x="88" y="550"/>
                  </a:lnTo>
                  <a:lnTo>
                    <a:pt x="89" y="530"/>
                  </a:lnTo>
                  <a:lnTo>
                    <a:pt x="201" y="550"/>
                  </a:lnTo>
                  <a:lnTo>
                    <a:pt x="201" y="550"/>
                  </a:lnTo>
                  <a:lnTo>
                    <a:pt x="209" y="550"/>
                  </a:lnTo>
                  <a:lnTo>
                    <a:pt x="209" y="550"/>
                  </a:lnTo>
                  <a:lnTo>
                    <a:pt x="217" y="550"/>
                  </a:lnTo>
                  <a:lnTo>
                    <a:pt x="224" y="548"/>
                  </a:lnTo>
                  <a:lnTo>
                    <a:pt x="231" y="545"/>
                  </a:lnTo>
                  <a:lnTo>
                    <a:pt x="237" y="541"/>
                  </a:lnTo>
                  <a:lnTo>
                    <a:pt x="243" y="535"/>
                  </a:lnTo>
                  <a:lnTo>
                    <a:pt x="247" y="529"/>
                  </a:lnTo>
                  <a:lnTo>
                    <a:pt x="250" y="522"/>
                  </a:lnTo>
                  <a:lnTo>
                    <a:pt x="252" y="515"/>
                  </a:lnTo>
                  <a:lnTo>
                    <a:pt x="252" y="515"/>
                  </a:lnTo>
                  <a:lnTo>
                    <a:pt x="252" y="505"/>
                  </a:lnTo>
                  <a:lnTo>
                    <a:pt x="251" y="498"/>
                  </a:lnTo>
                  <a:lnTo>
                    <a:pt x="249" y="489"/>
                  </a:lnTo>
                  <a:lnTo>
                    <a:pt x="245" y="482"/>
                  </a:lnTo>
                  <a:lnTo>
                    <a:pt x="239" y="475"/>
                  </a:lnTo>
                  <a:lnTo>
                    <a:pt x="233" y="470"/>
                  </a:lnTo>
                  <a:lnTo>
                    <a:pt x="225" y="466"/>
                  </a:lnTo>
                  <a:lnTo>
                    <a:pt x="217" y="463"/>
                  </a:lnTo>
                  <a:lnTo>
                    <a:pt x="104" y="444"/>
                  </a:lnTo>
                  <a:lnTo>
                    <a:pt x="104" y="444"/>
                  </a:lnTo>
                  <a:lnTo>
                    <a:pt x="109" y="425"/>
                  </a:lnTo>
                  <a:lnTo>
                    <a:pt x="116" y="405"/>
                  </a:lnTo>
                  <a:lnTo>
                    <a:pt x="123" y="387"/>
                  </a:lnTo>
                  <a:lnTo>
                    <a:pt x="132" y="369"/>
                  </a:lnTo>
                  <a:lnTo>
                    <a:pt x="231" y="426"/>
                  </a:lnTo>
                  <a:lnTo>
                    <a:pt x="231" y="426"/>
                  </a:lnTo>
                  <a:lnTo>
                    <a:pt x="235" y="428"/>
                  </a:lnTo>
                  <a:lnTo>
                    <a:pt x="242" y="430"/>
                  </a:lnTo>
                  <a:lnTo>
                    <a:pt x="247" y="431"/>
                  </a:lnTo>
                  <a:lnTo>
                    <a:pt x="252" y="431"/>
                  </a:lnTo>
                  <a:lnTo>
                    <a:pt x="252" y="431"/>
                  </a:lnTo>
                  <a:lnTo>
                    <a:pt x="258" y="431"/>
                  </a:lnTo>
                  <a:lnTo>
                    <a:pt x="263" y="430"/>
                  </a:lnTo>
                  <a:lnTo>
                    <a:pt x="268" y="428"/>
                  </a:lnTo>
                  <a:lnTo>
                    <a:pt x="274" y="426"/>
                  </a:lnTo>
                  <a:lnTo>
                    <a:pt x="279" y="422"/>
                  </a:lnTo>
                  <a:lnTo>
                    <a:pt x="284" y="419"/>
                  </a:lnTo>
                  <a:lnTo>
                    <a:pt x="287" y="415"/>
                  </a:lnTo>
                  <a:lnTo>
                    <a:pt x="290" y="410"/>
                  </a:lnTo>
                  <a:lnTo>
                    <a:pt x="290" y="410"/>
                  </a:lnTo>
                  <a:lnTo>
                    <a:pt x="294" y="401"/>
                  </a:lnTo>
                  <a:lnTo>
                    <a:pt x="295" y="393"/>
                  </a:lnTo>
                  <a:lnTo>
                    <a:pt x="296" y="385"/>
                  </a:lnTo>
                  <a:lnTo>
                    <a:pt x="294" y="376"/>
                  </a:lnTo>
                  <a:lnTo>
                    <a:pt x="292" y="369"/>
                  </a:lnTo>
                  <a:lnTo>
                    <a:pt x="288" y="361"/>
                  </a:lnTo>
                  <a:lnTo>
                    <a:pt x="281" y="355"/>
                  </a:lnTo>
                  <a:lnTo>
                    <a:pt x="274" y="349"/>
                  </a:lnTo>
                  <a:lnTo>
                    <a:pt x="176" y="292"/>
                  </a:lnTo>
                  <a:lnTo>
                    <a:pt x="176" y="292"/>
                  </a:lnTo>
                  <a:lnTo>
                    <a:pt x="188" y="276"/>
                  </a:lnTo>
                  <a:lnTo>
                    <a:pt x="200" y="260"/>
                  </a:lnTo>
                  <a:lnTo>
                    <a:pt x="214" y="245"/>
                  </a:lnTo>
                  <a:lnTo>
                    <a:pt x="228" y="231"/>
                  </a:lnTo>
                  <a:lnTo>
                    <a:pt x="301" y="318"/>
                  </a:lnTo>
                  <a:lnTo>
                    <a:pt x="301" y="318"/>
                  </a:lnTo>
                  <a:lnTo>
                    <a:pt x="307" y="325"/>
                  </a:lnTo>
                  <a:lnTo>
                    <a:pt x="316" y="330"/>
                  </a:lnTo>
                  <a:lnTo>
                    <a:pt x="324" y="333"/>
                  </a:lnTo>
                  <a:lnTo>
                    <a:pt x="334" y="334"/>
                  </a:lnTo>
                  <a:lnTo>
                    <a:pt x="334" y="334"/>
                  </a:lnTo>
                  <a:lnTo>
                    <a:pt x="342" y="333"/>
                  </a:lnTo>
                  <a:lnTo>
                    <a:pt x="349" y="331"/>
                  </a:lnTo>
                  <a:lnTo>
                    <a:pt x="356" y="328"/>
                  </a:lnTo>
                  <a:lnTo>
                    <a:pt x="362" y="324"/>
                  </a:lnTo>
                  <a:lnTo>
                    <a:pt x="362" y="324"/>
                  </a:lnTo>
                  <a:lnTo>
                    <a:pt x="368" y="317"/>
                  </a:lnTo>
                  <a:lnTo>
                    <a:pt x="373" y="310"/>
                  </a:lnTo>
                  <a:lnTo>
                    <a:pt x="376" y="302"/>
                  </a:lnTo>
                  <a:lnTo>
                    <a:pt x="378" y="293"/>
                  </a:lnTo>
                  <a:lnTo>
                    <a:pt x="378" y="286"/>
                  </a:lnTo>
                  <a:lnTo>
                    <a:pt x="376" y="277"/>
                  </a:lnTo>
                  <a:lnTo>
                    <a:pt x="373" y="269"/>
                  </a:lnTo>
                  <a:lnTo>
                    <a:pt x="367" y="262"/>
                  </a:lnTo>
                  <a:lnTo>
                    <a:pt x="294" y="174"/>
                  </a:lnTo>
                  <a:lnTo>
                    <a:pt x="294" y="174"/>
                  </a:lnTo>
                  <a:lnTo>
                    <a:pt x="311" y="163"/>
                  </a:lnTo>
                  <a:lnTo>
                    <a:pt x="329" y="153"/>
                  </a:lnTo>
                  <a:lnTo>
                    <a:pt x="346" y="143"/>
                  </a:lnTo>
                  <a:lnTo>
                    <a:pt x="364" y="134"/>
                  </a:lnTo>
                  <a:lnTo>
                    <a:pt x="403" y="242"/>
                  </a:lnTo>
                  <a:lnTo>
                    <a:pt x="403" y="242"/>
                  </a:lnTo>
                  <a:lnTo>
                    <a:pt x="406" y="248"/>
                  </a:lnTo>
                  <a:lnTo>
                    <a:pt x="409" y="254"/>
                  </a:lnTo>
                  <a:lnTo>
                    <a:pt x="414" y="258"/>
                  </a:lnTo>
                  <a:lnTo>
                    <a:pt x="419" y="262"/>
                  </a:lnTo>
                  <a:lnTo>
                    <a:pt x="425" y="265"/>
                  </a:lnTo>
                  <a:lnTo>
                    <a:pt x="431" y="269"/>
                  </a:lnTo>
                  <a:lnTo>
                    <a:pt x="437" y="270"/>
                  </a:lnTo>
                  <a:lnTo>
                    <a:pt x="444" y="271"/>
                  </a:lnTo>
                  <a:lnTo>
                    <a:pt x="444" y="271"/>
                  </a:lnTo>
                  <a:lnTo>
                    <a:pt x="451" y="270"/>
                  </a:lnTo>
                  <a:lnTo>
                    <a:pt x="459" y="268"/>
                  </a:lnTo>
                  <a:lnTo>
                    <a:pt x="459" y="268"/>
                  </a:lnTo>
                  <a:lnTo>
                    <a:pt x="467" y="264"/>
                  </a:lnTo>
                  <a:lnTo>
                    <a:pt x="474" y="259"/>
                  </a:lnTo>
                  <a:lnTo>
                    <a:pt x="479" y="253"/>
                  </a:lnTo>
                  <a:lnTo>
                    <a:pt x="484" y="245"/>
                  </a:lnTo>
                  <a:lnTo>
                    <a:pt x="487" y="238"/>
                  </a:lnTo>
                  <a:lnTo>
                    <a:pt x="488" y="229"/>
                  </a:lnTo>
                  <a:lnTo>
                    <a:pt x="488" y="220"/>
                  </a:lnTo>
                  <a:lnTo>
                    <a:pt x="486" y="212"/>
                  </a:lnTo>
                  <a:lnTo>
                    <a:pt x="446" y="104"/>
                  </a:lnTo>
                  <a:lnTo>
                    <a:pt x="446" y="104"/>
                  </a:lnTo>
                  <a:lnTo>
                    <a:pt x="465" y="100"/>
                  </a:lnTo>
                  <a:lnTo>
                    <a:pt x="486" y="96"/>
                  </a:lnTo>
                  <a:lnTo>
                    <a:pt x="505" y="92"/>
                  </a:lnTo>
                  <a:lnTo>
                    <a:pt x="525" y="90"/>
                  </a:lnTo>
                  <a:lnTo>
                    <a:pt x="525" y="204"/>
                  </a:lnTo>
                  <a:lnTo>
                    <a:pt x="525" y="204"/>
                  </a:lnTo>
                  <a:lnTo>
                    <a:pt x="527" y="213"/>
                  </a:lnTo>
                  <a:lnTo>
                    <a:pt x="529" y="221"/>
                  </a:lnTo>
                  <a:lnTo>
                    <a:pt x="533" y="229"/>
                  </a:lnTo>
                  <a:lnTo>
                    <a:pt x="538" y="235"/>
                  </a:lnTo>
                  <a:lnTo>
                    <a:pt x="545" y="241"/>
                  </a:lnTo>
                  <a:lnTo>
                    <a:pt x="552" y="245"/>
                  </a:lnTo>
                  <a:lnTo>
                    <a:pt x="561" y="247"/>
                  </a:lnTo>
                  <a:lnTo>
                    <a:pt x="570" y="248"/>
                  </a:lnTo>
                  <a:lnTo>
                    <a:pt x="570" y="248"/>
                  </a:lnTo>
                  <a:lnTo>
                    <a:pt x="578" y="247"/>
                  </a:lnTo>
                  <a:lnTo>
                    <a:pt x="587" y="245"/>
                  </a:lnTo>
                  <a:lnTo>
                    <a:pt x="594" y="241"/>
                  </a:lnTo>
                  <a:lnTo>
                    <a:pt x="601" y="235"/>
                  </a:lnTo>
                  <a:lnTo>
                    <a:pt x="606" y="229"/>
                  </a:lnTo>
                  <a:lnTo>
                    <a:pt x="609" y="221"/>
                  </a:lnTo>
                  <a:lnTo>
                    <a:pt x="613" y="213"/>
                  </a:lnTo>
                  <a:lnTo>
                    <a:pt x="614" y="204"/>
                  </a:lnTo>
                  <a:lnTo>
                    <a:pt x="614" y="90"/>
                  </a:lnTo>
                  <a:lnTo>
                    <a:pt x="614" y="90"/>
                  </a:lnTo>
                  <a:lnTo>
                    <a:pt x="633" y="92"/>
                  </a:lnTo>
                  <a:lnTo>
                    <a:pt x="653" y="96"/>
                  </a:lnTo>
                  <a:lnTo>
                    <a:pt x="673" y="100"/>
                  </a:lnTo>
                  <a:lnTo>
                    <a:pt x="692" y="104"/>
                  </a:lnTo>
                  <a:lnTo>
                    <a:pt x="653" y="212"/>
                  </a:lnTo>
                  <a:lnTo>
                    <a:pt x="653" y="212"/>
                  </a:lnTo>
                  <a:lnTo>
                    <a:pt x="651" y="220"/>
                  </a:lnTo>
                  <a:lnTo>
                    <a:pt x="651" y="229"/>
                  </a:lnTo>
                  <a:lnTo>
                    <a:pt x="652" y="238"/>
                  </a:lnTo>
                  <a:lnTo>
                    <a:pt x="655" y="245"/>
                  </a:lnTo>
                  <a:lnTo>
                    <a:pt x="659" y="253"/>
                  </a:lnTo>
                  <a:lnTo>
                    <a:pt x="665" y="259"/>
                  </a:lnTo>
                  <a:lnTo>
                    <a:pt x="672" y="264"/>
                  </a:lnTo>
                  <a:lnTo>
                    <a:pt x="679" y="268"/>
                  </a:lnTo>
                  <a:lnTo>
                    <a:pt x="679" y="268"/>
                  </a:lnTo>
                  <a:lnTo>
                    <a:pt x="687" y="270"/>
                  </a:lnTo>
                  <a:lnTo>
                    <a:pt x="694" y="271"/>
                  </a:lnTo>
                  <a:lnTo>
                    <a:pt x="694" y="271"/>
                  </a:lnTo>
                  <a:lnTo>
                    <a:pt x="702" y="270"/>
                  </a:lnTo>
                  <a:lnTo>
                    <a:pt x="708" y="269"/>
                  </a:lnTo>
                  <a:lnTo>
                    <a:pt x="714" y="265"/>
                  </a:lnTo>
                  <a:lnTo>
                    <a:pt x="720" y="262"/>
                  </a:lnTo>
                  <a:lnTo>
                    <a:pt x="724" y="258"/>
                  </a:lnTo>
                  <a:lnTo>
                    <a:pt x="730" y="254"/>
                  </a:lnTo>
                  <a:lnTo>
                    <a:pt x="733" y="248"/>
                  </a:lnTo>
                  <a:lnTo>
                    <a:pt x="736" y="242"/>
                  </a:lnTo>
                  <a:lnTo>
                    <a:pt x="775" y="134"/>
                  </a:lnTo>
                  <a:lnTo>
                    <a:pt x="775" y="134"/>
                  </a:lnTo>
                  <a:lnTo>
                    <a:pt x="793" y="143"/>
                  </a:lnTo>
                  <a:lnTo>
                    <a:pt x="810" y="153"/>
                  </a:lnTo>
                  <a:lnTo>
                    <a:pt x="828" y="163"/>
                  </a:lnTo>
                  <a:lnTo>
                    <a:pt x="845" y="174"/>
                  </a:lnTo>
                  <a:lnTo>
                    <a:pt x="772" y="262"/>
                  </a:lnTo>
                  <a:lnTo>
                    <a:pt x="772" y="262"/>
                  </a:lnTo>
                  <a:lnTo>
                    <a:pt x="766" y="269"/>
                  </a:lnTo>
                  <a:lnTo>
                    <a:pt x="763" y="277"/>
                  </a:lnTo>
                  <a:lnTo>
                    <a:pt x="761" y="286"/>
                  </a:lnTo>
                  <a:lnTo>
                    <a:pt x="761" y="293"/>
                  </a:lnTo>
                  <a:lnTo>
                    <a:pt x="763" y="302"/>
                  </a:lnTo>
                  <a:lnTo>
                    <a:pt x="765" y="310"/>
                  </a:lnTo>
                  <a:lnTo>
                    <a:pt x="771" y="317"/>
                  </a:lnTo>
                  <a:lnTo>
                    <a:pt x="777" y="324"/>
                  </a:lnTo>
                  <a:lnTo>
                    <a:pt x="777" y="324"/>
                  </a:lnTo>
                  <a:lnTo>
                    <a:pt x="784" y="328"/>
                  </a:lnTo>
                  <a:lnTo>
                    <a:pt x="790" y="331"/>
                  </a:lnTo>
                  <a:lnTo>
                    <a:pt x="798" y="333"/>
                  </a:lnTo>
                  <a:lnTo>
                    <a:pt x="805" y="334"/>
                  </a:lnTo>
                  <a:lnTo>
                    <a:pt x="805" y="334"/>
                  </a:lnTo>
                  <a:lnTo>
                    <a:pt x="814" y="333"/>
                  </a:lnTo>
                  <a:lnTo>
                    <a:pt x="823" y="330"/>
                  </a:lnTo>
                  <a:lnTo>
                    <a:pt x="831" y="325"/>
                  </a:lnTo>
                  <a:lnTo>
                    <a:pt x="838" y="318"/>
                  </a:lnTo>
                  <a:lnTo>
                    <a:pt x="912" y="231"/>
                  </a:lnTo>
                  <a:lnTo>
                    <a:pt x="912" y="231"/>
                  </a:lnTo>
                  <a:lnTo>
                    <a:pt x="925" y="245"/>
                  </a:lnTo>
                  <a:lnTo>
                    <a:pt x="938" y="260"/>
                  </a:lnTo>
                  <a:lnTo>
                    <a:pt x="951" y="276"/>
                  </a:lnTo>
                  <a:lnTo>
                    <a:pt x="963" y="292"/>
                  </a:lnTo>
                  <a:lnTo>
                    <a:pt x="864" y="349"/>
                  </a:lnTo>
                  <a:lnTo>
                    <a:pt x="864" y="349"/>
                  </a:lnTo>
                  <a:lnTo>
                    <a:pt x="858" y="355"/>
                  </a:lnTo>
                  <a:lnTo>
                    <a:pt x="851" y="361"/>
                  </a:lnTo>
                  <a:lnTo>
                    <a:pt x="847" y="369"/>
                  </a:lnTo>
                  <a:lnTo>
                    <a:pt x="844" y="376"/>
                  </a:lnTo>
                  <a:lnTo>
                    <a:pt x="843" y="385"/>
                  </a:lnTo>
                  <a:lnTo>
                    <a:pt x="843" y="393"/>
                  </a:lnTo>
                  <a:lnTo>
                    <a:pt x="845" y="401"/>
                  </a:lnTo>
                  <a:lnTo>
                    <a:pt x="848" y="410"/>
                  </a:lnTo>
                  <a:lnTo>
                    <a:pt x="848" y="410"/>
                  </a:lnTo>
                  <a:lnTo>
                    <a:pt x="852" y="415"/>
                  </a:lnTo>
                  <a:lnTo>
                    <a:pt x="856" y="419"/>
                  </a:lnTo>
                  <a:lnTo>
                    <a:pt x="860" y="422"/>
                  </a:lnTo>
                  <a:lnTo>
                    <a:pt x="865" y="426"/>
                  </a:lnTo>
                  <a:lnTo>
                    <a:pt x="870" y="428"/>
                  </a:lnTo>
                  <a:lnTo>
                    <a:pt x="875" y="430"/>
                  </a:lnTo>
                  <a:lnTo>
                    <a:pt x="881" y="431"/>
                  </a:lnTo>
                  <a:lnTo>
                    <a:pt x="887" y="431"/>
                  </a:lnTo>
                  <a:lnTo>
                    <a:pt x="887" y="431"/>
                  </a:lnTo>
                  <a:lnTo>
                    <a:pt x="892" y="431"/>
                  </a:lnTo>
                  <a:lnTo>
                    <a:pt x="898" y="430"/>
                  </a:lnTo>
                  <a:lnTo>
                    <a:pt x="903" y="428"/>
                  </a:lnTo>
                  <a:lnTo>
                    <a:pt x="908" y="426"/>
                  </a:lnTo>
                  <a:lnTo>
                    <a:pt x="1007" y="369"/>
                  </a:lnTo>
                  <a:lnTo>
                    <a:pt x="1007" y="369"/>
                  </a:lnTo>
                  <a:lnTo>
                    <a:pt x="1016" y="387"/>
                  </a:lnTo>
                  <a:lnTo>
                    <a:pt x="1022" y="405"/>
                  </a:lnTo>
                  <a:lnTo>
                    <a:pt x="1030" y="425"/>
                  </a:lnTo>
                  <a:lnTo>
                    <a:pt x="1035" y="444"/>
                  </a:lnTo>
                  <a:lnTo>
                    <a:pt x="922" y="463"/>
                  </a:lnTo>
                  <a:lnTo>
                    <a:pt x="922" y="463"/>
                  </a:lnTo>
                  <a:lnTo>
                    <a:pt x="914" y="466"/>
                  </a:lnTo>
                  <a:lnTo>
                    <a:pt x="906" y="470"/>
                  </a:lnTo>
                  <a:lnTo>
                    <a:pt x="900" y="475"/>
                  </a:lnTo>
                  <a:lnTo>
                    <a:pt x="894" y="482"/>
                  </a:lnTo>
                  <a:lnTo>
                    <a:pt x="890" y="489"/>
                  </a:lnTo>
                  <a:lnTo>
                    <a:pt x="888" y="498"/>
                  </a:lnTo>
                  <a:lnTo>
                    <a:pt x="886" y="505"/>
                  </a:lnTo>
                  <a:lnTo>
                    <a:pt x="887" y="515"/>
                  </a:lnTo>
                  <a:lnTo>
                    <a:pt x="887" y="515"/>
                  </a:lnTo>
                  <a:lnTo>
                    <a:pt x="889" y="522"/>
                  </a:lnTo>
                  <a:lnTo>
                    <a:pt x="892" y="529"/>
                  </a:lnTo>
                  <a:lnTo>
                    <a:pt x="896" y="535"/>
                  </a:lnTo>
                  <a:lnTo>
                    <a:pt x="902" y="541"/>
                  </a:lnTo>
                  <a:lnTo>
                    <a:pt x="908" y="545"/>
                  </a:lnTo>
                  <a:lnTo>
                    <a:pt x="915" y="548"/>
                  </a:lnTo>
                  <a:lnTo>
                    <a:pt x="922" y="550"/>
                  </a:lnTo>
                  <a:lnTo>
                    <a:pt x="930" y="550"/>
                  </a:lnTo>
                  <a:lnTo>
                    <a:pt x="930" y="550"/>
                  </a:lnTo>
                  <a:lnTo>
                    <a:pt x="937" y="550"/>
                  </a:lnTo>
                  <a:lnTo>
                    <a:pt x="1050" y="530"/>
                  </a:lnTo>
                  <a:lnTo>
                    <a:pt x="1050" y="530"/>
                  </a:lnTo>
                  <a:lnTo>
                    <a:pt x="1051" y="550"/>
                  </a:lnTo>
                  <a:lnTo>
                    <a:pt x="1052" y="571"/>
                  </a:lnTo>
                  <a:lnTo>
                    <a:pt x="1052" y="571"/>
                  </a:lnTo>
                  <a:lnTo>
                    <a:pt x="1051" y="591"/>
                  </a:lnTo>
                  <a:lnTo>
                    <a:pt x="1050" y="611"/>
                  </a:lnTo>
                  <a:lnTo>
                    <a:pt x="937" y="591"/>
                  </a:lnTo>
                  <a:lnTo>
                    <a:pt x="937" y="591"/>
                  </a:lnTo>
                  <a:lnTo>
                    <a:pt x="929" y="590"/>
                  </a:lnTo>
                  <a:lnTo>
                    <a:pt x="920" y="591"/>
                  </a:lnTo>
                  <a:lnTo>
                    <a:pt x="913" y="594"/>
                  </a:lnTo>
                  <a:lnTo>
                    <a:pt x="905" y="599"/>
                  </a:lnTo>
                  <a:lnTo>
                    <a:pt x="899" y="604"/>
                  </a:lnTo>
                  <a:lnTo>
                    <a:pt x="893" y="611"/>
                  </a:lnTo>
                  <a:lnTo>
                    <a:pt x="889" y="618"/>
                  </a:lnTo>
                  <a:lnTo>
                    <a:pt x="887" y="627"/>
                  </a:lnTo>
                  <a:lnTo>
                    <a:pt x="887" y="627"/>
                  </a:lnTo>
                  <a:lnTo>
                    <a:pt x="886" y="635"/>
                  </a:lnTo>
                  <a:lnTo>
                    <a:pt x="888" y="644"/>
                  </a:lnTo>
                  <a:lnTo>
                    <a:pt x="890" y="652"/>
                  </a:lnTo>
                  <a:lnTo>
                    <a:pt x="894" y="659"/>
                  </a:lnTo>
                  <a:lnTo>
                    <a:pt x="900" y="665"/>
                  </a:lnTo>
                  <a:lnTo>
                    <a:pt x="906" y="671"/>
                  </a:lnTo>
                  <a:lnTo>
                    <a:pt x="914" y="675"/>
                  </a:lnTo>
                  <a:lnTo>
                    <a:pt x="922" y="677"/>
                  </a:lnTo>
                  <a:lnTo>
                    <a:pt x="922" y="6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spcBef>
                  <a:spcPts val="0"/>
                </a:spcBef>
                <a:spcAft>
                  <a:spcPts val="0"/>
                </a:spcAft>
              </a:pPr>
              <a:endParaRPr lang="fr-FR" sz="1350">
                <a:solidFill>
                  <a:prstClr val="black"/>
                </a:solidFill>
                <a:latin typeface="Calibri" panose="020F0502020204030204"/>
              </a:endParaRPr>
            </a:p>
          </p:txBody>
        </p:sp>
      </p:grpSp>
      <p:grpSp>
        <p:nvGrpSpPr>
          <p:cNvPr id="10" name="Group 2">
            <a:extLst/>
          </p:cNvPr>
          <p:cNvGrpSpPr>
            <a:grpSpLocks noChangeAspect="1"/>
          </p:cNvGrpSpPr>
          <p:nvPr/>
        </p:nvGrpSpPr>
        <p:grpSpPr>
          <a:xfrm>
            <a:off x="5883627" y="4405798"/>
            <a:ext cx="190556" cy="216000"/>
            <a:chOff x="5173663" y="2228851"/>
            <a:chExt cx="558800" cy="633413"/>
          </a:xfrm>
          <a:solidFill>
            <a:schemeClr val="bg1">
              <a:lumMod val="95000"/>
            </a:schemeClr>
          </a:solidFill>
        </p:grpSpPr>
        <p:sp>
          <p:nvSpPr>
            <p:cNvPr id="11" name="Freeform 12">
              <a:extLst/>
            </p:cNvPr>
            <p:cNvSpPr>
              <a:spLocks noEditPoints="1"/>
            </p:cNvSpPr>
            <p:nvPr/>
          </p:nvSpPr>
          <p:spPr bwMode="auto">
            <a:xfrm>
              <a:off x="5173663" y="2606676"/>
              <a:ext cx="252412" cy="255588"/>
            </a:xfrm>
            <a:custGeom>
              <a:avLst/>
              <a:gdLst>
                <a:gd name="T0" fmla="*/ 84 w 89"/>
                <a:gd name="T1" fmla="*/ 35 h 90"/>
                <a:gd name="T2" fmla="*/ 42 w 89"/>
                <a:gd name="T3" fmla="*/ 7 h 90"/>
                <a:gd name="T4" fmla="*/ 24 w 89"/>
                <a:gd name="T5" fmla="*/ 12 h 90"/>
                <a:gd name="T6" fmla="*/ 5 w 89"/>
                <a:gd name="T7" fmla="*/ 40 h 90"/>
                <a:gd name="T8" fmla="*/ 6 w 89"/>
                <a:gd name="T9" fmla="*/ 58 h 90"/>
                <a:gd name="T10" fmla="*/ 49 w 89"/>
                <a:gd name="T11" fmla="*/ 86 h 90"/>
                <a:gd name="T12" fmla="*/ 65 w 89"/>
                <a:gd name="T13" fmla="*/ 81 h 90"/>
                <a:gd name="T14" fmla="*/ 85 w 89"/>
                <a:gd name="T15" fmla="*/ 52 h 90"/>
                <a:gd name="T16" fmla="*/ 84 w 89"/>
                <a:gd name="T17" fmla="*/ 35 h 90"/>
                <a:gd name="T18" fmla="*/ 33 w 89"/>
                <a:gd name="T19" fmla="*/ 63 h 90"/>
                <a:gd name="T20" fmla="*/ 45 w 89"/>
                <a:gd name="T21" fmla="*/ 63 h 90"/>
                <a:gd name="T22" fmla="*/ 37 w 89"/>
                <a:gd name="T23" fmla="*/ 74 h 90"/>
                <a:gd name="T24" fmla="*/ 33 w 89"/>
                <a:gd name="T25" fmla="*/ 63 h 90"/>
                <a:gd name="T26" fmla="*/ 42 w 89"/>
                <a:gd name="T27" fmla="*/ 77 h 90"/>
                <a:gd name="T28" fmla="*/ 49 w 89"/>
                <a:gd name="T29" fmla="*/ 66 h 90"/>
                <a:gd name="T30" fmla="*/ 53 w 89"/>
                <a:gd name="T31" fmla="*/ 77 h 90"/>
                <a:gd name="T32" fmla="*/ 42 w 89"/>
                <a:gd name="T33" fmla="*/ 77 h 90"/>
                <a:gd name="T34" fmla="*/ 62 w 89"/>
                <a:gd name="T35" fmla="*/ 69 h 90"/>
                <a:gd name="T36" fmla="*/ 18 w 89"/>
                <a:gd name="T37" fmla="*/ 39 h 90"/>
                <a:gd name="T38" fmla="*/ 34 w 89"/>
                <a:gd name="T39" fmla="*/ 15 h 90"/>
                <a:gd name="T40" fmla="*/ 78 w 89"/>
                <a:gd name="T41" fmla="*/ 45 h 90"/>
                <a:gd name="T42" fmla="*/ 62 w 89"/>
                <a:gd name="T43" fmla="*/ 69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90">
                  <a:moveTo>
                    <a:pt x="84" y="35"/>
                  </a:moveTo>
                  <a:cubicBezTo>
                    <a:pt x="42" y="7"/>
                    <a:pt x="42" y="7"/>
                    <a:pt x="42" y="7"/>
                  </a:cubicBezTo>
                  <a:cubicBezTo>
                    <a:pt x="42" y="7"/>
                    <a:pt x="32" y="0"/>
                    <a:pt x="24" y="12"/>
                  </a:cubicBezTo>
                  <a:cubicBezTo>
                    <a:pt x="5" y="40"/>
                    <a:pt x="5" y="40"/>
                    <a:pt x="5" y="40"/>
                  </a:cubicBezTo>
                  <a:cubicBezTo>
                    <a:pt x="0" y="46"/>
                    <a:pt x="1" y="54"/>
                    <a:pt x="6" y="58"/>
                  </a:cubicBezTo>
                  <a:cubicBezTo>
                    <a:pt x="49" y="86"/>
                    <a:pt x="49" y="86"/>
                    <a:pt x="49" y="86"/>
                  </a:cubicBezTo>
                  <a:cubicBezTo>
                    <a:pt x="54" y="90"/>
                    <a:pt x="61" y="87"/>
                    <a:pt x="65" y="81"/>
                  </a:cubicBezTo>
                  <a:cubicBezTo>
                    <a:pt x="85" y="52"/>
                    <a:pt x="85" y="52"/>
                    <a:pt x="85" y="52"/>
                  </a:cubicBezTo>
                  <a:cubicBezTo>
                    <a:pt x="89" y="46"/>
                    <a:pt x="89" y="38"/>
                    <a:pt x="84" y="35"/>
                  </a:cubicBezTo>
                  <a:close/>
                  <a:moveTo>
                    <a:pt x="33" y="63"/>
                  </a:moveTo>
                  <a:cubicBezTo>
                    <a:pt x="45" y="63"/>
                    <a:pt x="45" y="63"/>
                    <a:pt x="45" y="63"/>
                  </a:cubicBezTo>
                  <a:cubicBezTo>
                    <a:pt x="37" y="74"/>
                    <a:pt x="37" y="74"/>
                    <a:pt x="37" y="74"/>
                  </a:cubicBezTo>
                  <a:lnTo>
                    <a:pt x="33" y="63"/>
                  </a:lnTo>
                  <a:close/>
                  <a:moveTo>
                    <a:pt x="42" y="77"/>
                  </a:moveTo>
                  <a:cubicBezTo>
                    <a:pt x="49" y="66"/>
                    <a:pt x="49" y="66"/>
                    <a:pt x="49" y="66"/>
                  </a:cubicBezTo>
                  <a:cubicBezTo>
                    <a:pt x="53" y="77"/>
                    <a:pt x="53" y="77"/>
                    <a:pt x="53" y="77"/>
                  </a:cubicBezTo>
                  <a:lnTo>
                    <a:pt x="42" y="77"/>
                  </a:lnTo>
                  <a:close/>
                  <a:moveTo>
                    <a:pt x="62" y="69"/>
                  </a:moveTo>
                  <a:cubicBezTo>
                    <a:pt x="18" y="39"/>
                    <a:pt x="18" y="39"/>
                    <a:pt x="18" y="39"/>
                  </a:cubicBezTo>
                  <a:cubicBezTo>
                    <a:pt x="34" y="15"/>
                    <a:pt x="34" y="15"/>
                    <a:pt x="34" y="15"/>
                  </a:cubicBezTo>
                  <a:cubicBezTo>
                    <a:pt x="78" y="45"/>
                    <a:pt x="78" y="45"/>
                    <a:pt x="78" y="45"/>
                  </a:cubicBezTo>
                  <a:lnTo>
                    <a:pt x="62" y="6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fontAlgn="auto">
                <a:spcBef>
                  <a:spcPts val="0"/>
                </a:spcBef>
                <a:spcAft>
                  <a:spcPts val="0"/>
                </a:spcAft>
              </a:pPr>
              <a:endParaRPr lang="en-US" sz="1350">
                <a:solidFill>
                  <a:prstClr val="black"/>
                </a:solidFill>
                <a:latin typeface="Calibri" panose="020F0502020204030204"/>
              </a:endParaRPr>
            </a:p>
          </p:txBody>
        </p:sp>
        <p:sp>
          <p:nvSpPr>
            <p:cNvPr id="12" name="Freeform 13">
              <a:extLst/>
            </p:cNvPr>
            <p:cNvSpPr>
              <a:spLocks/>
            </p:cNvSpPr>
            <p:nvPr/>
          </p:nvSpPr>
          <p:spPr bwMode="auto">
            <a:xfrm>
              <a:off x="5287963" y="2228851"/>
              <a:ext cx="444500" cy="468313"/>
            </a:xfrm>
            <a:custGeom>
              <a:avLst/>
              <a:gdLst>
                <a:gd name="T0" fmla="*/ 150 w 157"/>
                <a:gd name="T1" fmla="*/ 63 h 166"/>
                <a:gd name="T2" fmla="*/ 150 w 157"/>
                <a:gd name="T3" fmla="*/ 50 h 166"/>
                <a:gd name="T4" fmla="*/ 136 w 157"/>
                <a:gd name="T5" fmla="*/ 50 h 166"/>
                <a:gd name="T6" fmla="*/ 97 w 157"/>
                <a:gd name="T7" fmla="*/ 87 h 166"/>
                <a:gd name="T8" fmla="*/ 95 w 157"/>
                <a:gd name="T9" fmla="*/ 82 h 166"/>
                <a:gd name="T10" fmla="*/ 128 w 157"/>
                <a:gd name="T11" fmla="*/ 31 h 166"/>
                <a:gd name="T12" fmla="*/ 125 w 157"/>
                <a:gd name="T13" fmla="*/ 17 h 166"/>
                <a:gd name="T14" fmla="*/ 110 w 157"/>
                <a:gd name="T15" fmla="*/ 21 h 166"/>
                <a:gd name="T16" fmla="*/ 78 w 157"/>
                <a:gd name="T17" fmla="*/ 67 h 166"/>
                <a:gd name="T18" fmla="*/ 72 w 157"/>
                <a:gd name="T19" fmla="*/ 64 h 166"/>
                <a:gd name="T20" fmla="*/ 84 w 157"/>
                <a:gd name="T21" fmla="*/ 16 h 166"/>
                <a:gd name="T22" fmla="*/ 77 w 157"/>
                <a:gd name="T23" fmla="*/ 3 h 166"/>
                <a:gd name="T24" fmla="*/ 66 w 157"/>
                <a:gd name="T25" fmla="*/ 13 h 166"/>
                <a:gd name="T26" fmla="*/ 51 w 157"/>
                <a:gd name="T27" fmla="*/ 56 h 166"/>
                <a:gd name="T28" fmla="*/ 42 w 157"/>
                <a:gd name="T29" fmla="*/ 59 h 166"/>
                <a:gd name="T30" fmla="*/ 43 w 157"/>
                <a:gd name="T31" fmla="*/ 17 h 166"/>
                <a:gd name="T32" fmla="*/ 32 w 157"/>
                <a:gd name="T33" fmla="*/ 9 h 166"/>
                <a:gd name="T34" fmla="*/ 25 w 157"/>
                <a:gd name="T35" fmla="*/ 20 h 166"/>
                <a:gd name="T36" fmla="*/ 23 w 157"/>
                <a:gd name="T37" fmla="*/ 58 h 166"/>
                <a:gd name="T38" fmla="*/ 18 w 157"/>
                <a:gd name="T39" fmla="*/ 70 h 166"/>
                <a:gd name="T40" fmla="*/ 33 w 157"/>
                <a:gd name="T41" fmla="*/ 85 h 166"/>
                <a:gd name="T42" fmla="*/ 19 w 157"/>
                <a:gd name="T43" fmla="*/ 115 h 166"/>
                <a:gd name="T44" fmla="*/ 0 w 157"/>
                <a:gd name="T45" fmla="*/ 114 h 166"/>
                <a:gd name="T46" fmla="*/ 18 w 157"/>
                <a:gd name="T47" fmla="*/ 144 h 166"/>
                <a:gd name="T48" fmla="*/ 35 w 157"/>
                <a:gd name="T49" fmla="*/ 156 h 166"/>
                <a:gd name="T50" fmla="*/ 65 w 157"/>
                <a:gd name="T51" fmla="*/ 165 h 166"/>
                <a:gd name="T52" fmla="*/ 135 w 157"/>
                <a:gd name="T53" fmla="*/ 155 h 166"/>
                <a:gd name="T54" fmla="*/ 136 w 157"/>
                <a:gd name="T55" fmla="*/ 140 h 166"/>
                <a:gd name="T56" fmla="*/ 97 w 157"/>
                <a:gd name="T57" fmla="*/ 136 h 166"/>
                <a:gd name="T58" fmla="*/ 91 w 157"/>
                <a:gd name="T59" fmla="*/ 120 h 166"/>
                <a:gd name="T60" fmla="*/ 150 w 157"/>
                <a:gd name="T61" fmla="*/ 63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7" h="166">
                  <a:moveTo>
                    <a:pt x="150" y="63"/>
                  </a:moveTo>
                  <a:cubicBezTo>
                    <a:pt x="157" y="56"/>
                    <a:pt x="150" y="50"/>
                    <a:pt x="150" y="50"/>
                  </a:cubicBezTo>
                  <a:cubicBezTo>
                    <a:pt x="144" y="43"/>
                    <a:pt x="136" y="50"/>
                    <a:pt x="136" y="50"/>
                  </a:cubicBezTo>
                  <a:cubicBezTo>
                    <a:pt x="98" y="89"/>
                    <a:pt x="97" y="86"/>
                    <a:pt x="97" y="87"/>
                  </a:cubicBezTo>
                  <a:cubicBezTo>
                    <a:pt x="97" y="87"/>
                    <a:pt x="92" y="87"/>
                    <a:pt x="95" y="82"/>
                  </a:cubicBezTo>
                  <a:cubicBezTo>
                    <a:pt x="97" y="77"/>
                    <a:pt x="128" y="31"/>
                    <a:pt x="128" y="31"/>
                  </a:cubicBezTo>
                  <a:cubicBezTo>
                    <a:pt x="128" y="31"/>
                    <a:pt x="133" y="22"/>
                    <a:pt x="125" y="17"/>
                  </a:cubicBezTo>
                  <a:cubicBezTo>
                    <a:pt x="125" y="17"/>
                    <a:pt x="118" y="10"/>
                    <a:pt x="110" y="21"/>
                  </a:cubicBezTo>
                  <a:cubicBezTo>
                    <a:pt x="78" y="67"/>
                    <a:pt x="78" y="67"/>
                    <a:pt x="78" y="67"/>
                  </a:cubicBezTo>
                  <a:cubicBezTo>
                    <a:pt x="78" y="67"/>
                    <a:pt x="70" y="71"/>
                    <a:pt x="72" y="64"/>
                  </a:cubicBezTo>
                  <a:cubicBezTo>
                    <a:pt x="84" y="16"/>
                    <a:pt x="84" y="16"/>
                    <a:pt x="84" y="16"/>
                  </a:cubicBezTo>
                  <a:cubicBezTo>
                    <a:pt x="84" y="16"/>
                    <a:pt x="88" y="4"/>
                    <a:pt x="77" y="3"/>
                  </a:cubicBezTo>
                  <a:cubicBezTo>
                    <a:pt x="77" y="3"/>
                    <a:pt x="71" y="0"/>
                    <a:pt x="66" y="13"/>
                  </a:cubicBezTo>
                  <a:cubicBezTo>
                    <a:pt x="51" y="56"/>
                    <a:pt x="51" y="56"/>
                    <a:pt x="51" y="56"/>
                  </a:cubicBezTo>
                  <a:cubicBezTo>
                    <a:pt x="51" y="56"/>
                    <a:pt x="48" y="67"/>
                    <a:pt x="42" y="59"/>
                  </a:cubicBezTo>
                  <a:cubicBezTo>
                    <a:pt x="43" y="17"/>
                    <a:pt x="43" y="17"/>
                    <a:pt x="43" y="17"/>
                  </a:cubicBezTo>
                  <a:cubicBezTo>
                    <a:pt x="43" y="17"/>
                    <a:pt x="43" y="8"/>
                    <a:pt x="32" y="9"/>
                  </a:cubicBezTo>
                  <a:cubicBezTo>
                    <a:pt x="32" y="9"/>
                    <a:pt x="25" y="11"/>
                    <a:pt x="25" y="20"/>
                  </a:cubicBezTo>
                  <a:cubicBezTo>
                    <a:pt x="23" y="58"/>
                    <a:pt x="23" y="58"/>
                    <a:pt x="23" y="58"/>
                  </a:cubicBezTo>
                  <a:cubicBezTo>
                    <a:pt x="23" y="58"/>
                    <a:pt x="23" y="64"/>
                    <a:pt x="18" y="70"/>
                  </a:cubicBezTo>
                  <a:cubicBezTo>
                    <a:pt x="25" y="73"/>
                    <a:pt x="30" y="78"/>
                    <a:pt x="33" y="85"/>
                  </a:cubicBezTo>
                  <a:cubicBezTo>
                    <a:pt x="37" y="97"/>
                    <a:pt x="31" y="111"/>
                    <a:pt x="19" y="115"/>
                  </a:cubicBezTo>
                  <a:cubicBezTo>
                    <a:pt x="12" y="118"/>
                    <a:pt x="6" y="117"/>
                    <a:pt x="0" y="114"/>
                  </a:cubicBezTo>
                  <a:cubicBezTo>
                    <a:pt x="0" y="125"/>
                    <a:pt x="5" y="136"/>
                    <a:pt x="18" y="144"/>
                  </a:cubicBezTo>
                  <a:cubicBezTo>
                    <a:pt x="35" y="156"/>
                    <a:pt x="35" y="156"/>
                    <a:pt x="35" y="156"/>
                  </a:cubicBezTo>
                  <a:cubicBezTo>
                    <a:pt x="35" y="156"/>
                    <a:pt x="49" y="166"/>
                    <a:pt x="65" y="165"/>
                  </a:cubicBezTo>
                  <a:cubicBezTo>
                    <a:pt x="65" y="165"/>
                    <a:pt x="131" y="155"/>
                    <a:pt x="135" y="155"/>
                  </a:cubicBezTo>
                  <a:cubicBezTo>
                    <a:pt x="135" y="155"/>
                    <a:pt x="145" y="148"/>
                    <a:pt x="136" y="140"/>
                  </a:cubicBezTo>
                  <a:cubicBezTo>
                    <a:pt x="127" y="132"/>
                    <a:pt x="108" y="136"/>
                    <a:pt x="97" y="136"/>
                  </a:cubicBezTo>
                  <a:cubicBezTo>
                    <a:pt x="97" y="136"/>
                    <a:pt x="82" y="131"/>
                    <a:pt x="91" y="120"/>
                  </a:cubicBezTo>
                  <a:cubicBezTo>
                    <a:pt x="91" y="120"/>
                    <a:pt x="103" y="110"/>
                    <a:pt x="150" y="6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fontAlgn="auto">
                <a:spcBef>
                  <a:spcPts val="0"/>
                </a:spcBef>
                <a:spcAft>
                  <a:spcPts val="0"/>
                </a:spcAft>
              </a:pPr>
              <a:endParaRPr lang="en-US" sz="1350">
                <a:solidFill>
                  <a:prstClr val="black"/>
                </a:solidFill>
                <a:latin typeface="Calibri" panose="020F0502020204030204"/>
              </a:endParaRPr>
            </a:p>
          </p:txBody>
        </p:sp>
        <p:sp>
          <p:nvSpPr>
            <p:cNvPr id="13" name="Freeform 14">
              <a:extLst/>
            </p:cNvPr>
            <p:cNvSpPr>
              <a:spLocks/>
            </p:cNvSpPr>
            <p:nvPr/>
          </p:nvSpPr>
          <p:spPr bwMode="auto">
            <a:xfrm>
              <a:off x="5284788" y="2460626"/>
              <a:ext cx="57150" cy="58738"/>
            </a:xfrm>
            <a:custGeom>
              <a:avLst/>
              <a:gdLst>
                <a:gd name="T0" fmla="*/ 13 w 20"/>
                <a:gd name="T1" fmla="*/ 19 h 21"/>
                <a:gd name="T2" fmla="*/ 19 w 20"/>
                <a:gd name="T3" fmla="*/ 7 h 21"/>
                <a:gd name="T4" fmla="*/ 7 w 20"/>
                <a:gd name="T5" fmla="*/ 2 h 21"/>
                <a:gd name="T6" fmla="*/ 1 w 20"/>
                <a:gd name="T7" fmla="*/ 13 h 21"/>
                <a:gd name="T8" fmla="*/ 13 w 20"/>
                <a:gd name="T9" fmla="*/ 19 h 21"/>
              </a:gdLst>
              <a:ahLst/>
              <a:cxnLst>
                <a:cxn ang="0">
                  <a:pos x="T0" y="T1"/>
                </a:cxn>
                <a:cxn ang="0">
                  <a:pos x="T2" y="T3"/>
                </a:cxn>
                <a:cxn ang="0">
                  <a:pos x="T4" y="T5"/>
                </a:cxn>
                <a:cxn ang="0">
                  <a:pos x="T6" y="T7"/>
                </a:cxn>
                <a:cxn ang="0">
                  <a:pos x="T8" y="T9"/>
                </a:cxn>
              </a:cxnLst>
              <a:rect l="0" t="0" r="r" b="b"/>
              <a:pathLst>
                <a:path w="20" h="21">
                  <a:moveTo>
                    <a:pt x="13" y="19"/>
                  </a:moveTo>
                  <a:cubicBezTo>
                    <a:pt x="18" y="17"/>
                    <a:pt x="20" y="12"/>
                    <a:pt x="19" y="7"/>
                  </a:cubicBezTo>
                  <a:cubicBezTo>
                    <a:pt x="17" y="2"/>
                    <a:pt x="12" y="0"/>
                    <a:pt x="7" y="2"/>
                  </a:cubicBezTo>
                  <a:cubicBezTo>
                    <a:pt x="2" y="3"/>
                    <a:pt x="0" y="9"/>
                    <a:pt x="1" y="13"/>
                  </a:cubicBezTo>
                  <a:cubicBezTo>
                    <a:pt x="3" y="18"/>
                    <a:pt x="8" y="21"/>
                    <a:pt x="13" y="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51435" tIns="25718" rIns="51435" bIns="25718" numCol="1" anchor="t" anchorCtr="0" compatLnSpc="1">
              <a:prstTxWarp prst="textNoShape">
                <a:avLst/>
              </a:prstTxWarp>
            </a:bodyPr>
            <a:lstStyle/>
            <a:p>
              <a:pPr defTabSz="685800" fontAlgn="auto">
                <a:spcBef>
                  <a:spcPts val="0"/>
                </a:spcBef>
                <a:spcAft>
                  <a:spcPts val="0"/>
                </a:spcAft>
              </a:pPr>
              <a:endParaRPr lang="en-US" sz="1350">
                <a:solidFill>
                  <a:prstClr val="black"/>
                </a:solidFill>
                <a:latin typeface="Calibri" panose="020F0502020204030204"/>
              </a:endParaRPr>
            </a:p>
          </p:txBody>
        </p:sp>
      </p:grpSp>
      <p:sp>
        <p:nvSpPr>
          <p:cNvPr id="24" name="Rectangle : coins arrondis 23"/>
          <p:cNvSpPr/>
          <p:nvPr/>
        </p:nvSpPr>
        <p:spPr>
          <a:xfrm>
            <a:off x="5096660" y="3889698"/>
            <a:ext cx="995979" cy="317576"/>
          </a:xfrm>
          <a:prstGeom prst="roundRect">
            <a:avLst/>
          </a:prstGeom>
          <a:solidFill>
            <a:srgbClr val="00B0F0"/>
          </a:solidFill>
          <a:ln>
            <a:solidFill>
              <a:schemeClr val="tx1"/>
            </a:solidFill>
            <a:prstDash val="sysDash"/>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fr-FR" sz="1050" dirty="0">
                <a:solidFill>
                  <a:prstClr val="white"/>
                </a:solidFill>
                <a:latin typeface="Trebuchet MS"/>
                <a:cs typeface="Trebuchet MS"/>
              </a:rPr>
              <a:t>Gateway</a:t>
            </a:r>
          </a:p>
        </p:txBody>
      </p:sp>
      <p:sp>
        <p:nvSpPr>
          <p:cNvPr id="27" name="Rectangle 26"/>
          <p:cNvSpPr/>
          <p:nvPr/>
        </p:nvSpPr>
        <p:spPr>
          <a:xfrm>
            <a:off x="3393300" y="2084642"/>
            <a:ext cx="2533364" cy="1282915"/>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28" name="Rectangle 27"/>
          <p:cNvSpPr/>
          <p:nvPr/>
        </p:nvSpPr>
        <p:spPr>
          <a:xfrm>
            <a:off x="3436338" y="2605177"/>
            <a:ext cx="2490326" cy="73366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dirty="0">
                <a:solidFill>
                  <a:prstClr val="white"/>
                </a:solidFill>
                <a:latin typeface="Calibri" panose="020F0502020204030204"/>
              </a:rPr>
              <a:t>Aggregated data with schema</a:t>
            </a:r>
          </a:p>
          <a:p>
            <a:pPr algn="ctr" defTabSz="685800" fontAlgn="auto">
              <a:spcBef>
                <a:spcPts val="0"/>
              </a:spcBef>
              <a:spcAft>
                <a:spcPts val="0"/>
              </a:spcAft>
            </a:pPr>
            <a:r>
              <a:rPr lang="en-US" sz="1350" dirty="0">
                <a:solidFill>
                  <a:prstClr val="white"/>
                </a:solidFill>
                <a:latin typeface="Calibri" panose="020F0502020204030204"/>
              </a:rPr>
              <a:t> </a:t>
            </a:r>
          </a:p>
        </p:txBody>
      </p:sp>
      <p:sp>
        <p:nvSpPr>
          <p:cNvPr id="29" name="Rectangle : coins arrondis 28"/>
          <p:cNvSpPr/>
          <p:nvPr/>
        </p:nvSpPr>
        <p:spPr>
          <a:xfrm>
            <a:off x="3537602" y="3048018"/>
            <a:ext cx="778940" cy="276999"/>
          </a:xfrm>
          <a:prstGeom prst="round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050" dirty="0">
                <a:solidFill>
                  <a:prstClr val="white"/>
                </a:solidFill>
                <a:latin typeface="Calibri" panose="020F0502020204030204"/>
              </a:rPr>
              <a:t>Connector</a:t>
            </a:r>
          </a:p>
        </p:txBody>
      </p:sp>
      <p:cxnSp>
        <p:nvCxnSpPr>
          <p:cNvPr id="31" name="Connecteur droit 30"/>
          <p:cNvCxnSpPr>
            <a:cxnSpLocks/>
            <a:stCxn id="29" idx="2"/>
            <a:endCxn id="19" idx="0"/>
          </p:cNvCxnSpPr>
          <p:nvPr/>
        </p:nvCxnSpPr>
        <p:spPr>
          <a:xfrm>
            <a:off x="3927072" y="3325017"/>
            <a:ext cx="7255" cy="556944"/>
          </a:xfrm>
          <a:prstGeom prst="line">
            <a:avLst/>
          </a:prstGeom>
        </p:spPr>
        <p:style>
          <a:lnRef idx="1">
            <a:schemeClr val="dk1"/>
          </a:lnRef>
          <a:fillRef idx="0">
            <a:schemeClr val="dk1"/>
          </a:fillRef>
          <a:effectRef idx="0">
            <a:schemeClr val="dk1"/>
          </a:effectRef>
          <a:fontRef idx="minor">
            <a:schemeClr val="tx1"/>
          </a:fontRef>
        </p:style>
      </p:cxnSp>
      <p:cxnSp>
        <p:nvCxnSpPr>
          <p:cNvPr id="32" name="Connecteur droit 31"/>
          <p:cNvCxnSpPr>
            <a:endCxn id="24" idx="0"/>
          </p:cNvCxnSpPr>
          <p:nvPr/>
        </p:nvCxnSpPr>
        <p:spPr>
          <a:xfrm>
            <a:off x="5594649" y="3355615"/>
            <a:ext cx="0" cy="534083"/>
          </a:xfrm>
          <a:prstGeom prst="line">
            <a:avLst/>
          </a:prstGeom>
        </p:spPr>
        <p:style>
          <a:lnRef idx="1">
            <a:schemeClr val="dk1"/>
          </a:lnRef>
          <a:fillRef idx="0">
            <a:schemeClr val="dk1"/>
          </a:fillRef>
          <a:effectRef idx="0">
            <a:schemeClr val="dk1"/>
          </a:effectRef>
          <a:fontRef idx="minor">
            <a:schemeClr val="tx1"/>
          </a:fontRef>
        </p:style>
      </p:cxnSp>
      <p:cxnSp>
        <p:nvCxnSpPr>
          <p:cNvPr id="36" name="Connecteur droit 35"/>
          <p:cNvCxnSpPr>
            <a:endCxn id="24" idx="2"/>
          </p:cNvCxnSpPr>
          <p:nvPr/>
        </p:nvCxnSpPr>
        <p:spPr>
          <a:xfrm flipV="1">
            <a:off x="5566838" y="4207274"/>
            <a:ext cx="27812" cy="155324"/>
          </a:xfrm>
          <a:prstGeom prst="line">
            <a:avLst/>
          </a:prstGeom>
        </p:spPr>
        <p:style>
          <a:lnRef idx="1">
            <a:schemeClr val="dk1"/>
          </a:lnRef>
          <a:fillRef idx="0">
            <a:schemeClr val="dk1"/>
          </a:fillRef>
          <a:effectRef idx="0">
            <a:schemeClr val="dk1"/>
          </a:effectRef>
          <a:fontRef idx="minor">
            <a:schemeClr val="tx1"/>
          </a:fontRef>
        </p:style>
      </p:cxnSp>
      <p:cxnSp>
        <p:nvCxnSpPr>
          <p:cNvPr id="39" name="Connecteur droit 38"/>
          <p:cNvCxnSpPr>
            <a:stCxn id="21" idx="0"/>
            <a:endCxn id="24" idx="2"/>
          </p:cNvCxnSpPr>
          <p:nvPr/>
        </p:nvCxnSpPr>
        <p:spPr>
          <a:xfrm flipV="1">
            <a:off x="5188263" y="4207274"/>
            <a:ext cx="406387" cy="177661"/>
          </a:xfrm>
          <a:prstGeom prst="line">
            <a:avLst/>
          </a:prstGeom>
        </p:spPr>
        <p:style>
          <a:lnRef idx="1">
            <a:schemeClr val="dk1"/>
          </a:lnRef>
          <a:fillRef idx="0">
            <a:schemeClr val="dk1"/>
          </a:fillRef>
          <a:effectRef idx="0">
            <a:schemeClr val="dk1"/>
          </a:effectRef>
          <a:fontRef idx="minor">
            <a:schemeClr val="tx1"/>
          </a:fontRef>
        </p:style>
      </p:cxnSp>
      <p:cxnSp>
        <p:nvCxnSpPr>
          <p:cNvPr id="42" name="Connecteur droit 41"/>
          <p:cNvCxnSpPr/>
          <p:nvPr/>
        </p:nvCxnSpPr>
        <p:spPr>
          <a:xfrm>
            <a:off x="5750916" y="3367556"/>
            <a:ext cx="218786" cy="995042"/>
          </a:xfrm>
          <a:prstGeom prst="line">
            <a:avLst/>
          </a:prstGeom>
        </p:spPr>
        <p:style>
          <a:lnRef idx="1">
            <a:schemeClr val="dk1"/>
          </a:lnRef>
          <a:fillRef idx="0">
            <a:schemeClr val="dk1"/>
          </a:fillRef>
          <a:effectRef idx="0">
            <a:schemeClr val="dk1"/>
          </a:effectRef>
          <a:fontRef idx="minor">
            <a:schemeClr val="tx1"/>
          </a:fontRef>
        </p:style>
      </p:cxnSp>
      <p:sp>
        <p:nvSpPr>
          <p:cNvPr id="46" name="Accolade ouvrante 45"/>
          <p:cNvSpPr/>
          <p:nvPr/>
        </p:nvSpPr>
        <p:spPr>
          <a:xfrm>
            <a:off x="2672682" y="3604962"/>
            <a:ext cx="178803" cy="1297756"/>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pPr>
            <a:endParaRPr lang="en-US" sz="1350" b="1" dirty="0">
              <a:solidFill>
                <a:prstClr val="white"/>
              </a:solidFill>
              <a:latin typeface="Calibri" panose="020F0502020204030204"/>
            </a:endParaRPr>
          </a:p>
        </p:txBody>
      </p:sp>
      <p:cxnSp>
        <p:nvCxnSpPr>
          <p:cNvPr id="48" name="Connecteur droit 47"/>
          <p:cNvCxnSpPr>
            <a:stCxn id="56" idx="3"/>
          </p:cNvCxnSpPr>
          <p:nvPr/>
        </p:nvCxnSpPr>
        <p:spPr>
          <a:xfrm>
            <a:off x="1552075" y="3039198"/>
            <a:ext cx="1446021" cy="6992"/>
          </a:xfrm>
          <a:prstGeom prst="line">
            <a:avLst/>
          </a:prstGeom>
          <a:ln>
            <a:solidFill>
              <a:srgbClr val="7030A0"/>
            </a:solidFill>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4250262" y="3046189"/>
            <a:ext cx="1628331" cy="300082"/>
          </a:xfrm>
          <a:prstGeom prst="rect">
            <a:avLst/>
          </a:prstGeom>
        </p:spPr>
        <p:txBody>
          <a:bodyPr wrap="none">
            <a:spAutoFit/>
          </a:bodyPr>
          <a:lstStyle/>
          <a:p>
            <a:pPr algn="r" defTabSz="685800" fontAlgn="auto">
              <a:spcBef>
                <a:spcPts val="0"/>
              </a:spcBef>
              <a:spcAft>
                <a:spcPts val="0"/>
              </a:spcAft>
            </a:pPr>
            <a:r>
              <a:rPr lang="en-US" sz="1350" dirty="0">
                <a:solidFill>
                  <a:prstClr val="white"/>
                </a:solidFill>
                <a:latin typeface="Calibri" panose="020F0502020204030204"/>
              </a:rPr>
              <a:t>Device management</a:t>
            </a:r>
          </a:p>
        </p:txBody>
      </p:sp>
      <p:sp>
        <p:nvSpPr>
          <p:cNvPr id="50" name="Organigramme : Disque magnétique 49"/>
          <p:cNvSpPr/>
          <p:nvPr/>
        </p:nvSpPr>
        <p:spPr>
          <a:xfrm>
            <a:off x="3561348" y="2172990"/>
            <a:ext cx="366964" cy="375136"/>
          </a:xfrm>
          <a:prstGeom prst="flowChartMagneticDisk">
            <a:avLst/>
          </a:prstGeom>
          <a:solidFill>
            <a:schemeClr val="accent4"/>
          </a:solidFill>
          <a:ln>
            <a:solidFill>
              <a:srgbClr val="C1ADE5"/>
            </a:solidFill>
          </a:ln>
        </p:spPr>
        <p:txBody>
          <a:bodyPr vert="horz" wrap="square" lIns="54000" tIns="13500" rIns="54000" bIns="13500" rtlCol="0">
            <a:spAutoFit/>
          </a:bodyPr>
          <a:lstStyle/>
          <a:p>
            <a:pPr algn="ctr" defTabSz="685800" fontAlgn="auto">
              <a:spcBef>
                <a:spcPts val="0"/>
              </a:spcBef>
              <a:spcAft>
                <a:spcPts val="0"/>
              </a:spcAft>
            </a:pPr>
            <a:endParaRPr lang="fr-FR" sz="1050" dirty="0">
              <a:solidFill>
                <a:prstClr val="white"/>
              </a:solidFill>
              <a:latin typeface="Trebuchet MS"/>
              <a:cs typeface="Trebuchet MS" panose="020B0502040204020203" pitchFamily="34" charset="0"/>
            </a:endParaRPr>
          </a:p>
        </p:txBody>
      </p:sp>
      <p:sp>
        <p:nvSpPr>
          <p:cNvPr id="51" name="Rectangle : coins arrondis 50"/>
          <p:cNvSpPr/>
          <p:nvPr/>
        </p:nvSpPr>
        <p:spPr>
          <a:xfrm>
            <a:off x="4200067" y="2126872"/>
            <a:ext cx="1705409" cy="232605"/>
          </a:xfrm>
          <a:prstGeom prst="roundRect">
            <a:avLst/>
          </a:prstGeom>
          <a:solidFill>
            <a:schemeClr val="accent6">
              <a:lumMod val="60000"/>
              <a:lumOff val="40000"/>
            </a:schemeClr>
          </a:solid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fr-FR" sz="1350" dirty="0">
                <a:solidFill>
                  <a:prstClr val="white"/>
                </a:solidFill>
                <a:latin typeface="Trebuchet MS"/>
                <a:cs typeface="Trebuchet MS"/>
              </a:rPr>
              <a:t>Interfaces - API</a:t>
            </a:r>
          </a:p>
        </p:txBody>
      </p:sp>
      <p:sp>
        <p:nvSpPr>
          <p:cNvPr id="52" name="Rectangle : coins arrondis 51"/>
          <p:cNvSpPr/>
          <p:nvPr/>
        </p:nvSpPr>
        <p:spPr>
          <a:xfrm>
            <a:off x="4200067" y="2407759"/>
            <a:ext cx="1705409" cy="141770"/>
          </a:xfrm>
          <a:prstGeom prst="roundRect">
            <a:avLst/>
          </a:prstGeom>
          <a:solidFill>
            <a:schemeClr val="accent3">
              <a:lumMod val="60000"/>
              <a:lumOff val="40000"/>
            </a:schemeClr>
          </a:solid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r>
              <a:rPr lang="en-US" sz="1050" dirty="0">
                <a:solidFill>
                  <a:prstClr val="white"/>
                </a:solidFill>
                <a:latin typeface="Trebuchet MS"/>
                <a:cs typeface="Trebuchet MS"/>
              </a:rPr>
              <a:t>Roles &amp; access control</a:t>
            </a:r>
          </a:p>
        </p:txBody>
      </p:sp>
      <p:sp>
        <p:nvSpPr>
          <p:cNvPr id="53" name="Rectangle 52"/>
          <p:cNvSpPr/>
          <p:nvPr/>
        </p:nvSpPr>
        <p:spPr>
          <a:xfrm>
            <a:off x="3396175" y="1705359"/>
            <a:ext cx="2533364" cy="357092"/>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dirty="0">
                <a:solidFill>
                  <a:prstClr val="white"/>
                </a:solidFill>
                <a:latin typeface="Calibri" panose="020F0502020204030204"/>
              </a:rPr>
              <a:t>Orchestration </a:t>
            </a:r>
          </a:p>
        </p:txBody>
      </p:sp>
      <p:sp>
        <p:nvSpPr>
          <p:cNvPr id="54" name="Rectangle 53"/>
          <p:cNvSpPr/>
          <p:nvPr/>
        </p:nvSpPr>
        <p:spPr>
          <a:xfrm>
            <a:off x="3393299" y="1303739"/>
            <a:ext cx="2533364" cy="357092"/>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r>
              <a:rPr lang="en-US" sz="1350" dirty="0">
                <a:solidFill>
                  <a:prstClr val="white"/>
                </a:solidFill>
                <a:latin typeface="Calibri" panose="020F0502020204030204"/>
              </a:rPr>
              <a:t>BI/Analytics </a:t>
            </a:r>
          </a:p>
        </p:txBody>
      </p:sp>
      <p:sp>
        <p:nvSpPr>
          <p:cNvPr id="55" name="Accolade ouvrante 54"/>
          <p:cNvSpPr/>
          <p:nvPr/>
        </p:nvSpPr>
        <p:spPr>
          <a:xfrm>
            <a:off x="2614015" y="1303739"/>
            <a:ext cx="233210" cy="2003639"/>
          </a:xfrm>
          <a:prstGeom prst="leftBrace">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fontAlgn="auto">
              <a:spcBef>
                <a:spcPts val="0"/>
              </a:spcBef>
              <a:spcAft>
                <a:spcPts val="0"/>
              </a:spcAft>
            </a:pPr>
            <a:endParaRPr lang="en-US" sz="1350" b="1" dirty="0">
              <a:solidFill>
                <a:prstClr val="white"/>
              </a:solidFill>
              <a:latin typeface="Calibri" panose="020F0502020204030204"/>
            </a:endParaRPr>
          </a:p>
        </p:txBody>
      </p:sp>
      <p:sp>
        <p:nvSpPr>
          <p:cNvPr id="56" name="Rectangle : coins arrondis 55"/>
          <p:cNvSpPr/>
          <p:nvPr/>
        </p:nvSpPr>
        <p:spPr>
          <a:xfrm>
            <a:off x="322719" y="2843086"/>
            <a:ext cx="1229356" cy="392224"/>
          </a:xfrm>
          <a:prstGeom prst="roundRect">
            <a:avLst/>
          </a:prstGeom>
          <a:noFill/>
          <a:ln>
            <a:solidFill>
              <a:srgbClr val="7B48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sp>
        <p:nvSpPr>
          <p:cNvPr id="57" name="ZoneTexte 56"/>
          <p:cNvSpPr txBox="1"/>
          <p:nvPr/>
        </p:nvSpPr>
        <p:spPr>
          <a:xfrm>
            <a:off x="1356663" y="2220977"/>
            <a:ext cx="1764881" cy="300082"/>
          </a:xfrm>
          <a:prstGeom prst="rect">
            <a:avLst/>
          </a:prstGeom>
          <a:noFill/>
        </p:spPr>
        <p:txBody>
          <a:bodyPr wrap="square" rtlCol="0">
            <a:spAutoFit/>
          </a:bodyPr>
          <a:lstStyle/>
          <a:p>
            <a:pPr defTabSz="685800" fontAlgn="auto">
              <a:spcBef>
                <a:spcPts val="0"/>
              </a:spcBef>
              <a:spcAft>
                <a:spcPts val="0"/>
              </a:spcAft>
            </a:pPr>
            <a:r>
              <a:rPr lang="en-US" sz="1350" dirty="0">
                <a:solidFill>
                  <a:prstClr val="white"/>
                </a:solidFill>
                <a:latin typeface="Calibri" panose="020F0502020204030204"/>
              </a:rPr>
              <a:t>IOT HUB</a:t>
            </a:r>
            <a:endParaRPr lang="en-US" sz="1050" dirty="0">
              <a:solidFill>
                <a:prstClr val="white"/>
              </a:solidFill>
              <a:latin typeface="Calibri" panose="020F0502020204030204"/>
            </a:endParaRPr>
          </a:p>
        </p:txBody>
      </p:sp>
      <p:sp>
        <p:nvSpPr>
          <p:cNvPr id="61" name="Rectangle : coins arrondis 60"/>
          <p:cNvSpPr/>
          <p:nvPr/>
        </p:nvSpPr>
        <p:spPr>
          <a:xfrm>
            <a:off x="2868094" y="709863"/>
            <a:ext cx="6107465" cy="4323115"/>
          </a:xfrm>
          <a:prstGeom prst="roundRect">
            <a:avLst/>
          </a:prstGeom>
          <a:noFill/>
          <a:ln>
            <a:solidFill>
              <a:schemeClr val="bg2">
                <a:lumMod val="2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a:solidFill>
                <a:prstClr val="white"/>
              </a:solidFill>
              <a:latin typeface="Calibri" panose="020F0502020204030204"/>
            </a:endParaRPr>
          </a:p>
        </p:txBody>
      </p:sp>
      <p:grpSp>
        <p:nvGrpSpPr>
          <p:cNvPr id="62" name="Graphique 171">
            <a:extLst/>
          </p:cNvPr>
          <p:cNvGrpSpPr>
            <a:grpSpLocks noChangeAspect="1"/>
          </p:cNvGrpSpPr>
          <p:nvPr/>
        </p:nvGrpSpPr>
        <p:grpSpPr>
          <a:xfrm>
            <a:off x="7320861" y="1103247"/>
            <a:ext cx="624991" cy="554459"/>
            <a:chOff x="7427228" y="1304960"/>
            <a:chExt cx="2574681" cy="2284120"/>
          </a:xfrm>
          <a:solidFill>
            <a:srgbClr val="92219B"/>
          </a:solidFill>
        </p:grpSpPr>
        <p:sp>
          <p:nvSpPr>
            <p:cNvPr id="63" name="Forme libre : forme 152">
              <a:extLst/>
            </p:cNvPr>
            <p:cNvSpPr/>
            <p:nvPr/>
          </p:nvSpPr>
          <p:spPr>
            <a:xfrm>
              <a:off x="8202426" y="3404662"/>
              <a:ext cx="668657" cy="183697"/>
            </a:xfrm>
            <a:custGeom>
              <a:avLst/>
              <a:gdLst>
                <a:gd name="connsiteX0" fmla="*/ 645509 w 668654"/>
                <a:gd name="connsiteY0" fmla="*/ 5511 h 183696"/>
                <a:gd name="connsiteX1" fmla="*/ 27554 w 668654"/>
                <a:gd name="connsiteY1" fmla="*/ 5511 h 183696"/>
                <a:gd name="connsiteX2" fmla="*/ 5511 w 668654"/>
                <a:gd name="connsiteY2" fmla="*/ 27554 h 183696"/>
                <a:gd name="connsiteX3" fmla="*/ 5511 w 668654"/>
                <a:gd name="connsiteY3" fmla="*/ 160551 h 183696"/>
                <a:gd name="connsiteX4" fmla="*/ 27554 w 668654"/>
                <a:gd name="connsiteY4" fmla="*/ 182594 h 183696"/>
                <a:gd name="connsiteX5" fmla="*/ 645509 w 668654"/>
                <a:gd name="connsiteY5" fmla="*/ 182594 h 183696"/>
                <a:gd name="connsiteX6" fmla="*/ 667553 w 668654"/>
                <a:gd name="connsiteY6" fmla="*/ 160551 h 183696"/>
                <a:gd name="connsiteX7" fmla="*/ 667553 w 668654"/>
                <a:gd name="connsiteY7" fmla="*/ 27554 h 183696"/>
                <a:gd name="connsiteX8" fmla="*/ 645509 w 668654"/>
                <a:gd name="connsiteY8" fmla="*/ 5511 h 183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8654" h="183696">
                  <a:moveTo>
                    <a:pt x="645509" y="5511"/>
                  </a:moveTo>
                  <a:lnTo>
                    <a:pt x="27554" y="5511"/>
                  </a:lnTo>
                  <a:cubicBezTo>
                    <a:pt x="15063" y="5511"/>
                    <a:pt x="5511" y="15063"/>
                    <a:pt x="5511" y="27554"/>
                  </a:cubicBezTo>
                  <a:lnTo>
                    <a:pt x="5511" y="160551"/>
                  </a:lnTo>
                  <a:cubicBezTo>
                    <a:pt x="5511" y="173042"/>
                    <a:pt x="15798" y="182594"/>
                    <a:pt x="27554" y="182594"/>
                  </a:cubicBezTo>
                  <a:lnTo>
                    <a:pt x="645509" y="182594"/>
                  </a:lnTo>
                  <a:cubicBezTo>
                    <a:pt x="658001" y="182594"/>
                    <a:pt x="667553" y="172307"/>
                    <a:pt x="667553" y="160551"/>
                  </a:cubicBezTo>
                  <a:lnTo>
                    <a:pt x="667553" y="27554"/>
                  </a:lnTo>
                  <a:cubicBezTo>
                    <a:pt x="667553" y="15063"/>
                    <a:pt x="657266" y="5511"/>
                    <a:pt x="645509" y="5511"/>
                  </a:cubicBezTo>
                  <a:close/>
                </a:path>
              </a:pathLst>
            </a:custGeom>
            <a:solidFill>
              <a:schemeClr val="bg1"/>
            </a:solidFill>
            <a:ln w="9525" cap="flat">
              <a:noFill/>
              <a:prstDash val="solid"/>
              <a:miter/>
            </a:ln>
          </p:spPr>
          <p:txBody>
            <a:bodyPr rtlCol="0" anchor="ctr"/>
            <a:lstStyle/>
            <a:p>
              <a:pPr defTabSz="685800">
                <a:defRPr/>
              </a:pPr>
              <a:endParaRPr lang="fr-BE" sz="1350">
                <a:solidFill>
                  <a:prstClr val="white"/>
                </a:solidFill>
              </a:endParaRPr>
            </a:p>
          </p:txBody>
        </p:sp>
        <p:sp>
          <p:nvSpPr>
            <p:cNvPr id="64" name="Forme libre : forme 153">
              <a:extLst/>
            </p:cNvPr>
            <p:cNvSpPr/>
            <p:nvPr/>
          </p:nvSpPr>
          <p:spPr>
            <a:xfrm>
              <a:off x="7427228" y="1304960"/>
              <a:ext cx="2574681" cy="2019592"/>
            </a:xfrm>
            <a:custGeom>
              <a:avLst/>
              <a:gdLst>
                <a:gd name="connsiteX0" fmla="*/ 1278894 w 2219052"/>
                <a:gd name="connsiteY0" fmla="*/ 1405278 h 1631224"/>
                <a:gd name="connsiteX1" fmla="*/ 182594 w 2219052"/>
                <a:gd name="connsiteY1" fmla="*/ 1405278 h 1631224"/>
                <a:gd name="connsiteX2" fmla="*/ 182594 w 2219052"/>
                <a:gd name="connsiteY2" fmla="*/ 182594 h 1631224"/>
                <a:gd name="connsiteX3" fmla="*/ 2040132 w 2219052"/>
                <a:gd name="connsiteY3" fmla="*/ 182594 h 1631224"/>
                <a:gd name="connsiteX4" fmla="*/ 2040132 w 2219052"/>
                <a:gd name="connsiteY4" fmla="*/ 563948 h 1631224"/>
                <a:gd name="connsiteX5" fmla="*/ 2217216 w 2219052"/>
                <a:gd name="connsiteY5" fmla="*/ 695475 h 1631224"/>
                <a:gd name="connsiteX6" fmla="*/ 2217216 w 2219052"/>
                <a:gd name="connsiteY6" fmla="*/ 182594 h 1631224"/>
                <a:gd name="connsiteX7" fmla="*/ 2040132 w 2219052"/>
                <a:gd name="connsiteY7" fmla="*/ 5511 h 1631224"/>
                <a:gd name="connsiteX8" fmla="*/ 182594 w 2219052"/>
                <a:gd name="connsiteY8" fmla="*/ 5511 h 1631224"/>
                <a:gd name="connsiteX9" fmla="*/ 5511 w 2219052"/>
                <a:gd name="connsiteY9" fmla="*/ 182594 h 1631224"/>
                <a:gd name="connsiteX10" fmla="*/ 5511 w 2219052"/>
                <a:gd name="connsiteY10" fmla="*/ 1427321 h 1631224"/>
                <a:gd name="connsiteX11" fmla="*/ 5511 w 2219052"/>
                <a:gd name="connsiteY11" fmla="*/ 1438343 h 1631224"/>
                <a:gd name="connsiteX12" fmla="*/ 5511 w 2219052"/>
                <a:gd name="connsiteY12" fmla="*/ 1449365 h 1631224"/>
                <a:gd name="connsiteX13" fmla="*/ 182594 w 2219052"/>
                <a:gd name="connsiteY13" fmla="*/ 1626448 h 1631224"/>
                <a:gd name="connsiteX14" fmla="*/ 1520639 w 2219052"/>
                <a:gd name="connsiteY14" fmla="*/ 1626448 h 1631224"/>
                <a:gd name="connsiteX15" fmla="*/ 1278894 w 2219052"/>
                <a:gd name="connsiteY15" fmla="*/ 1405278 h 1631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19052" h="1631224">
                  <a:moveTo>
                    <a:pt x="1278894" y="1405278"/>
                  </a:moveTo>
                  <a:lnTo>
                    <a:pt x="182594" y="1405278"/>
                  </a:lnTo>
                  <a:lnTo>
                    <a:pt x="182594" y="182594"/>
                  </a:lnTo>
                  <a:lnTo>
                    <a:pt x="2040132" y="182594"/>
                  </a:lnTo>
                  <a:lnTo>
                    <a:pt x="2040132" y="563948"/>
                  </a:lnTo>
                  <a:cubicBezTo>
                    <a:pt x="2106998" y="596279"/>
                    <a:pt x="2167250" y="641101"/>
                    <a:pt x="2217216" y="695475"/>
                  </a:cubicBezTo>
                  <a:lnTo>
                    <a:pt x="2217216" y="182594"/>
                  </a:lnTo>
                  <a:cubicBezTo>
                    <a:pt x="2217216" y="85602"/>
                    <a:pt x="2137859" y="5511"/>
                    <a:pt x="2040132" y="5511"/>
                  </a:cubicBezTo>
                  <a:lnTo>
                    <a:pt x="182594" y="5511"/>
                  </a:lnTo>
                  <a:cubicBezTo>
                    <a:pt x="85603" y="5511"/>
                    <a:pt x="5511" y="84868"/>
                    <a:pt x="5511" y="182594"/>
                  </a:cubicBezTo>
                  <a:lnTo>
                    <a:pt x="5511" y="1427321"/>
                  </a:lnTo>
                  <a:lnTo>
                    <a:pt x="5511" y="1438343"/>
                  </a:lnTo>
                  <a:lnTo>
                    <a:pt x="5511" y="1449365"/>
                  </a:lnTo>
                  <a:cubicBezTo>
                    <a:pt x="5511" y="1546357"/>
                    <a:pt x="84868" y="1626448"/>
                    <a:pt x="182594" y="1626448"/>
                  </a:cubicBezTo>
                  <a:lnTo>
                    <a:pt x="1520639" y="1626448"/>
                  </a:lnTo>
                  <a:cubicBezTo>
                    <a:pt x="1421443" y="1577218"/>
                    <a:pt x="1336943" y="1500065"/>
                    <a:pt x="1278894" y="1405278"/>
                  </a:cubicBezTo>
                  <a:close/>
                </a:path>
              </a:pathLst>
            </a:custGeom>
            <a:solidFill>
              <a:schemeClr val="bg1"/>
            </a:solidFill>
            <a:ln w="9525" cap="flat">
              <a:noFill/>
              <a:prstDash val="solid"/>
              <a:miter/>
            </a:ln>
          </p:spPr>
          <p:txBody>
            <a:bodyPr rtlCol="0" anchor="ctr"/>
            <a:lstStyle/>
            <a:p>
              <a:pPr defTabSz="685800">
                <a:defRPr/>
              </a:pPr>
              <a:endParaRPr lang="fr-BE" sz="1350">
                <a:solidFill>
                  <a:prstClr val="white"/>
                </a:solidFill>
              </a:endParaRPr>
            </a:p>
          </p:txBody>
        </p:sp>
        <p:sp>
          <p:nvSpPr>
            <p:cNvPr id="65" name="Forme libre : forme 154">
              <a:extLst/>
            </p:cNvPr>
            <p:cNvSpPr/>
            <p:nvPr/>
          </p:nvSpPr>
          <p:spPr>
            <a:xfrm>
              <a:off x="7802699" y="2169476"/>
              <a:ext cx="911131" cy="639260"/>
            </a:xfrm>
            <a:custGeom>
              <a:avLst/>
              <a:gdLst>
                <a:gd name="connsiteX0" fmla="*/ 712375 w 911134"/>
                <a:gd name="connsiteY0" fmla="*/ 353800 h 639263"/>
                <a:gd name="connsiteX1" fmla="*/ 712375 w 911134"/>
                <a:gd name="connsiteY1" fmla="*/ 353800 h 639263"/>
                <a:gd name="connsiteX2" fmla="*/ 709436 w 911134"/>
                <a:gd name="connsiteY2" fmla="*/ 339104 h 639263"/>
                <a:gd name="connsiteX3" fmla="*/ 699149 w 911134"/>
                <a:gd name="connsiteY3" fmla="*/ 245051 h 639263"/>
                <a:gd name="connsiteX4" fmla="*/ 611709 w 911134"/>
                <a:gd name="connsiteY4" fmla="*/ 5511 h 639263"/>
                <a:gd name="connsiteX5" fmla="*/ 525004 w 911134"/>
                <a:gd name="connsiteY5" fmla="*/ 286199 h 639263"/>
                <a:gd name="connsiteX6" fmla="*/ 485326 w 911134"/>
                <a:gd name="connsiteY6" fmla="*/ 549252 h 639263"/>
                <a:gd name="connsiteX7" fmla="*/ 471365 w 911134"/>
                <a:gd name="connsiteY7" fmla="*/ 549987 h 639263"/>
                <a:gd name="connsiteX8" fmla="*/ 451526 w 911134"/>
                <a:gd name="connsiteY8" fmla="*/ 486061 h 639263"/>
                <a:gd name="connsiteX9" fmla="*/ 422134 w 911134"/>
                <a:gd name="connsiteY9" fmla="*/ 317060 h 639263"/>
                <a:gd name="connsiteX10" fmla="*/ 340573 w 911134"/>
                <a:gd name="connsiteY10" fmla="*/ 101768 h 639263"/>
                <a:gd name="connsiteX11" fmla="*/ 258277 w 911134"/>
                <a:gd name="connsiteY11" fmla="*/ 318530 h 639263"/>
                <a:gd name="connsiteX12" fmla="*/ 240642 w 911134"/>
                <a:gd name="connsiteY12" fmla="*/ 434626 h 639263"/>
                <a:gd name="connsiteX13" fmla="*/ 233294 w 911134"/>
                <a:gd name="connsiteY13" fmla="*/ 434626 h 639263"/>
                <a:gd name="connsiteX14" fmla="*/ 225947 w 911134"/>
                <a:gd name="connsiteY14" fmla="*/ 403030 h 639263"/>
                <a:gd name="connsiteX15" fmla="*/ 160551 w 911134"/>
                <a:gd name="connsiteY15" fmla="*/ 300160 h 639263"/>
                <a:gd name="connsiteX16" fmla="*/ 21676 w 911134"/>
                <a:gd name="connsiteY16" fmla="*/ 300160 h 639263"/>
                <a:gd name="connsiteX17" fmla="*/ 5511 w 911134"/>
                <a:gd name="connsiteY17" fmla="*/ 316325 h 639263"/>
                <a:gd name="connsiteX18" fmla="*/ 5511 w 911134"/>
                <a:gd name="connsiteY18" fmla="*/ 348656 h 639263"/>
                <a:gd name="connsiteX19" fmla="*/ 21676 w 911134"/>
                <a:gd name="connsiteY19" fmla="*/ 364821 h 639263"/>
                <a:gd name="connsiteX20" fmla="*/ 133364 w 911134"/>
                <a:gd name="connsiteY20" fmla="*/ 364821 h 639263"/>
                <a:gd name="connsiteX21" fmla="*/ 154672 w 911134"/>
                <a:gd name="connsiteY21" fmla="*/ 380252 h 639263"/>
                <a:gd name="connsiteX22" fmla="*/ 163490 w 911134"/>
                <a:gd name="connsiteY22" fmla="*/ 417726 h 639263"/>
                <a:gd name="connsiteX23" fmla="*/ 242112 w 911134"/>
                <a:gd name="connsiteY23" fmla="*/ 538965 h 639263"/>
                <a:gd name="connsiteX24" fmla="*/ 322204 w 911134"/>
                <a:gd name="connsiteY24" fmla="*/ 328082 h 639263"/>
                <a:gd name="connsiteX25" fmla="*/ 337634 w 911134"/>
                <a:gd name="connsiteY25" fmla="*/ 225212 h 639263"/>
                <a:gd name="connsiteX26" fmla="*/ 343512 w 911134"/>
                <a:gd name="connsiteY26" fmla="*/ 225212 h 639263"/>
                <a:gd name="connsiteX27" fmla="*/ 359678 w 911134"/>
                <a:gd name="connsiteY27" fmla="*/ 327347 h 639263"/>
                <a:gd name="connsiteX28" fmla="*/ 481652 w 911134"/>
                <a:gd name="connsiteY28" fmla="*/ 633753 h 639263"/>
                <a:gd name="connsiteX29" fmla="*/ 590400 w 911134"/>
                <a:gd name="connsiteY29" fmla="*/ 293547 h 639263"/>
                <a:gd name="connsiteX30" fmla="*/ 612444 w 911134"/>
                <a:gd name="connsiteY30" fmla="*/ 111320 h 639263"/>
                <a:gd name="connsiteX31" fmla="*/ 619057 w 911134"/>
                <a:gd name="connsiteY31" fmla="*/ 111320 h 639263"/>
                <a:gd name="connsiteX32" fmla="*/ 636692 w 911134"/>
                <a:gd name="connsiteY32" fmla="*/ 252399 h 639263"/>
                <a:gd name="connsiteX33" fmla="*/ 704292 w 911134"/>
                <a:gd name="connsiteY33" fmla="*/ 440504 h 639263"/>
                <a:gd name="connsiteX34" fmla="*/ 774097 w 911134"/>
                <a:gd name="connsiteY34" fmla="*/ 378047 h 639263"/>
                <a:gd name="connsiteX35" fmla="*/ 776301 w 911134"/>
                <a:gd name="connsiteY35" fmla="*/ 372169 h 639263"/>
                <a:gd name="connsiteX36" fmla="*/ 794671 w 911134"/>
                <a:gd name="connsiteY36" fmla="*/ 366291 h 639263"/>
                <a:gd name="connsiteX37" fmla="*/ 876232 w 911134"/>
                <a:gd name="connsiteY37" fmla="*/ 366291 h 639263"/>
                <a:gd name="connsiteX38" fmla="*/ 910767 w 911134"/>
                <a:gd name="connsiteY38" fmla="*/ 305304 h 639263"/>
                <a:gd name="connsiteX39" fmla="*/ 901950 w 911134"/>
                <a:gd name="connsiteY39" fmla="*/ 302365 h 639263"/>
                <a:gd name="connsiteX40" fmla="*/ 771158 w 911134"/>
                <a:gd name="connsiteY40" fmla="*/ 302365 h 639263"/>
                <a:gd name="connsiteX41" fmla="*/ 712375 w 911134"/>
                <a:gd name="connsiteY41" fmla="*/ 353800 h 639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911134" h="639263">
                  <a:moveTo>
                    <a:pt x="712375" y="353800"/>
                  </a:moveTo>
                  <a:cubicBezTo>
                    <a:pt x="711640" y="354534"/>
                    <a:pt x="711640" y="354534"/>
                    <a:pt x="712375" y="353800"/>
                  </a:cubicBezTo>
                  <a:cubicBezTo>
                    <a:pt x="712375" y="354534"/>
                    <a:pt x="710905" y="347921"/>
                    <a:pt x="709436" y="339104"/>
                  </a:cubicBezTo>
                  <a:cubicBezTo>
                    <a:pt x="705027" y="310447"/>
                    <a:pt x="701353" y="272973"/>
                    <a:pt x="699149" y="245051"/>
                  </a:cubicBezTo>
                  <a:cubicBezTo>
                    <a:pt x="686657" y="111320"/>
                    <a:pt x="676370" y="5511"/>
                    <a:pt x="611709" y="5511"/>
                  </a:cubicBezTo>
                  <a:cubicBezTo>
                    <a:pt x="554396" y="5511"/>
                    <a:pt x="544844" y="86337"/>
                    <a:pt x="525004" y="286199"/>
                  </a:cubicBezTo>
                  <a:cubicBezTo>
                    <a:pt x="517656" y="363352"/>
                    <a:pt x="504430" y="495613"/>
                    <a:pt x="485326" y="549252"/>
                  </a:cubicBezTo>
                  <a:cubicBezTo>
                    <a:pt x="482387" y="557335"/>
                    <a:pt x="475039" y="558070"/>
                    <a:pt x="471365" y="549987"/>
                  </a:cubicBezTo>
                  <a:cubicBezTo>
                    <a:pt x="465487" y="537496"/>
                    <a:pt x="458874" y="518391"/>
                    <a:pt x="451526" y="486061"/>
                  </a:cubicBezTo>
                  <a:cubicBezTo>
                    <a:pt x="439769" y="436095"/>
                    <a:pt x="430952" y="375843"/>
                    <a:pt x="422134" y="317060"/>
                  </a:cubicBezTo>
                  <a:cubicBezTo>
                    <a:pt x="400091" y="169368"/>
                    <a:pt x="390539" y="101768"/>
                    <a:pt x="340573" y="101768"/>
                  </a:cubicBezTo>
                  <a:cubicBezTo>
                    <a:pt x="286934" y="101768"/>
                    <a:pt x="275912" y="183329"/>
                    <a:pt x="258277" y="318530"/>
                  </a:cubicBezTo>
                  <a:cubicBezTo>
                    <a:pt x="253868" y="353800"/>
                    <a:pt x="247255" y="400091"/>
                    <a:pt x="240642" y="434626"/>
                  </a:cubicBezTo>
                  <a:cubicBezTo>
                    <a:pt x="239173" y="443443"/>
                    <a:pt x="235499" y="443443"/>
                    <a:pt x="233294" y="434626"/>
                  </a:cubicBezTo>
                  <a:cubicBezTo>
                    <a:pt x="230355" y="422869"/>
                    <a:pt x="227416" y="411113"/>
                    <a:pt x="225947" y="403030"/>
                  </a:cubicBezTo>
                  <a:cubicBezTo>
                    <a:pt x="214190" y="350126"/>
                    <a:pt x="203168" y="300160"/>
                    <a:pt x="160551" y="300160"/>
                  </a:cubicBezTo>
                  <a:lnTo>
                    <a:pt x="21676" y="300160"/>
                  </a:lnTo>
                  <a:cubicBezTo>
                    <a:pt x="12859" y="300160"/>
                    <a:pt x="5511" y="307508"/>
                    <a:pt x="5511" y="316325"/>
                  </a:cubicBezTo>
                  <a:lnTo>
                    <a:pt x="5511" y="348656"/>
                  </a:lnTo>
                  <a:cubicBezTo>
                    <a:pt x="5511" y="357473"/>
                    <a:pt x="12859" y="364821"/>
                    <a:pt x="21676" y="364821"/>
                  </a:cubicBezTo>
                  <a:lnTo>
                    <a:pt x="133364" y="364821"/>
                  </a:lnTo>
                  <a:cubicBezTo>
                    <a:pt x="142181" y="364821"/>
                    <a:pt x="151733" y="371434"/>
                    <a:pt x="154672" y="380252"/>
                  </a:cubicBezTo>
                  <a:cubicBezTo>
                    <a:pt x="157612" y="392008"/>
                    <a:pt x="161285" y="405969"/>
                    <a:pt x="163490" y="417726"/>
                  </a:cubicBezTo>
                  <a:cubicBezTo>
                    <a:pt x="175981" y="474304"/>
                    <a:pt x="190677" y="538965"/>
                    <a:pt x="242112" y="538965"/>
                  </a:cubicBezTo>
                  <a:cubicBezTo>
                    <a:pt x="294282" y="538965"/>
                    <a:pt x="304569" y="464017"/>
                    <a:pt x="322204" y="328082"/>
                  </a:cubicBezTo>
                  <a:cubicBezTo>
                    <a:pt x="326612" y="297221"/>
                    <a:pt x="331756" y="258277"/>
                    <a:pt x="337634" y="225212"/>
                  </a:cubicBezTo>
                  <a:cubicBezTo>
                    <a:pt x="339104" y="216394"/>
                    <a:pt x="342043" y="216394"/>
                    <a:pt x="343512" y="225212"/>
                  </a:cubicBezTo>
                  <a:cubicBezTo>
                    <a:pt x="349391" y="256808"/>
                    <a:pt x="355269" y="295017"/>
                    <a:pt x="359678" y="327347"/>
                  </a:cubicBezTo>
                  <a:cubicBezTo>
                    <a:pt x="388334" y="517657"/>
                    <a:pt x="410378" y="633753"/>
                    <a:pt x="481652" y="633753"/>
                  </a:cubicBezTo>
                  <a:cubicBezTo>
                    <a:pt x="553661" y="633753"/>
                    <a:pt x="569092" y="511044"/>
                    <a:pt x="590400" y="293547"/>
                  </a:cubicBezTo>
                  <a:cubicBezTo>
                    <a:pt x="596279" y="236968"/>
                    <a:pt x="603627" y="160551"/>
                    <a:pt x="612444" y="111320"/>
                  </a:cubicBezTo>
                  <a:cubicBezTo>
                    <a:pt x="613913" y="102503"/>
                    <a:pt x="617587" y="102503"/>
                    <a:pt x="619057" y="111320"/>
                  </a:cubicBezTo>
                  <a:cubicBezTo>
                    <a:pt x="627140" y="153203"/>
                    <a:pt x="633018" y="213455"/>
                    <a:pt x="636692" y="252399"/>
                  </a:cubicBezTo>
                  <a:cubicBezTo>
                    <a:pt x="648448" y="373639"/>
                    <a:pt x="654327" y="440504"/>
                    <a:pt x="704292" y="440504"/>
                  </a:cubicBezTo>
                  <a:cubicBezTo>
                    <a:pt x="750584" y="440504"/>
                    <a:pt x="766014" y="399356"/>
                    <a:pt x="774097" y="378047"/>
                  </a:cubicBezTo>
                  <a:cubicBezTo>
                    <a:pt x="774831" y="376578"/>
                    <a:pt x="775566" y="374373"/>
                    <a:pt x="776301" y="372169"/>
                  </a:cubicBezTo>
                  <a:cubicBezTo>
                    <a:pt x="777771" y="368495"/>
                    <a:pt x="785853" y="366291"/>
                    <a:pt x="794671" y="366291"/>
                  </a:cubicBezTo>
                  <a:lnTo>
                    <a:pt x="876232" y="366291"/>
                  </a:lnTo>
                  <a:cubicBezTo>
                    <a:pt x="886519" y="344982"/>
                    <a:pt x="898276" y="324408"/>
                    <a:pt x="910767" y="305304"/>
                  </a:cubicBezTo>
                  <a:cubicBezTo>
                    <a:pt x="908563" y="303834"/>
                    <a:pt x="905623" y="302365"/>
                    <a:pt x="901950" y="302365"/>
                  </a:cubicBezTo>
                  <a:lnTo>
                    <a:pt x="771158" y="302365"/>
                  </a:lnTo>
                  <a:cubicBezTo>
                    <a:pt x="732214" y="300160"/>
                    <a:pt x="719723" y="333960"/>
                    <a:pt x="712375" y="353800"/>
                  </a:cubicBezTo>
                  <a:close/>
                </a:path>
              </a:pathLst>
            </a:custGeom>
            <a:solidFill>
              <a:schemeClr val="bg1"/>
            </a:solidFill>
            <a:ln w="9525" cap="flat">
              <a:noFill/>
              <a:prstDash val="solid"/>
              <a:miter/>
            </a:ln>
          </p:spPr>
          <p:txBody>
            <a:bodyPr rtlCol="0" anchor="ctr"/>
            <a:lstStyle/>
            <a:p>
              <a:pPr defTabSz="685800">
                <a:defRPr/>
              </a:pPr>
              <a:endParaRPr lang="fr-BE" sz="1350">
                <a:solidFill>
                  <a:prstClr val="white"/>
                </a:solidFill>
              </a:endParaRPr>
            </a:p>
          </p:txBody>
        </p:sp>
        <p:sp>
          <p:nvSpPr>
            <p:cNvPr id="66" name="Forme libre : forme 155">
              <a:extLst/>
            </p:cNvPr>
            <p:cNvSpPr/>
            <p:nvPr/>
          </p:nvSpPr>
          <p:spPr>
            <a:xfrm>
              <a:off x="8716038" y="2295854"/>
              <a:ext cx="1285871" cy="1293226"/>
            </a:xfrm>
            <a:custGeom>
              <a:avLst/>
              <a:gdLst>
                <a:gd name="connsiteX0" fmla="*/ 1278894 w 1285874"/>
                <a:gd name="connsiteY0" fmla="*/ 1134142 h 1293222"/>
                <a:gd name="connsiteX1" fmla="*/ 904154 w 1285874"/>
                <a:gd name="connsiteY1" fmla="*/ 759401 h 1293222"/>
                <a:gd name="connsiteX2" fmla="*/ 982776 w 1285874"/>
                <a:gd name="connsiteY2" fmla="*/ 494143 h 1293222"/>
                <a:gd name="connsiteX3" fmla="*/ 494143 w 1285874"/>
                <a:gd name="connsiteY3" fmla="*/ 5511 h 1293222"/>
                <a:gd name="connsiteX4" fmla="*/ 5511 w 1285874"/>
                <a:gd name="connsiteY4" fmla="*/ 494143 h 1293222"/>
                <a:gd name="connsiteX5" fmla="*/ 494143 w 1285874"/>
                <a:gd name="connsiteY5" fmla="*/ 982776 h 1293222"/>
                <a:gd name="connsiteX6" fmla="*/ 758666 w 1285874"/>
                <a:gd name="connsiteY6" fmla="*/ 904889 h 1293222"/>
                <a:gd name="connsiteX7" fmla="*/ 1134142 w 1285874"/>
                <a:gd name="connsiteY7" fmla="*/ 1280364 h 1293222"/>
                <a:gd name="connsiteX8" fmla="*/ 1170146 w 1285874"/>
                <a:gd name="connsiteY8" fmla="*/ 1280364 h 1293222"/>
                <a:gd name="connsiteX9" fmla="*/ 1278894 w 1285874"/>
                <a:gd name="connsiteY9" fmla="*/ 1171616 h 1293222"/>
                <a:gd name="connsiteX10" fmla="*/ 1278894 w 1285874"/>
                <a:gd name="connsiteY10" fmla="*/ 1134142 h 1293222"/>
                <a:gd name="connsiteX11" fmla="*/ 494143 w 1285874"/>
                <a:gd name="connsiteY11" fmla="*/ 777036 h 1293222"/>
                <a:gd name="connsiteX12" fmla="*/ 211251 w 1285874"/>
                <a:gd name="connsiteY12" fmla="*/ 494143 h 1293222"/>
                <a:gd name="connsiteX13" fmla="*/ 494143 w 1285874"/>
                <a:gd name="connsiteY13" fmla="*/ 211251 h 1293222"/>
                <a:gd name="connsiteX14" fmla="*/ 777036 w 1285874"/>
                <a:gd name="connsiteY14" fmla="*/ 494143 h 1293222"/>
                <a:gd name="connsiteX15" fmla="*/ 494143 w 1285874"/>
                <a:gd name="connsiteY15" fmla="*/ 777036 h 12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5874" h="1293222">
                  <a:moveTo>
                    <a:pt x="1278894" y="1134142"/>
                  </a:moveTo>
                  <a:lnTo>
                    <a:pt x="904154" y="759401"/>
                  </a:lnTo>
                  <a:cubicBezTo>
                    <a:pt x="953384" y="682983"/>
                    <a:pt x="982776" y="591870"/>
                    <a:pt x="982776" y="494143"/>
                  </a:cubicBezTo>
                  <a:cubicBezTo>
                    <a:pt x="982776" y="224477"/>
                    <a:pt x="763810" y="5511"/>
                    <a:pt x="494143" y="5511"/>
                  </a:cubicBezTo>
                  <a:cubicBezTo>
                    <a:pt x="224477" y="5511"/>
                    <a:pt x="5511" y="224477"/>
                    <a:pt x="5511" y="494143"/>
                  </a:cubicBezTo>
                  <a:cubicBezTo>
                    <a:pt x="5511" y="763810"/>
                    <a:pt x="224477" y="982776"/>
                    <a:pt x="494143" y="982776"/>
                  </a:cubicBezTo>
                  <a:cubicBezTo>
                    <a:pt x="591870" y="982776"/>
                    <a:pt x="682249" y="954119"/>
                    <a:pt x="758666" y="904889"/>
                  </a:cubicBezTo>
                  <a:lnTo>
                    <a:pt x="1134142" y="1280364"/>
                  </a:lnTo>
                  <a:cubicBezTo>
                    <a:pt x="1144429" y="1290651"/>
                    <a:pt x="1160594" y="1290651"/>
                    <a:pt x="1170146" y="1280364"/>
                  </a:cubicBezTo>
                  <a:lnTo>
                    <a:pt x="1278894" y="1171616"/>
                  </a:lnTo>
                  <a:cubicBezTo>
                    <a:pt x="1289182" y="1160594"/>
                    <a:pt x="1289182" y="1144429"/>
                    <a:pt x="1278894" y="1134142"/>
                  </a:cubicBezTo>
                  <a:close/>
                  <a:moveTo>
                    <a:pt x="494143" y="777036"/>
                  </a:moveTo>
                  <a:cubicBezTo>
                    <a:pt x="338369" y="777036"/>
                    <a:pt x="211251" y="649918"/>
                    <a:pt x="211251" y="494143"/>
                  </a:cubicBezTo>
                  <a:cubicBezTo>
                    <a:pt x="211251" y="338369"/>
                    <a:pt x="338369" y="211251"/>
                    <a:pt x="494143" y="211251"/>
                  </a:cubicBezTo>
                  <a:cubicBezTo>
                    <a:pt x="649918" y="211251"/>
                    <a:pt x="777036" y="338369"/>
                    <a:pt x="777036" y="494143"/>
                  </a:cubicBezTo>
                  <a:cubicBezTo>
                    <a:pt x="777036" y="649918"/>
                    <a:pt x="649918" y="777036"/>
                    <a:pt x="494143" y="777036"/>
                  </a:cubicBezTo>
                  <a:close/>
                </a:path>
              </a:pathLst>
            </a:custGeom>
            <a:solidFill>
              <a:schemeClr val="bg1"/>
            </a:solidFill>
            <a:ln w="9525" cap="flat">
              <a:noFill/>
              <a:prstDash val="solid"/>
              <a:miter/>
            </a:ln>
          </p:spPr>
          <p:txBody>
            <a:bodyPr rtlCol="0" anchor="ctr"/>
            <a:lstStyle/>
            <a:p>
              <a:pPr defTabSz="685800">
                <a:defRPr/>
              </a:pPr>
              <a:endParaRPr lang="fr-BE" sz="1350">
                <a:solidFill>
                  <a:prstClr val="white"/>
                </a:solidFill>
              </a:endParaRPr>
            </a:p>
          </p:txBody>
        </p:sp>
      </p:grpSp>
      <p:pic>
        <p:nvPicPr>
          <p:cNvPr id="69" name="Picture 2">
            <a:extLst/>
          </p:cNvPr>
          <p:cNvPicPr>
            <a:picLocks noChangeAspect="1" noChangeArrowheads="1"/>
          </p:cNvPicPr>
          <p:nvPr/>
        </p:nvPicPr>
        <p:blipFill>
          <a:blip r:embed="rId6" cstate="print">
            <a:extLst>
              <a:ext uri="{28A0092B-C50C-407E-A947-70E740481C1C}">
                <a14:useLocalDpi xmlns:a14="http://schemas.microsoft.com/office/drawing/2010/main"/>
              </a:ext>
            </a:extLst>
          </a:blip>
          <a:stretch>
            <a:fillRect/>
          </a:stretch>
        </p:blipFill>
        <p:spPr bwMode="auto">
          <a:xfrm>
            <a:off x="6980616" y="2190250"/>
            <a:ext cx="711196" cy="62972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70" name="Image 69">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187406" y="2162118"/>
            <a:ext cx="390276" cy="755388"/>
          </a:xfrm>
          <a:prstGeom prst="rect">
            <a:avLst/>
          </a:prstGeom>
          <a:effectLst>
            <a:outerShdw blurRad="76200" dir="13500000" sy="23000" kx="1200000" algn="br" rotWithShape="0">
              <a:prstClr val="black">
                <a:alpha val="20000"/>
              </a:prstClr>
            </a:outerShdw>
          </a:effectLst>
        </p:spPr>
      </p:pic>
      <p:sp>
        <p:nvSpPr>
          <p:cNvPr id="71" name="ZoneTexte 70"/>
          <p:cNvSpPr txBox="1"/>
          <p:nvPr/>
        </p:nvSpPr>
        <p:spPr>
          <a:xfrm>
            <a:off x="7264610" y="1790792"/>
            <a:ext cx="1764881" cy="300082"/>
          </a:xfrm>
          <a:prstGeom prst="rect">
            <a:avLst/>
          </a:prstGeom>
          <a:noFill/>
        </p:spPr>
        <p:txBody>
          <a:bodyPr wrap="square" rtlCol="0">
            <a:spAutoFit/>
          </a:bodyPr>
          <a:lstStyle/>
          <a:p>
            <a:pPr defTabSz="685800" fontAlgn="auto">
              <a:spcBef>
                <a:spcPts val="0"/>
              </a:spcBef>
              <a:spcAft>
                <a:spcPts val="0"/>
              </a:spcAft>
            </a:pPr>
            <a:r>
              <a:rPr lang="en-US" sz="1350" dirty="0">
                <a:solidFill>
                  <a:prstClr val="white"/>
                </a:solidFill>
                <a:latin typeface="Calibri" panose="020F0502020204030204"/>
              </a:rPr>
              <a:t>IOT Apps &amp; Analytics</a:t>
            </a:r>
            <a:endParaRPr lang="en-US" sz="1050" dirty="0">
              <a:solidFill>
                <a:prstClr val="white"/>
              </a:solidFill>
              <a:latin typeface="Calibri" panose="020F0502020204030204"/>
            </a:endParaRPr>
          </a:p>
        </p:txBody>
      </p:sp>
      <p:sp>
        <p:nvSpPr>
          <p:cNvPr id="72" name="Ellipse 141">
            <a:extLst/>
          </p:cNvPr>
          <p:cNvSpPr>
            <a:spLocks noChangeAspect="1"/>
          </p:cNvSpPr>
          <p:nvPr/>
        </p:nvSpPr>
        <p:spPr>
          <a:xfrm>
            <a:off x="7320861" y="3542022"/>
            <a:ext cx="626400" cy="626400"/>
          </a:xfrm>
          <a:prstGeom prst="ellipse">
            <a:avLst/>
          </a:prstGeom>
          <a:solidFill>
            <a:schemeClr val="bg1"/>
          </a:solidFill>
          <a:ln>
            <a:noFill/>
          </a:ln>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spcBef>
                <a:spcPts val="0"/>
              </a:spcBef>
              <a:defRPr/>
            </a:pPr>
            <a:endParaRPr lang="en-US" sz="1350" dirty="0">
              <a:solidFill>
                <a:srgbClr val="000000"/>
              </a:solidFill>
              <a:latin typeface="Trebuchet MS"/>
              <a:cs typeface="Trebuchet MS"/>
            </a:endParaRPr>
          </a:p>
        </p:txBody>
      </p:sp>
      <p:sp>
        <p:nvSpPr>
          <p:cNvPr id="74" name="ZoneTexte 73"/>
          <p:cNvSpPr txBox="1"/>
          <p:nvPr/>
        </p:nvSpPr>
        <p:spPr>
          <a:xfrm>
            <a:off x="7218948" y="3059099"/>
            <a:ext cx="1764881" cy="507831"/>
          </a:xfrm>
          <a:prstGeom prst="rect">
            <a:avLst/>
          </a:prstGeom>
          <a:noFill/>
        </p:spPr>
        <p:txBody>
          <a:bodyPr wrap="square" rtlCol="0">
            <a:spAutoFit/>
          </a:bodyPr>
          <a:lstStyle/>
          <a:p>
            <a:pPr defTabSz="685800" fontAlgn="auto">
              <a:spcBef>
                <a:spcPts val="0"/>
              </a:spcBef>
              <a:spcAft>
                <a:spcPts val="0"/>
              </a:spcAft>
            </a:pPr>
            <a:r>
              <a:rPr lang="en-US" sz="1350" dirty="0">
                <a:solidFill>
                  <a:prstClr val="white"/>
                </a:solidFill>
                <a:latin typeface="Calibri" panose="020F0502020204030204"/>
              </a:rPr>
              <a:t>Business Process</a:t>
            </a:r>
          </a:p>
          <a:p>
            <a:pPr defTabSz="685800" fontAlgn="auto">
              <a:spcBef>
                <a:spcPts val="0"/>
              </a:spcBef>
              <a:spcAft>
                <a:spcPts val="0"/>
              </a:spcAft>
            </a:pPr>
            <a:r>
              <a:rPr lang="en-US" sz="1350" dirty="0">
                <a:solidFill>
                  <a:prstClr val="white"/>
                </a:solidFill>
                <a:latin typeface="Calibri" panose="020F0502020204030204"/>
              </a:rPr>
              <a:t>integration</a:t>
            </a:r>
          </a:p>
        </p:txBody>
      </p:sp>
      <p:sp>
        <p:nvSpPr>
          <p:cNvPr id="75" name="Freeform 210">
            <a:extLst/>
          </p:cNvPr>
          <p:cNvSpPr>
            <a:spLocks noChangeAspect="1" noEditPoints="1"/>
          </p:cNvSpPr>
          <p:nvPr/>
        </p:nvSpPr>
        <p:spPr bwMode="auto">
          <a:xfrm>
            <a:off x="7390178" y="3619923"/>
            <a:ext cx="486000" cy="482321"/>
          </a:xfrm>
          <a:custGeom>
            <a:avLst/>
            <a:gdLst>
              <a:gd name="T0" fmla="*/ 5569 w 6067"/>
              <a:gd name="T1" fmla="*/ 2512 h 6022"/>
              <a:gd name="T2" fmla="*/ 5257 w 6067"/>
              <a:gd name="T3" fmla="*/ 1803 h 6022"/>
              <a:gd name="T4" fmla="*/ 5336 w 6067"/>
              <a:gd name="T5" fmla="*/ 1485 h 6022"/>
              <a:gd name="T6" fmla="*/ 5480 w 6067"/>
              <a:gd name="T7" fmla="*/ 1208 h 6022"/>
              <a:gd name="T8" fmla="*/ 5046 w 6067"/>
              <a:gd name="T9" fmla="*/ 694 h 6022"/>
              <a:gd name="T10" fmla="*/ 4759 w 6067"/>
              <a:gd name="T11" fmla="*/ 719 h 6022"/>
              <a:gd name="T12" fmla="*/ 4467 w 6067"/>
              <a:gd name="T13" fmla="*/ 870 h 6022"/>
              <a:gd name="T14" fmla="*/ 3732 w 6067"/>
              <a:gd name="T15" fmla="*/ 588 h 6022"/>
              <a:gd name="T16" fmla="*/ 3561 w 6067"/>
              <a:gd name="T17" fmla="*/ 308 h 6022"/>
              <a:gd name="T18" fmla="*/ 3466 w 6067"/>
              <a:gd name="T19" fmla="*/ 69 h 6022"/>
              <a:gd name="T20" fmla="*/ 2797 w 6067"/>
              <a:gd name="T21" fmla="*/ 11 h 6022"/>
              <a:gd name="T22" fmla="*/ 2610 w 6067"/>
              <a:gd name="T23" fmla="*/ 232 h 6022"/>
              <a:gd name="T24" fmla="*/ 2513 w 6067"/>
              <a:gd name="T25" fmla="*/ 496 h 6022"/>
              <a:gd name="T26" fmla="*/ 1823 w 6067"/>
              <a:gd name="T27" fmla="*/ 805 h 6022"/>
              <a:gd name="T28" fmla="*/ 1505 w 6067"/>
              <a:gd name="T29" fmla="*/ 728 h 6022"/>
              <a:gd name="T30" fmla="*/ 1253 w 6067"/>
              <a:gd name="T31" fmla="*/ 609 h 6022"/>
              <a:gd name="T32" fmla="*/ 737 w 6067"/>
              <a:gd name="T33" fmla="*/ 1041 h 6022"/>
              <a:gd name="T34" fmla="*/ 762 w 6067"/>
              <a:gd name="T35" fmla="*/ 1330 h 6022"/>
              <a:gd name="T36" fmla="*/ 892 w 6067"/>
              <a:gd name="T37" fmla="*/ 1598 h 6022"/>
              <a:gd name="T38" fmla="*/ 624 w 6067"/>
              <a:gd name="T39" fmla="*/ 2291 h 6022"/>
              <a:gd name="T40" fmla="*/ 342 w 6067"/>
              <a:gd name="T41" fmla="*/ 2462 h 6022"/>
              <a:gd name="T42" fmla="*/ 68 w 6067"/>
              <a:gd name="T43" fmla="*/ 2556 h 6022"/>
              <a:gd name="T44" fmla="*/ 11 w 6067"/>
              <a:gd name="T45" fmla="*/ 3226 h 6022"/>
              <a:gd name="T46" fmla="*/ 232 w 6067"/>
              <a:gd name="T47" fmla="*/ 3413 h 6022"/>
              <a:gd name="T48" fmla="*/ 516 w 6067"/>
              <a:gd name="T49" fmla="*/ 3510 h 6022"/>
              <a:gd name="T50" fmla="*/ 811 w 6067"/>
              <a:gd name="T51" fmla="*/ 4193 h 6022"/>
              <a:gd name="T52" fmla="*/ 732 w 6067"/>
              <a:gd name="T53" fmla="*/ 4514 h 6022"/>
              <a:gd name="T54" fmla="*/ 608 w 6067"/>
              <a:gd name="T55" fmla="*/ 4769 h 6022"/>
              <a:gd name="T56" fmla="*/ 1041 w 6067"/>
              <a:gd name="T57" fmla="*/ 5283 h 6022"/>
              <a:gd name="T58" fmla="*/ 1330 w 6067"/>
              <a:gd name="T59" fmla="*/ 5260 h 6022"/>
              <a:gd name="T60" fmla="*/ 1589 w 6067"/>
              <a:gd name="T61" fmla="*/ 5140 h 6022"/>
              <a:gd name="T62" fmla="*/ 2292 w 6067"/>
              <a:gd name="T63" fmla="*/ 5424 h 6022"/>
              <a:gd name="T64" fmla="*/ 2463 w 6067"/>
              <a:gd name="T65" fmla="*/ 5708 h 6022"/>
              <a:gd name="T66" fmla="*/ 2556 w 6067"/>
              <a:gd name="T67" fmla="*/ 5952 h 6022"/>
              <a:gd name="T68" fmla="*/ 3225 w 6067"/>
              <a:gd name="T69" fmla="*/ 6011 h 6022"/>
              <a:gd name="T70" fmla="*/ 3412 w 6067"/>
              <a:gd name="T71" fmla="*/ 5794 h 6022"/>
              <a:gd name="T72" fmla="*/ 3531 w 6067"/>
              <a:gd name="T73" fmla="*/ 5524 h 6022"/>
              <a:gd name="T74" fmla="*/ 4254 w 6067"/>
              <a:gd name="T75" fmla="*/ 5239 h 6022"/>
              <a:gd name="T76" fmla="*/ 4565 w 6067"/>
              <a:gd name="T77" fmla="*/ 5337 h 6022"/>
              <a:gd name="T78" fmla="*/ 4820 w 6067"/>
              <a:gd name="T79" fmla="*/ 5404 h 6022"/>
              <a:gd name="T80" fmla="*/ 5305 w 6067"/>
              <a:gd name="T81" fmla="*/ 4935 h 6022"/>
              <a:gd name="T82" fmla="*/ 5253 w 6067"/>
              <a:gd name="T83" fmla="*/ 4681 h 6022"/>
              <a:gd name="T84" fmla="*/ 5176 w 6067"/>
              <a:gd name="T85" fmla="*/ 4380 h 6022"/>
              <a:gd name="T86" fmla="*/ 5519 w 6067"/>
              <a:gd name="T87" fmla="*/ 3666 h 6022"/>
              <a:gd name="T88" fmla="*/ 5794 w 6067"/>
              <a:gd name="T89" fmla="*/ 3560 h 6022"/>
              <a:gd name="T90" fmla="*/ 6039 w 6067"/>
              <a:gd name="T91" fmla="*/ 3402 h 6022"/>
              <a:gd name="T92" fmla="*/ 6024 w 6067"/>
              <a:gd name="T93" fmla="*/ 2728 h 6022"/>
              <a:gd name="T94" fmla="*/ 4464 w 6067"/>
              <a:gd name="T95" fmla="*/ 3794 h 6022"/>
              <a:gd name="T96" fmla="*/ 3980 w 6067"/>
              <a:gd name="T97" fmla="*/ 4336 h 6022"/>
              <a:gd name="T98" fmla="*/ 3414 w 6067"/>
              <a:gd name="T99" fmla="*/ 4602 h 6022"/>
              <a:gd name="T100" fmla="*/ 2609 w 6067"/>
              <a:gd name="T101" fmla="*/ 4599 h 6022"/>
              <a:gd name="T102" fmla="*/ 1812 w 6067"/>
              <a:gd name="T103" fmla="*/ 4101 h 6022"/>
              <a:gd name="T104" fmla="*/ 1417 w 6067"/>
              <a:gd name="T105" fmla="*/ 3242 h 6022"/>
              <a:gd name="T106" fmla="*/ 1539 w 6067"/>
              <a:gd name="T107" fmla="*/ 2354 h 6022"/>
              <a:gd name="T108" fmla="*/ 2145 w 6067"/>
              <a:gd name="T109" fmla="*/ 1641 h 6022"/>
              <a:gd name="T110" fmla="*/ 3067 w 6067"/>
              <a:gd name="T111" fmla="*/ 1373 h 6022"/>
              <a:gd name="T112" fmla="*/ 3916 w 6067"/>
              <a:gd name="T113" fmla="*/ 1625 h 6022"/>
              <a:gd name="T114" fmla="*/ 4534 w 6067"/>
              <a:gd name="T115" fmla="*/ 2326 h 6022"/>
              <a:gd name="T116" fmla="*/ 4681 w 6067"/>
              <a:gd name="T117" fmla="*/ 3113 h 6022"/>
              <a:gd name="T118" fmla="*/ 4464 w 6067"/>
              <a:gd name="T119" fmla="*/ 3794 h 6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067" h="6022">
                <a:moveTo>
                  <a:pt x="5809" y="2608"/>
                </a:moveTo>
                <a:lnTo>
                  <a:pt x="5798" y="2608"/>
                </a:lnTo>
                <a:lnTo>
                  <a:pt x="5798" y="2608"/>
                </a:lnTo>
                <a:lnTo>
                  <a:pt x="5769" y="2606"/>
                </a:lnTo>
                <a:lnTo>
                  <a:pt x="5742" y="2602"/>
                </a:lnTo>
                <a:lnTo>
                  <a:pt x="5715" y="2595"/>
                </a:lnTo>
                <a:lnTo>
                  <a:pt x="5690" y="2586"/>
                </a:lnTo>
                <a:lnTo>
                  <a:pt x="5663" y="2575"/>
                </a:lnTo>
                <a:lnTo>
                  <a:pt x="5638" y="2563"/>
                </a:lnTo>
                <a:lnTo>
                  <a:pt x="5614" y="2548"/>
                </a:lnTo>
                <a:lnTo>
                  <a:pt x="5591" y="2530"/>
                </a:lnTo>
                <a:lnTo>
                  <a:pt x="5569" y="2512"/>
                </a:lnTo>
                <a:lnTo>
                  <a:pt x="5548" y="2493"/>
                </a:lnTo>
                <a:lnTo>
                  <a:pt x="5530" y="2471"/>
                </a:lnTo>
                <a:lnTo>
                  <a:pt x="5512" y="2450"/>
                </a:lnTo>
                <a:lnTo>
                  <a:pt x="5498" y="2426"/>
                </a:lnTo>
                <a:lnTo>
                  <a:pt x="5483" y="2401"/>
                </a:lnTo>
                <a:lnTo>
                  <a:pt x="5472" y="2376"/>
                </a:lnTo>
                <a:lnTo>
                  <a:pt x="5465" y="2351"/>
                </a:lnTo>
                <a:lnTo>
                  <a:pt x="5284" y="1882"/>
                </a:lnTo>
                <a:lnTo>
                  <a:pt x="5284" y="1882"/>
                </a:lnTo>
                <a:lnTo>
                  <a:pt x="5273" y="1857"/>
                </a:lnTo>
                <a:lnTo>
                  <a:pt x="5264" y="1830"/>
                </a:lnTo>
                <a:lnTo>
                  <a:pt x="5257" y="1803"/>
                </a:lnTo>
                <a:lnTo>
                  <a:pt x="5253" y="1776"/>
                </a:lnTo>
                <a:lnTo>
                  <a:pt x="5251" y="1747"/>
                </a:lnTo>
                <a:lnTo>
                  <a:pt x="5249" y="1720"/>
                </a:lnTo>
                <a:lnTo>
                  <a:pt x="5251" y="1691"/>
                </a:lnTo>
                <a:lnTo>
                  <a:pt x="5255" y="1662"/>
                </a:lnTo>
                <a:lnTo>
                  <a:pt x="5260" y="1634"/>
                </a:lnTo>
                <a:lnTo>
                  <a:pt x="5269" y="1607"/>
                </a:lnTo>
                <a:lnTo>
                  <a:pt x="5278" y="1580"/>
                </a:lnTo>
                <a:lnTo>
                  <a:pt x="5289" y="1553"/>
                </a:lnTo>
                <a:lnTo>
                  <a:pt x="5303" y="1529"/>
                </a:lnTo>
                <a:lnTo>
                  <a:pt x="5318" y="1506"/>
                </a:lnTo>
                <a:lnTo>
                  <a:pt x="5336" y="1485"/>
                </a:lnTo>
                <a:lnTo>
                  <a:pt x="5354" y="1465"/>
                </a:lnTo>
                <a:lnTo>
                  <a:pt x="5400" y="1418"/>
                </a:lnTo>
                <a:lnTo>
                  <a:pt x="5400" y="1418"/>
                </a:lnTo>
                <a:lnTo>
                  <a:pt x="5418" y="1398"/>
                </a:lnTo>
                <a:lnTo>
                  <a:pt x="5435" y="1379"/>
                </a:lnTo>
                <a:lnTo>
                  <a:pt x="5449" y="1355"/>
                </a:lnTo>
                <a:lnTo>
                  <a:pt x="5460" y="1332"/>
                </a:lnTo>
                <a:lnTo>
                  <a:pt x="5469" y="1308"/>
                </a:lnTo>
                <a:lnTo>
                  <a:pt x="5474" y="1283"/>
                </a:lnTo>
                <a:lnTo>
                  <a:pt x="5478" y="1258"/>
                </a:lnTo>
                <a:lnTo>
                  <a:pt x="5480" y="1233"/>
                </a:lnTo>
                <a:lnTo>
                  <a:pt x="5480" y="1208"/>
                </a:lnTo>
                <a:lnTo>
                  <a:pt x="5476" y="1183"/>
                </a:lnTo>
                <a:lnTo>
                  <a:pt x="5471" y="1159"/>
                </a:lnTo>
                <a:lnTo>
                  <a:pt x="5462" y="1134"/>
                </a:lnTo>
                <a:lnTo>
                  <a:pt x="5453" y="1111"/>
                </a:lnTo>
                <a:lnTo>
                  <a:pt x="5438" y="1087"/>
                </a:lnTo>
                <a:lnTo>
                  <a:pt x="5424" y="1068"/>
                </a:lnTo>
                <a:lnTo>
                  <a:pt x="5406" y="1046"/>
                </a:lnTo>
                <a:lnTo>
                  <a:pt x="5109" y="742"/>
                </a:lnTo>
                <a:lnTo>
                  <a:pt x="5109" y="742"/>
                </a:lnTo>
                <a:lnTo>
                  <a:pt x="5089" y="723"/>
                </a:lnTo>
                <a:lnTo>
                  <a:pt x="5070" y="708"/>
                </a:lnTo>
                <a:lnTo>
                  <a:pt x="5046" y="694"/>
                </a:lnTo>
                <a:lnTo>
                  <a:pt x="5023" y="683"/>
                </a:lnTo>
                <a:lnTo>
                  <a:pt x="5000" y="674"/>
                </a:lnTo>
                <a:lnTo>
                  <a:pt x="4974" y="667"/>
                </a:lnTo>
                <a:lnTo>
                  <a:pt x="4949" y="663"/>
                </a:lnTo>
                <a:lnTo>
                  <a:pt x="4924" y="662"/>
                </a:lnTo>
                <a:lnTo>
                  <a:pt x="4899" y="663"/>
                </a:lnTo>
                <a:lnTo>
                  <a:pt x="4874" y="667"/>
                </a:lnTo>
                <a:lnTo>
                  <a:pt x="4850" y="672"/>
                </a:lnTo>
                <a:lnTo>
                  <a:pt x="4825" y="680"/>
                </a:lnTo>
                <a:lnTo>
                  <a:pt x="4802" y="690"/>
                </a:lnTo>
                <a:lnTo>
                  <a:pt x="4780" y="703"/>
                </a:lnTo>
                <a:lnTo>
                  <a:pt x="4759" y="719"/>
                </a:lnTo>
                <a:lnTo>
                  <a:pt x="4737" y="735"/>
                </a:lnTo>
                <a:lnTo>
                  <a:pt x="4696" y="777"/>
                </a:lnTo>
                <a:lnTo>
                  <a:pt x="4696" y="777"/>
                </a:lnTo>
                <a:lnTo>
                  <a:pt x="4676" y="795"/>
                </a:lnTo>
                <a:lnTo>
                  <a:pt x="4653" y="811"/>
                </a:lnTo>
                <a:lnTo>
                  <a:pt x="4629" y="825"/>
                </a:lnTo>
                <a:lnTo>
                  <a:pt x="4604" y="838"/>
                </a:lnTo>
                <a:lnTo>
                  <a:pt x="4579" y="848"/>
                </a:lnTo>
                <a:lnTo>
                  <a:pt x="4552" y="856"/>
                </a:lnTo>
                <a:lnTo>
                  <a:pt x="4523" y="863"/>
                </a:lnTo>
                <a:lnTo>
                  <a:pt x="4496" y="868"/>
                </a:lnTo>
                <a:lnTo>
                  <a:pt x="4467" y="870"/>
                </a:lnTo>
                <a:lnTo>
                  <a:pt x="4439" y="870"/>
                </a:lnTo>
                <a:lnTo>
                  <a:pt x="4410" y="870"/>
                </a:lnTo>
                <a:lnTo>
                  <a:pt x="4383" y="865"/>
                </a:lnTo>
                <a:lnTo>
                  <a:pt x="4354" y="859"/>
                </a:lnTo>
                <a:lnTo>
                  <a:pt x="4329" y="852"/>
                </a:lnTo>
                <a:lnTo>
                  <a:pt x="4304" y="841"/>
                </a:lnTo>
                <a:lnTo>
                  <a:pt x="4279" y="829"/>
                </a:lnTo>
                <a:lnTo>
                  <a:pt x="3806" y="624"/>
                </a:lnTo>
                <a:lnTo>
                  <a:pt x="3806" y="624"/>
                </a:lnTo>
                <a:lnTo>
                  <a:pt x="3781" y="615"/>
                </a:lnTo>
                <a:lnTo>
                  <a:pt x="3756" y="602"/>
                </a:lnTo>
                <a:lnTo>
                  <a:pt x="3732" y="588"/>
                </a:lnTo>
                <a:lnTo>
                  <a:pt x="3709" y="572"/>
                </a:lnTo>
                <a:lnTo>
                  <a:pt x="3687" y="554"/>
                </a:lnTo>
                <a:lnTo>
                  <a:pt x="3667" y="534"/>
                </a:lnTo>
                <a:lnTo>
                  <a:pt x="3648" y="512"/>
                </a:lnTo>
                <a:lnTo>
                  <a:pt x="3630" y="491"/>
                </a:lnTo>
                <a:lnTo>
                  <a:pt x="3615" y="466"/>
                </a:lnTo>
                <a:lnTo>
                  <a:pt x="3601" y="442"/>
                </a:lnTo>
                <a:lnTo>
                  <a:pt x="3588" y="415"/>
                </a:lnTo>
                <a:lnTo>
                  <a:pt x="3578" y="390"/>
                </a:lnTo>
                <a:lnTo>
                  <a:pt x="3570" y="363"/>
                </a:lnTo>
                <a:lnTo>
                  <a:pt x="3563" y="334"/>
                </a:lnTo>
                <a:lnTo>
                  <a:pt x="3561" y="308"/>
                </a:lnTo>
                <a:lnTo>
                  <a:pt x="3560" y="281"/>
                </a:lnTo>
                <a:lnTo>
                  <a:pt x="3560" y="273"/>
                </a:lnTo>
                <a:lnTo>
                  <a:pt x="3560" y="273"/>
                </a:lnTo>
                <a:lnTo>
                  <a:pt x="3560" y="246"/>
                </a:lnTo>
                <a:lnTo>
                  <a:pt x="3556" y="221"/>
                </a:lnTo>
                <a:lnTo>
                  <a:pt x="3549" y="196"/>
                </a:lnTo>
                <a:lnTo>
                  <a:pt x="3540" y="171"/>
                </a:lnTo>
                <a:lnTo>
                  <a:pt x="3529" y="148"/>
                </a:lnTo>
                <a:lnTo>
                  <a:pt x="3516" y="126"/>
                </a:lnTo>
                <a:lnTo>
                  <a:pt x="3502" y="106"/>
                </a:lnTo>
                <a:lnTo>
                  <a:pt x="3486" y="86"/>
                </a:lnTo>
                <a:lnTo>
                  <a:pt x="3466" y="69"/>
                </a:lnTo>
                <a:lnTo>
                  <a:pt x="3446" y="54"/>
                </a:lnTo>
                <a:lnTo>
                  <a:pt x="3425" y="40"/>
                </a:lnTo>
                <a:lnTo>
                  <a:pt x="3403" y="29"/>
                </a:lnTo>
                <a:lnTo>
                  <a:pt x="3378" y="20"/>
                </a:lnTo>
                <a:lnTo>
                  <a:pt x="3353" y="13"/>
                </a:lnTo>
                <a:lnTo>
                  <a:pt x="3328" y="9"/>
                </a:lnTo>
                <a:lnTo>
                  <a:pt x="3301" y="7"/>
                </a:lnTo>
                <a:lnTo>
                  <a:pt x="2875" y="0"/>
                </a:lnTo>
                <a:lnTo>
                  <a:pt x="2875" y="0"/>
                </a:lnTo>
                <a:lnTo>
                  <a:pt x="2848" y="2"/>
                </a:lnTo>
                <a:lnTo>
                  <a:pt x="2822" y="6"/>
                </a:lnTo>
                <a:lnTo>
                  <a:pt x="2797" y="11"/>
                </a:lnTo>
                <a:lnTo>
                  <a:pt x="2772" y="20"/>
                </a:lnTo>
                <a:lnTo>
                  <a:pt x="2749" y="31"/>
                </a:lnTo>
                <a:lnTo>
                  <a:pt x="2727" y="43"/>
                </a:lnTo>
                <a:lnTo>
                  <a:pt x="2707" y="58"/>
                </a:lnTo>
                <a:lnTo>
                  <a:pt x="2688" y="76"/>
                </a:lnTo>
                <a:lnTo>
                  <a:pt x="2671" y="94"/>
                </a:lnTo>
                <a:lnTo>
                  <a:pt x="2655" y="113"/>
                </a:lnTo>
                <a:lnTo>
                  <a:pt x="2643" y="135"/>
                </a:lnTo>
                <a:lnTo>
                  <a:pt x="2630" y="158"/>
                </a:lnTo>
                <a:lnTo>
                  <a:pt x="2621" y="182"/>
                </a:lnTo>
                <a:lnTo>
                  <a:pt x="2614" y="207"/>
                </a:lnTo>
                <a:lnTo>
                  <a:pt x="2610" y="232"/>
                </a:lnTo>
                <a:lnTo>
                  <a:pt x="2609" y="259"/>
                </a:lnTo>
                <a:lnTo>
                  <a:pt x="2609" y="266"/>
                </a:lnTo>
                <a:lnTo>
                  <a:pt x="2609" y="266"/>
                </a:lnTo>
                <a:lnTo>
                  <a:pt x="2607" y="293"/>
                </a:lnTo>
                <a:lnTo>
                  <a:pt x="2601" y="322"/>
                </a:lnTo>
                <a:lnTo>
                  <a:pt x="2596" y="349"/>
                </a:lnTo>
                <a:lnTo>
                  <a:pt x="2587" y="374"/>
                </a:lnTo>
                <a:lnTo>
                  <a:pt x="2576" y="401"/>
                </a:lnTo>
                <a:lnTo>
                  <a:pt x="2562" y="426"/>
                </a:lnTo>
                <a:lnTo>
                  <a:pt x="2547" y="449"/>
                </a:lnTo>
                <a:lnTo>
                  <a:pt x="2531" y="473"/>
                </a:lnTo>
                <a:lnTo>
                  <a:pt x="2513" y="496"/>
                </a:lnTo>
                <a:lnTo>
                  <a:pt x="2493" y="516"/>
                </a:lnTo>
                <a:lnTo>
                  <a:pt x="2472" y="536"/>
                </a:lnTo>
                <a:lnTo>
                  <a:pt x="2450" y="554"/>
                </a:lnTo>
                <a:lnTo>
                  <a:pt x="2427" y="568"/>
                </a:lnTo>
                <a:lnTo>
                  <a:pt x="2402" y="582"/>
                </a:lnTo>
                <a:lnTo>
                  <a:pt x="2377" y="593"/>
                </a:lnTo>
                <a:lnTo>
                  <a:pt x="2351" y="602"/>
                </a:lnTo>
                <a:lnTo>
                  <a:pt x="1900" y="778"/>
                </a:lnTo>
                <a:lnTo>
                  <a:pt x="1900" y="778"/>
                </a:lnTo>
                <a:lnTo>
                  <a:pt x="1877" y="789"/>
                </a:lnTo>
                <a:lnTo>
                  <a:pt x="1850" y="798"/>
                </a:lnTo>
                <a:lnTo>
                  <a:pt x="1823" y="805"/>
                </a:lnTo>
                <a:lnTo>
                  <a:pt x="1796" y="809"/>
                </a:lnTo>
                <a:lnTo>
                  <a:pt x="1767" y="812"/>
                </a:lnTo>
                <a:lnTo>
                  <a:pt x="1738" y="812"/>
                </a:lnTo>
                <a:lnTo>
                  <a:pt x="1710" y="811"/>
                </a:lnTo>
                <a:lnTo>
                  <a:pt x="1683" y="807"/>
                </a:lnTo>
                <a:lnTo>
                  <a:pt x="1654" y="802"/>
                </a:lnTo>
                <a:lnTo>
                  <a:pt x="1627" y="795"/>
                </a:lnTo>
                <a:lnTo>
                  <a:pt x="1600" y="786"/>
                </a:lnTo>
                <a:lnTo>
                  <a:pt x="1573" y="773"/>
                </a:lnTo>
                <a:lnTo>
                  <a:pt x="1550" y="760"/>
                </a:lnTo>
                <a:lnTo>
                  <a:pt x="1526" y="746"/>
                </a:lnTo>
                <a:lnTo>
                  <a:pt x="1505" y="728"/>
                </a:lnTo>
                <a:lnTo>
                  <a:pt x="1485" y="710"/>
                </a:lnTo>
                <a:lnTo>
                  <a:pt x="1463" y="688"/>
                </a:lnTo>
                <a:lnTo>
                  <a:pt x="1463" y="688"/>
                </a:lnTo>
                <a:lnTo>
                  <a:pt x="1444" y="669"/>
                </a:lnTo>
                <a:lnTo>
                  <a:pt x="1422" y="654"/>
                </a:lnTo>
                <a:lnTo>
                  <a:pt x="1400" y="640"/>
                </a:lnTo>
                <a:lnTo>
                  <a:pt x="1377" y="629"/>
                </a:lnTo>
                <a:lnTo>
                  <a:pt x="1352" y="620"/>
                </a:lnTo>
                <a:lnTo>
                  <a:pt x="1329" y="615"/>
                </a:lnTo>
                <a:lnTo>
                  <a:pt x="1303" y="609"/>
                </a:lnTo>
                <a:lnTo>
                  <a:pt x="1278" y="608"/>
                </a:lnTo>
                <a:lnTo>
                  <a:pt x="1253" y="609"/>
                </a:lnTo>
                <a:lnTo>
                  <a:pt x="1228" y="613"/>
                </a:lnTo>
                <a:lnTo>
                  <a:pt x="1203" y="618"/>
                </a:lnTo>
                <a:lnTo>
                  <a:pt x="1178" y="626"/>
                </a:lnTo>
                <a:lnTo>
                  <a:pt x="1154" y="636"/>
                </a:lnTo>
                <a:lnTo>
                  <a:pt x="1133" y="649"/>
                </a:lnTo>
                <a:lnTo>
                  <a:pt x="1111" y="665"/>
                </a:lnTo>
                <a:lnTo>
                  <a:pt x="1091" y="683"/>
                </a:lnTo>
                <a:lnTo>
                  <a:pt x="786" y="978"/>
                </a:lnTo>
                <a:lnTo>
                  <a:pt x="786" y="978"/>
                </a:lnTo>
                <a:lnTo>
                  <a:pt x="768" y="998"/>
                </a:lnTo>
                <a:lnTo>
                  <a:pt x="751" y="1019"/>
                </a:lnTo>
                <a:lnTo>
                  <a:pt x="737" y="1041"/>
                </a:lnTo>
                <a:lnTo>
                  <a:pt x="726" y="1064"/>
                </a:lnTo>
                <a:lnTo>
                  <a:pt x="717" y="1089"/>
                </a:lnTo>
                <a:lnTo>
                  <a:pt x="712" y="1113"/>
                </a:lnTo>
                <a:lnTo>
                  <a:pt x="708" y="1138"/>
                </a:lnTo>
                <a:lnTo>
                  <a:pt x="707" y="1163"/>
                </a:lnTo>
                <a:lnTo>
                  <a:pt x="707" y="1188"/>
                </a:lnTo>
                <a:lnTo>
                  <a:pt x="710" y="1213"/>
                </a:lnTo>
                <a:lnTo>
                  <a:pt x="716" y="1238"/>
                </a:lnTo>
                <a:lnTo>
                  <a:pt x="724" y="1264"/>
                </a:lnTo>
                <a:lnTo>
                  <a:pt x="733" y="1287"/>
                </a:lnTo>
                <a:lnTo>
                  <a:pt x="748" y="1308"/>
                </a:lnTo>
                <a:lnTo>
                  <a:pt x="762" y="1330"/>
                </a:lnTo>
                <a:lnTo>
                  <a:pt x="780" y="1350"/>
                </a:lnTo>
                <a:lnTo>
                  <a:pt x="798" y="1370"/>
                </a:lnTo>
                <a:lnTo>
                  <a:pt x="798" y="1370"/>
                </a:lnTo>
                <a:lnTo>
                  <a:pt x="816" y="1389"/>
                </a:lnTo>
                <a:lnTo>
                  <a:pt x="832" y="1413"/>
                </a:lnTo>
                <a:lnTo>
                  <a:pt x="847" y="1436"/>
                </a:lnTo>
                <a:lnTo>
                  <a:pt x="859" y="1461"/>
                </a:lnTo>
                <a:lnTo>
                  <a:pt x="870" y="1486"/>
                </a:lnTo>
                <a:lnTo>
                  <a:pt x="879" y="1513"/>
                </a:lnTo>
                <a:lnTo>
                  <a:pt x="884" y="1542"/>
                </a:lnTo>
                <a:lnTo>
                  <a:pt x="890" y="1571"/>
                </a:lnTo>
                <a:lnTo>
                  <a:pt x="892" y="1598"/>
                </a:lnTo>
                <a:lnTo>
                  <a:pt x="893" y="1627"/>
                </a:lnTo>
                <a:lnTo>
                  <a:pt x="892" y="1655"/>
                </a:lnTo>
                <a:lnTo>
                  <a:pt x="888" y="1682"/>
                </a:lnTo>
                <a:lnTo>
                  <a:pt x="881" y="1711"/>
                </a:lnTo>
                <a:lnTo>
                  <a:pt x="874" y="1736"/>
                </a:lnTo>
                <a:lnTo>
                  <a:pt x="863" y="1761"/>
                </a:lnTo>
                <a:lnTo>
                  <a:pt x="850" y="1786"/>
                </a:lnTo>
                <a:lnTo>
                  <a:pt x="660" y="2218"/>
                </a:lnTo>
                <a:lnTo>
                  <a:pt x="660" y="2218"/>
                </a:lnTo>
                <a:lnTo>
                  <a:pt x="651" y="2243"/>
                </a:lnTo>
                <a:lnTo>
                  <a:pt x="638" y="2268"/>
                </a:lnTo>
                <a:lnTo>
                  <a:pt x="624" y="2291"/>
                </a:lnTo>
                <a:lnTo>
                  <a:pt x="608" y="2315"/>
                </a:lnTo>
                <a:lnTo>
                  <a:pt x="590" y="2336"/>
                </a:lnTo>
                <a:lnTo>
                  <a:pt x="568" y="2356"/>
                </a:lnTo>
                <a:lnTo>
                  <a:pt x="547" y="2376"/>
                </a:lnTo>
                <a:lnTo>
                  <a:pt x="525" y="2392"/>
                </a:lnTo>
                <a:lnTo>
                  <a:pt x="500" y="2408"/>
                </a:lnTo>
                <a:lnTo>
                  <a:pt x="475" y="2423"/>
                </a:lnTo>
                <a:lnTo>
                  <a:pt x="449" y="2435"/>
                </a:lnTo>
                <a:lnTo>
                  <a:pt x="422" y="2446"/>
                </a:lnTo>
                <a:lnTo>
                  <a:pt x="396" y="2453"/>
                </a:lnTo>
                <a:lnTo>
                  <a:pt x="369" y="2459"/>
                </a:lnTo>
                <a:lnTo>
                  <a:pt x="342" y="2462"/>
                </a:lnTo>
                <a:lnTo>
                  <a:pt x="315" y="2464"/>
                </a:lnTo>
                <a:lnTo>
                  <a:pt x="273" y="2462"/>
                </a:lnTo>
                <a:lnTo>
                  <a:pt x="273" y="2462"/>
                </a:lnTo>
                <a:lnTo>
                  <a:pt x="246" y="2464"/>
                </a:lnTo>
                <a:lnTo>
                  <a:pt x="219" y="2468"/>
                </a:lnTo>
                <a:lnTo>
                  <a:pt x="194" y="2473"/>
                </a:lnTo>
                <a:lnTo>
                  <a:pt x="171" y="2482"/>
                </a:lnTo>
                <a:lnTo>
                  <a:pt x="147" y="2493"/>
                </a:lnTo>
                <a:lnTo>
                  <a:pt x="126" y="2505"/>
                </a:lnTo>
                <a:lnTo>
                  <a:pt x="104" y="2521"/>
                </a:lnTo>
                <a:lnTo>
                  <a:pt x="86" y="2538"/>
                </a:lnTo>
                <a:lnTo>
                  <a:pt x="68" y="2556"/>
                </a:lnTo>
                <a:lnTo>
                  <a:pt x="54" y="2575"/>
                </a:lnTo>
                <a:lnTo>
                  <a:pt x="40" y="2597"/>
                </a:lnTo>
                <a:lnTo>
                  <a:pt x="29" y="2620"/>
                </a:lnTo>
                <a:lnTo>
                  <a:pt x="18" y="2644"/>
                </a:lnTo>
                <a:lnTo>
                  <a:pt x="13" y="2669"/>
                </a:lnTo>
                <a:lnTo>
                  <a:pt x="7" y="2696"/>
                </a:lnTo>
                <a:lnTo>
                  <a:pt x="5" y="2723"/>
                </a:lnTo>
                <a:lnTo>
                  <a:pt x="0" y="3147"/>
                </a:lnTo>
                <a:lnTo>
                  <a:pt x="0" y="3147"/>
                </a:lnTo>
                <a:lnTo>
                  <a:pt x="0" y="3174"/>
                </a:lnTo>
                <a:lnTo>
                  <a:pt x="4" y="3201"/>
                </a:lnTo>
                <a:lnTo>
                  <a:pt x="11" y="3226"/>
                </a:lnTo>
                <a:lnTo>
                  <a:pt x="18" y="3249"/>
                </a:lnTo>
                <a:lnTo>
                  <a:pt x="29" y="3273"/>
                </a:lnTo>
                <a:lnTo>
                  <a:pt x="43" y="3294"/>
                </a:lnTo>
                <a:lnTo>
                  <a:pt x="58" y="3316"/>
                </a:lnTo>
                <a:lnTo>
                  <a:pt x="74" y="3334"/>
                </a:lnTo>
                <a:lnTo>
                  <a:pt x="92" y="3352"/>
                </a:lnTo>
                <a:lnTo>
                  <a:pt x="113" y="3366"/>
                </a:lnTo>
                <a:lnTo>
                  <a:pt x="135" y="3380"/>
                </a:lnTo>
                <a:lnTo>
                  <a:pt x="156" y="3391"/>
                </a:lnTo>
                <a:lnTo>
                  <a:pt x="182" y="3400"/>
                </a:lnTo>
                <a:lnTo>
                  <a:pt x="207" y="3407"/>
                </a:lnTo>
                <a:lnTo>
                  <a:pt x="232" y="3413"/>
                </a:lnTo>
                <a:lnTo>
                  <a:pt x="259" y="3415"/>
                </a:lnTo>
                <a:lnTo>
                  <a:pt x="288" y="3415"/>
                </a:lnTo>
                <a:lnTo>
                  <a:pt x="288" y="3415"/>
                </a:lnTo>
                <a:lnTo>
                  <a:pt x="316" y="3416"/>
                </a:lnTo>
                <a:lnTo>
                  <a:pt x="343" y="3420"/>
                </a:lnTo>
                <a:lnTo>
                  <a:pt x="370" y="3427"/>
                </a:lnTo>
                <a:lnTo>
                  <a:pt x="396" y="3436"/>
                </a:lnTo>
                <a:lnTo>
                  <a:pt x="422" y="3447"/>
                </a:lnTo>
                <a:lnTo>
                  <a:pt x="448" y="3459"/>
                </a:lnTo>
                <a:lnTo>
                  <a:pt x="471" y="3476"/>
                </a:lnTo>
                <a:lnTo>
                  <a:pt x="494" y="3492"/>
                </a:lnTo>
                <a:lnTo>
                  <a:pt x="516" y="3510"/>
                </a:lnTo>
                <a:lnTo>
                  <a:pt x="538" y="3530"/>
                </a:lnTo>
                <a:lnTo>
                  <a:pt x="556" y="3551"/>
                </a:lnTo>
                <a:lnTo>
                  <a:pt x="573" y="3573"/>
                </a:lnTo>
                <a:lnTo>
                  <a:pt x="588" y="3596"/>
                </a:lnTo>
                <a:lnTo>
                  <a:pt x="600" y="3621"/>
                </a:lnTo>
                <a:lnTo>
                  <a:pt x="611" y="3646"/>
                </a:lnTo>
                <a:lnTo>
                  <a:pt x="620" y="3672"/>
                </a:lnTo>
                <a:lnTo>
                  <a:pt x="786" y="4115"/>
                </a:lnTo>
                <a:lnTo>
                  <a:pt x="786" y="4115"/>
                </a:lnTo>
                <a:lnTo>
                  <a:pt x="796" y="4141"/>
                </a:lnTo>
                <a:lnTo>
                  <a:pt x="805" y="4166"/>
                </a:lnTo>
                <a:lnTo>
                  <a:pt x="811" y="4193"/>
                </a:lnTo>
                <a:lnTo>
                  <a:pt x="816" y="4221"/>
                </a:lnTo>
                <a:lnTo>
                  <a:pt x="818" y="4250"/>
                </a:lnTo>
                <a:lnTo>
                  <a:pt x="818" y="4279"/>
                </a:lnTo>
                <a:lnTo>
                  <a:pt x="816" y="4306"/>
                </a:lnTo>
                <a:lnTo>
                  <a:pt x="813" y="4335"/>
                </a:lnTo>
                <a:lnTo>
                  <a:pt x="807" y="4363"/>
                </a:lnTo>
                <a:lnTo>
                  <a:pt x="798" y="4390"/>
                </a:lnTo>
                <a:lnTo>
                  <a:pt x="789" y="4417"/>
                </a:lnTo>
                <a:lnTo>
                  <a:pt x="777" y="4444"/>
                </a:lnTo>
                <a:lnTo>
                  <a:pt x="764" y="4469"/>
                </a:lnTo>
                <a:lnTo>
                  <a:pt x="750" y="4493"/>
                </a:lnTo>
                <a:lnTo>
                  <a:pt x="732" y="4514"/>
                </a:lnTo>
                <a:lnTo>
                  <a:pt x="714" y="4534"/>
                </a:lnTo>
                <a:lnTo>
                  <a:pt x="687" y="4559"/>
                </a:lnTo>
                <a:lnTo>
                  <a:pt x="687" y="4559"/>
                </a:lnTo>
                <a:lnTo>
                  <a:pt x="669" y="4579"/>
                </a:lnTo>
                <a:lnTo>
                  <a:pt x="653" y="4599"/>
                </a:lnTo>
                <a:lnTo>
                  <a:pt x="640" y="4622"/>
                </a:lnTo>
                <a:lnTo>
                  <a:pt x="629" y="4645"/>
                </a:lnTo>
                <a:lnTo>
                  <a:pt x="620" y="4669"/>
                </a:lnTo>
                <a:lnTo>
                  <a:pt x="613" y="4694"/>
                </a:lnTo>
                <a:lnTo>
                  <a:pt x="609" y="4719"/>
                </a:lnTo>
                <a:lnTo>
                  <a:pt x="608" y="4744"/>
                </a:lnTo>
                <a:lnTo>
                  <a:pt x="608" y="4769"/>
                </a:lnTo>
                <a:lnTo>
                  <a:pt x="611" y="4795"/>
                </a:lnTo>
                <a:lnTo>
                  <a:pt x="617" y="4820"/>
                </a:lnTo>
                <a:lnTo>
                  <a:pt x="626" y="4843"/>
                </a:lnTo>
                <a:lnTo>
                  <a:pt x="636" y="4867"/>
                </a:lnTo>
                <a:lnTo>
                  <a:pt x="649" y="4890"/>
                </a:lnTo>
                <a:lnTo>
                  <a:pt x="663" y="4911"/>
                </a:lnTo>
                <a:lnTo>
                  <a:pt x="681" y="4931"/>
                </a:lnTo>
                <a:lnTo>
                  <a:pt x="978" y="5237"/>
                </a:lnTo>
                <a:lnTo>
                  <a:pt x="978" y="5237"/>
                </a:lnTo>
                <a:lnTo>
                  <a:pt x="998" y="5255"/>
                </a:lnTo>
                <a:lnTo>
                  <a:pt x="1019" y="5271"/>
                </a:lnTo>
                <a:lnTo>
                  <a:pt x="1041" y="5283"/>
                </a:lnTo>
                <a:lnTo>
                  <a:pt x="1064" y="5294"/>
                </a:lnTo>
                <a:lnTo>
                  <a:pt x="1088" y="5303"/>
                </a:lnTo>
                <a:lnTo>
                  <a:pt x="1113" y="5310"/>
                </a:lnTo>
                <a:lnTo>
                  <a:pt x="1138" y="5314"/>
                </a:lnTo>
                <a:lnTo>
                  <a:pt x="1163" y="5316"/>
                </a:lnTo>
                <a:lnTo>
                  <a:pt x="1188" y="5314"/>
                </a:lnTo>
                <a:lnTo>
                  <a:pt x="1213" y="5312"/>
                </a:lnTo>
                <a:lnTo>
                  <a:pt x="1239" y="5305"/>
                </a:lnTo>
                <a:lnTo>
                  <a:pt x="1262" y="5298"/>
                </a:lnTo>
                <a:lnTo>
                  <a:pt x="1285" y="5287"/>
                </a:lnTo>
                <a:lnTo>
                  <a:pt x="1309" y="5274"/>
                </a:lnTo>
                <a:lnTo>
                  <a:pt x="1330" y="5260"/>
                </a:lnTo>
                <a:lnTo>
                  <a:pt x="1350" y="5242"/>
                </a:lnTo>
                <a:lnTo>
                  <a:pt x="1361" y="5231"/>
                </a:lnTo>
                <a:lnTo>
                  <a:pt x="1361" y="5231"/>
                </a:lnTo>
                <a:lnTo>
                  <a:pt x="1381" y="5213"/>
                </a:lnTo>
                <a:lnTo>
                  <a:pt x="1404" y="5197"/>
                </a:lnTo>
                <a:lnTo>
                  <a:pt x="1427" y="5183"/>
                </a:lnTo>
                <a:lnTo>
                  <a:pt x="1453" y="5170"/>
                </a:lnTo>
                <a:lnTo>
                  <a:pt x="1478" y="5161"/>
                </a:lnTo>
                <a:lnTo>
                  <a:pt x="1505" y="5152"/>
                </a:lnTo>
                <a:lnTo>
                  <a:pt x="1532" y="5145"/>
                </a:lnTo>
                <a:lnTo>
                  <a:pt x="1560" y="5141"/>
                </a:lnTo>
                <a:lnTo>
                  <a:pt x="1589" y="5140"/>
                </a:lnTo>
                <a:lnTo>
                  <a:pt x="1616" y="5140"/>
                </a:lnTo>
                <a:lnTo>
                  <a:pt x="1645" y="5141"/>
                </a:lnTo>
                <a:lnTo>
                  <a:pt x="1672" y="5145"/>
                </a:lnTo>
                <a:lnTo>
                  <a:pt x="1699" y="5150"/>
                </a:lnTo>
                <a:lnTo>
                  <a:pt x="1726" y="5159"/>
                </a:lnTo>
                <a:lnTo>
                  <a:pt x="1751" y="5170"/>
                </a:lnTo>
                <a:lnTo>
                  <a:pt x="1774" y="5183"/>
                </a:lnTo>
                <a:lnTo>
                  <a:pt x="2218" y="5386"/>
                </a:lnTo>
                <a:lnTo>
                  <a:pt x="2218" y="5386"/>
                </a:lnTo>
                <a:lnTo>
                  <a:pt x="2244" y="5397"/>
                </a:lnTo>
                <a:lnTo>
                  <a:pt x="2269" y="5409"/>
                </a:lnTo>
                <a:lnTo>
                  <a:pt x="2292" y="5424"/>
                </a:lnTo>
                <a:lnTo>
                  <a:pt x="2316" y="5440"/>
                </a:lnTo>
                <a:lnTo>
                  <a:pt x="2337" y="5460"/>
                </a:lnTo>
                <a:lnTo>
                  <a:pt x="2357" y="5479"/>
                </a:lnTo>
                <a:lnTo>
                  <a:pt x="2375" y="5501"/>
                </a:lnTo>
                <a:lnTo>
                  <a:pt x="2393" y="5524"/>
                </a:lnTo>
                <a:lnTo>
                  <a:pt x="2409" y="5549"/>
                </a:lnTo>
                <a:lnTo>
                  <a:pt x="2423" y="5575"/>
                </a:lnTo>
                <a:lnTo>
                  <a:pt x="2434" y="5600"/>
                </a:lnTo>
                <a:lnTo>
                  <a:pt x="2445" y="5627"/>
                </a:lnTo>
                <a:lnTo>
                  <a:pt x="2454" y="5654"/>
                </a:lnTo>
                <a:lnTo>
                  <a:pt x="2459" y="5681"/>
                </a:lnTo>
                <a:lnTo>
                  <a:pt x="2463" y="5708"/>
                </a:lnTo>
                <a:lnTo>
                  <a:pt x="2463" y="5736"/>
                </a:lnTo>
                <a:lnTo>
                  <a:pt x="2463" y="5749"/>
                </a:lnTo>
                <a:lnTo>
                  <a:pt x="2463" y="5749"/>
                </a:lnTo>
                <a:lnTo>
                  <a:pt x="2465" y="5776"/>
                </a:lnTo>
                <a:lnTo>
                  <a:pt x="2468" y="5801"/>
                </a:lnTo>
                <a:lnTo>
                  <a:pt x="2474" y="5826"/>
                </a:lnTo>
                <a:lnTo>
                  <a:pt x="2483" y="5851"/>
                </a:lnTo>
                <a:lnTo>
                  <a:pt x="2493" y="5873"/>
                </a:lnTo>
                <a:lnTo>
                  <a:pt x="2506" y="5896"/>
                </a:lnTo>
                <a:lnTo>
                  <a:pt x="2520" y="5916"/>
                </a:lnTo>
                <a:lnTo>
                  <a:pt x="2538" y="5936"/>
                </a:lnTo>
                <a:lnTo>
                  <a:pt x="2556" y="5952"/>
                </a:lnTo>
                <a:lnTo>
                  <a:pt x="2576" y="5968"/>
                </a:lnTo>
                <a:lnTo>
                  <a:pt x="2598" y="5981"/>
                </a:lnTo>
                <a:lnTo>
                  <a:pt x="2621" y="5993"/>
                </a:lnTo>
                <a:lnTo>
                  <a:pt x="2645" y="6002"/>
                </a:lnTo>
                <a:lnTo>
                  <a:pt x="2670" y="6009"/>
                </a:lnTo>
                <a:lnTo>
                  <a:pt x="2695" y="6013"/>
                </a:lnTo>
                <a:lnTo>
                  <a:pt x="2722" y="6015"/>
                </a:lnTo>
                <a:lnTo>
                  <a:pt x="3148" y="6022"/>
                </a:lnTo>
                <a:lnTo>
                  <a:pt x="3148" y="6022"/>
                </a:lnTo>
                <a:lnTo>
                  <a:pt x="3175" y="6020"/>
                </a:lnTo>
                <a:lnTo>
                  <a:pt x="3200" y="6017"/>
                </a:lnTo>
                <a:lnTo>
                  <a:pt x="3225" y="6011"/>
                </a:lnTo>
                <a:lnTo>
                  <a:pt x="3250" y="6002"/>
                </a:lnTo>
                <a:lnTo>
                  <a:pt x="3274" y="5991"/>
                </a:lnTo>
                <a:lnTo>
                  <a:pt x="3295" y="5979"/>
                </a:lnTo>
                <a:lnTo>
                  <a:pt x="3315" y="5964"/>
                </a:lnTo>
                <a:lnTo>
                  <a:pt x="3335" y="5948"/>
                </a:lnTo>
                <a:lnTo>
                  <a:pt x="3351" y="5930"/>
                </a:lnTo>
                <a:lnTo>
                  <a:pt x="3367" y="5911"/>
                </a:lnTo>
                <a:lnTo>
                  <a:pt x="3382" y="5889"/>
                </a:lnTo>
                <a:lnTo>
                  <a:pt x="3392" y="5867"/>
                </a:lnTo>
                <a:lnTo>
                  <a:pt x="3401" y="5844"/>
                </a:lnTo>
                <a:lnTo>
                  <a:pt x="3409" y="5819"/>
                </a:lnTo>
                <a:lnTo>
                  <a:pt x="3412" y="5794"/>
                </a:lnTo>
                <a:lnTo>
                  <a:pt x="3414" y="5767"/>
                </a:lnTo>
                <a:lnTo>
                  <a:pt x="3414" y="5767"/>
                </a:lnTo>
                <a:lnTo>
                  <a:pt x="3416" y="5742"/>
                </a:lnTo>
                <a:lnTo>
                  <a:pt x="3421" y="5715"/>
                </a:lnTo>
                <a:lnTo>
                  <a:pt x="3427" y="5688"/>
                </a:lnTo>
                <a:lnTo>
                  <a:pt x="3436" y="5663"/>
                </a:lnTo>
                <a:lnTo>
                  <a:pt x="3446" y="5637"/>
                </a:lnTo>
                <a:lnTo>
                  <a:pt x="3461" y="5612"/>
                </a:lnTo>
                <a:lnTo>
                  <a:pt x="3475" y="5589"/>
                </a:lnTo>
                <a:lnTo>
                  <a:pt x="3491" y="5566"/>
                </a:lnTo>
                <a:lnTo>
                  <a:pt x="3511" y="5544"/>
                </a:lnTo>
                <a:lnTo>
                  <a:pt x="3531" y="5524"/>
                </a:lnTo>
                <a:lnTo>
                  <a:pt x="3551" y="5506"/>
                </a:lnTo>
                <a:lnTo>
                  <a:pt x="3574" y="5490"/>
                </a:lnTo>
                <a:lnTo>
                  <a:pt x="3597" y="5476"/>
                </a:lnTo>
                <a:lnTo>
                  <a:pt x="3622" y="5463"/>
                </a:lnTo>
                <a:lnTo>
                  <a:pt x="3648" y="5452"/>
                </a:lnTo>
                <a:lnTo>
                  <a:pt x="3673" y="5443"/>
                </a:lnTo>
                <a:lnTo>
                  <a:pt x="4147" y="5269"/>
                </a:lnTo>
                <a:lnTo>
                  <a:pt x="4147" y="5269"/>
                </a:lnTo>
                <a:lnTo>
                  <a:pt x="4173" y="5258"/>
                </a:lnTo>
                <a:lnTo>
                  <a:pt x="4200" y="5249"/>
                </a:lnTo>
                <a:lnTo>
                  <a:pt x="4227" y="5242"/>
                </a:lnTo>
                <a:lnTo>
                  <a:pt x="4254" y="5239"/>
                </a:lnTo>
                <a:lnTo>
                  <a:pt x="4282" y="5237"/>
                </a:lnTo>
                <a:lnTo>
                  <a:pt x="4311" y="5235"/>
                </a:lnTo>
                <a:lnTo>
                  <a:pt x="4340" y="5237"/>
                </a:lnTo>
                <a:lnTo>
                  <a:pt x="4367" y="5240"/>
                </a:lnTo>
                <a:lnTo>
                  <a:pt x="4396" y="5247"/>
                </a:lnTo>
                <a:lnTo>
                  <a:pt x="4422" y="5255"/>
                </a:lnTo>
                <a:lnTo>
                  <a:pt x="4449" y="5264"/>
                </a:lnTo>
                <a:lnTo>
                  <a:pt x="4475" y="5274"/>
                </a:lnTo>
                <a:lnTo>
                  <a:pt x="4500" y="5289"/>
                </a:lnTo>
                <a:lnTo>
                  <a:pt x="4523" y="5303"/>
                </a:lnTo>
                <a:lnTo>
                  <a:pt x="4545" y="5319"/>
                </a:lnTo>
                <a:lnTo>
                  <a:pt x="4565" y="5337"/>
                </a:lnTo>
                <a:lnTo>
                  <a:pt x="4565" y="5337"/>
                </a:lnTo>
                <a:lnTo>
                  <a:pt x="4582" y="5355"/>
                </a:lnTo>
                <a:lnTo>
                  <a:pt x="4604" y="5371"/>
                </a:lnTo>
                <a:lnTo>
                  <a:pt x="4626" y="5384"/>
                </a:lnTo>
                <a:lnTo>
                  <a:pt x="4649" y="5395"/>
                </a:lnTo>
                <a:lnTo>
                  <a:pt x="4672" y="5404"/>
                </a:lnTo>
                <a:lnTo>
                  <a:pt x="4696" y="5409"/>
                </a:lnTo>
                <a:lnTo>
                  <a:pt x="4721" y="5413"/>
                </a:lnTo>
                <a:lnTo>
                  <a:pt x="4746" y="5415"/>
                </a:lnTo>
                <a:lnTo>
                  <a:pt x="4771" y="5413"/>
                </a:lnTo>
                <a:lnTo>
                  <a:pt x="4796" y="5409"/>
                </a:lnTo>
                <a:lnTo>
                  <a:pt x="4820" y="5404"/>
                </a:lnTo>
                <a:lnTo>
                  <a:pt x="4845" y="5397"/>
                </a:lnTo>
                <a:lnTo>
                  <a:pt x="4868" y="5386"/>
                </a:lnTo>
                <a:lnTo>
                  <a:pt x="4890" y="5371"/>
                </a:lnTo>
                <a:lnTo>
                  <a:pt x="4911" y="5357"/>
                </a:lnTo>
                <a:lnTo>
                  <a:pt x="4931" y="5339"/>
                </a:lnTo>
                <a:lnTo>
                  <a:pt x="5237" y="5043"/>
                </a:lnTo>
                <a:lnTo>
                  <a:pt x="5237" y="5043"/>
                </a:lnTo>
                <a:lnTo>
                  <a:pt x="5255" y="5023"/>
                </a:lnTo>
                <a:lnTo>
                  <a:pt x="5271" y="5003"/>
                </a:lnTo>
                <a:lnTo>
                  <a:pt x="5285" y="4982"/>
                </a:lnTo>
                <a:lnTo>
                  <a:pt x="5296" y="4958"/>
                </a:lnTo>
                <a:lnTo>
                  <a:pt x="5305" y="4935"/>
                </a:lnTo>
                <a:lnTo>
                  <a:pt x="5312" y="4910"/>
                </a:lnTo>
                <a:lnTo>
                  <a:pt x="5318" y="4886"/>
                </a:lnTo>
                <a:lnTo>
                  <a:pt x="5320" y="4861"/>
                </a:lnTo>
                <a:lnTo>
                  <a:pt x="5320" y="4838"/>
                </a:lnTo>
                <a:lnTo>
                  <a:pt x="5318" y="4813"/>
                </a:lnTo>
                <a:lnTo>
                  <a:pt x="5312" y="4789"/>
                </a:lnTo>
                <a:lnTo>
                  <a:pt x="5305" y="4766"/>
                </a:lnTo>
                <a:lnTo>
                  <a:pt x="5296" y="4743"/>
                </a:lnTo>
                <a:lnTo>
                  <a:pt x="5284" y="4721"/>
                </a:lnTo>
                <a:lnTo>
                  <a:pt x="5269" y="4701"/>
                </a:lnTo>
                <a:lnTo>
                  <a:pt x="5253" y="4681"/>
                </a:lnTo>
                <a:lnTo>
                  <a:pt x="5253" y="4681"/>
                </a:lnTo>
                <a:lnTo>
                  <a:pt x="5237" y="4663"/>
                </a:lnTo>
                <a:lnTo>
                  <a:pt x="5221" y="4642"/>
                </a:lnTo>
                <a:lnTo>
                  <a:pt x="5208" y="4619"/>
                </a:lnTo>
                <a:lnTo>
                  <a:pt x="5197" y="4595"/>
                </a:lnTo>
                <a:lnTo>
                  <a:pt x="5187" y="4570"/>
                </a:lnTo>
                <a:lnTo>
                  <a:pt x="5179" y="4543"/>
                </a:lnTo>
                <a:lnTo>
                  <a:pt x="5174" y="4518"/>
                </a:lnTo>
                <a:lnTo>
                  <a:pt x="5170" y="4489"/>
                </a:lnTo>
                <a:lnTo>
                  <a:pt x="5169" y="4462"/>
                </a:lnTo>
                <a:lnTo>
                  <a:pt x="5169" y="4435"/>
                </a:lnTo>
                <a:lnTo>
                  <a:pt x="5172" y="4406"/>
                </a:lnTo>
                <a:lnTo>
                  <a:pt x="5176" y="4380"/>
                </a:lnTo>
                <a:lnTo>
                  <a:pt x="5183" y="4353"/>
                </a:lnTo>
                <a:lnTo>
                  <a:pt x="5190" y="4327"/>
                </a:lnTo>
                <a:lnTo>
                  <a:pt x="5201" y="4302"/>
                </a:lnTo>
                <a:lnTo>
                  <a:pt x="5214" y="4277"/>
                </a:lnTo>
                <a:lnTo>
                  <a:pt x="5427" y="3804"/>
                </a:lnTo>
                <a:lnTo>
                  <a:pt x="5427" y="3804"/>
                </a:lnTo>
                <a:lnTo>
                  <a:pt x="5436" y="3779"/>
                </a:lnTo>
                <a:lnTo>
                  <a:pt x="5449" y="3754"/>
                </a:lnTo>
                <a:lnTo>
                  <a:pt x="5463" y="3731"/>
                </a:lnTo>
                <a:lnTo>
                  <a:pt x="5480" y="3707"/>
                </a:lnTo>
                <a:lnTo>
                  <a:pt x="5499" y="3686"/>
                </a:lnTo>
                <a:lnTo>
                  <a:pt x="5519" y="3666"/>
                </a:lnTo>
                <a:lnTo>
                  <a:pt x="5541" y="3646"/>
                </a:lnTo>
                <a:lnTo>
                  <a:pt x="5564" y="3630"/>
                </a:lnTo>
                <a:lnTo>
                  <a:pt x="5587" y="3614"/>
                </a:lnTo>
                <a:lnTo>
                  <a:pt x="5613" y="3600"/>
                </a:lnTo>
                <a:lnTo>
                  <a:pt x="5640" y="3587"/>
                </a:lnTo>
                <a:lnTo>
                  <a:pt x="5665" y="3578"/>
                </a:lnTo>
                <a:lnTo>
                  <a:pt x="5692" y="3569"/>
                </a:lnTo>
                <a:lnTo>
                  <a:pt x="5719" y="3564"/>
                </a:lnTo>
                <a:lnTo>
                  <a:pt x="5747" y="3560"/>
                </a:lnTo>
                <a:lnTo>
                  <a:pt x="5774" y="3558"/>
                </a:lnTo>
                <a:lnTo>
                  <a:pt x="5794" y="3560"/>
                </a:lnTo>
                <a:lnTo>
                  <a:pt x="5794" y="3560"/>
                </a:lnTo>
                <a:lnTo>
                  <a:pt x="5821" y="3558"/>
                </a:lnTo>
                <a:lnTo>
                  <a:pt x="5848" y="3555"/>
                </a:lnTo>
                <a:lnTo>
                  <a:pt x="5873" y="3549"/>
                </a:lnTo>
                <a:lnTo>
                  <a:pt x="5897" y="3540"/>
                </a:lnTo>
                <a:lnTo>
                  <a:pt x="5920" y="3530"/>
                </a:lnTo>
                <a:lnTo>
                  <a:pt x="5942" y="3517"/>
                </a:lnTo>
                <a:lnTo>
                  <a:pt x="5963" y="3503"/>
                </a:lnTo>
                <a:lnTo>
                  <a:pt x="5981" y="3485"/>
                </a:lnTo>
                <a:lnTo>
                  <a:pt x="5999" y="3467"/>
                </a:lnTo>
                <a:lnTo>
                  <a:pt x="6014" y="3447"/>
                </a:lnTo>
                <a:lnTo>
                  <a:pt x="6028" y="3425"/>
                </a:lnTo>
                <a:lnTo>
                  <a:pt x="6039" y="3402"/>
                </a:lnTo>
                <a:lnTo>
                  <a:pt x="6048" y="3379"/>
                </a:lnTo>
                <a:lnTo>
                  <a:pt x="6055" y="3353"/>
                </a:lnTo>
                <a:lnTo>
                  <a:pt x="6060" y="3326"/>
                </a:lnTo>
                <a:lnTo>
                  <a:pt x="6062" y="3301"/>
                </a:lnTo>
                <a:lnTo>
                  <a:pt x="6067" y="2875"/>
                </a:lnTo>
                <a:lnTo>
                  <a:pt x="6067" y="2875"/>
                </a:lnTo>
                <a:lnTo>
                  <a:pt x="6066" y="2848"/>
                </a:lnTo>
                <a:lnTo>
                  <a:pt x="6062" y="2822"/>
                </a:lnTo>
                <a:lnTo>
                  <a:pt x="6057" y="2796"/>
                </a:lnTo>
                <a:lnTo>
                  <a:pt x="6048" y="2773"/>
                </a:lnTo>
                <a:lnTo>
                  <a:pt x="6037" y="2750"/>
                </a:lnTo>
                <a:lnTo>
                  <a:pt x="6024" y="2728"/>
                </a:lnTo>
                <a:lnTo>
                  <a:pt x="6010" y="2708"/>
                </a:lnTo>
                <a:lnTo>
                  <a:pt x="5994" y="2689"/>
                </a:lnTo>
                <a:lnTo>
                  <a:pt x="5974" y="2671"/>
                </a:lnTo>
                <a:lnTo>
                  <a:pt x="5954" y="2656"/>
                </a:lnTo>
                <a:lnTo>
                  <a:pt x="5933" y="2642"/>
                </a:lnTo>
                <a:lnTo>
                  <a:pt x="5911" y="2631"/>
                </a:lnTo>
                <a:lnTo>
                  <a:pt x="5886" y="2622"/>
                </a:lnTo>
                <a:lnTo>
                  <a:pt x="5861" y="2615"/>
                </a:lnTo>
                <a:lnTo>
                  <a:pt x="5836" y="2609"/>
                </a:lnTo>
                <a:lnTo>
                  <a:pt x="5809" y="2608"/>
                </a:lnTo>
                <a:lnTo>
                  <a:pt x="5809" y="2608"/>
                </a:lnTo>
                <a:close/>
                <a:moveTo>
                  <a:pt x="4464" y="3794"/>
                </a:moveTo>
                <a:lnTo>
                  <a:pt x="4464" y="3794"/>
                </a:lnTo>
                <a:lnTo>
                  <a:pt x="4347" y="3990"/>
                </a:lnTo>
                <a:lnTo>
                  <a:pt x="4309" y="4051"/>
                </a:lnTo>
                <a:lnTo>
                  <a:pt x="4293" y="4074"/>
                </a:lnTo>
                <a:lnTo>
                  <a:pt x="4293" y="4074"/>
                </a:lnTo>
                <a:lnTo>
                  <a:pt x="4246" y="4115"/>
                </a:lnTo>
                <a:lnTo>
                  <a:pt x="4151" y="4207"/>
                </a:lnTo>
                <a:lnTo>
                  <a:pt x="4151" y="4207"/>
                </a:lnTo>
                <a:lnTo>
                  <a:pt x="4120" y="4234"/>
                </a:lnTo>
                <a:lnTo>
                  <a:pt x="4081" y="4266"/>
                </a:lnTo>
                <a:lnTo>
                  <a:pt x="4032" y="4300"/>
                </a:lnTo>
                <a:lnTo>
                  <a:pt x="3980" y="4336"/>
                </a:lnTo>
                <a:lnTo>
                  <a:pt x="3923" y="4374"/>
                </a:lnTo>
                <a:lnTo>
                  <a:pt x="3863" y="4410"/>
                </a:lnTo>
                <a:lnTo>
                  <a:pt x="3804" y="4446"/>
                </a:lnTo>
                <a:lnTo>
                  <a:pt x="3745" y="4478"/>
                </a:lnTo>
                <a:lnTo>
                  <a:pt x="3745" y="4478"/>
                </a:lnTo>
                <a:lnTo>
                  <a:pt x="3729" y="4486"/>
                </a:lnTo>
                <a:lnTo>
                  <a:pt x="3684" y="4507"/>
                </a:lnTo>
                <a:lnTo>
                  <a:pt x="3614" y="4536"/>
                </a:lnTo>
                <a:lnTo>
                  <a:pt x="3570" y="4552"/>
                </a:lnTo>
                <a:lnTo>
                  <a:pt x="3524" y="4570"/>
                </a:lnTo>
                <a:lnTo>
                  <a:pt x="3471" y="4586"/>
                </a:lnTo>
                <a:lnTo>
                  <a:pt x="3414" y="4602"/>
                </a:lnTo>
                <a:lnTo>
                  <a:pt x="3355" y="4617"/>
                </a:lnTo>
                <a:lnTo>
                  <a:pt x="3292" y="4631"/>
                </a:lnTo>
                <a:lnTo>
                  <a:pt x="3227" y="4642"/>
                </a:lnTo>
                <a:lnTo>
                  <a:pt x="3159" y="4651"/>
                </a:lnTo>
                <a:lnTo>
                  <a:pt x="3089" y="4656"/>
                </a:lnTo>
                <a:lnTo>
                  <a:pt x="3018" y="4656"/>
                </a:lnTo>
                <a:lnTo>
                  <a:pt x="3018" y="4656"/>
                </a:lnTo>
                <a:lnTo>
                  <a:pt x="2934" y="4653"/>
                </a:lnTo>
                <a:lnTo>
                  <a:pt x="2851" y="4645"/>
                </a:lnTo>
                <a:lnTo>
                  <a:pt x="2769" y="4635"/>
                </a:lnTo>
                <a:lnTo>
                  <a:pt x="2689" y="4619"/>
                </a:lnTo>
                <a:lnTo>
                  <a:pt x="2609" y="4599"/>
                </a:lnTo>
                <a:lnTo>
                  <a:pt x="2531" y="4575"/>
                </a:lnTo>
                <a:lnTo>
                  <a:pt x="2456" y="4548"/>
                </a:lnTo>
                <a:lnTo>
                  <a:pt x="2382" y="4518"/>
                </a:lnTo>
                <a:lnTo>
                  <a:pt x="2310" y="4484"/>
                </a:lnTo>
                <a:lnTo>
                  <a:pt x="2240" y="4446"/>
                </a:lnTo>
                <a:lnTo>
                  <a:pt x="2172" y="4406"/>
                </a:lnTo>
                <a:lnTo>
                  <a:pt x="2105" y="4363"/>
                </a:lnTo>
                <a:lnTo>
                  <a:pt x="2042" y="4317"/>
                </a:lnTo>
                <a:lnTo>
                  <a:pt x="1979" y="4266"/>
                </a:lnTo>
                <a:lnTo>
                  <a:pt x="1922" y="4214"/>
                </a:lnTo>
                <a:lnTo>
                  <a:pt x="1864" y="4159"/>
                </a:lnTo>
                <a:lnTo>
                  <a:pt x="1812" y="4101"/>
                </a:lnTo>
                <a:lnTo>
                  <a:pt x="1760" y="4040"/>
                </a:lnTo>
                <a:lnTo>
                  <a:pt x="1713" y="3977"/>
                </a:lnTo>
                <a:lnTo>
                  <a:pt x="1668" y="3912"/>
                </a:lnTo>
                <a:lnTo>
                  <a:pt x="1627" y="3846"/>
                </a:lnTo>
                <a:lnTo>
                  <a:pt x="1587" y="3776"/>
                </a:lnTo>
                <a:lnTo>
                  <a:pt x="1553" y="3706"/>
                </a:lnTo>
                <a:lnTo>
                  <a:pt x="1521" y="3632"/>
                </a:lnTo>
                <a:lnTo>
                  <a:pt x="1492" y="3557"/>
                </a:lnTo>
                <a:lnTo>
                  <a:pt x="1469" y="3481"/>
                </a:lnTo>
                <a:lnTo>
                  <a:pt x="1447" y="3402"/>
                </a:lnTo>
                <a:lnTo>
                  <a:pt x="1429" y="3323"/>
                </a:lnTo>
                <a:lnTo>
                  <a:pt x="1417" y="3242"/>
                </a:lnTo>
                <a:lnTo>
                  <a:pt x="1408" y="3159"/>
                </a:lnTo>
                <a:lnTo>
                  <a:pt x="1402" y="3075"/>
                </a:lnTo>
                <a:lnTo>
                  <a:pt x="1400" y="2990"/>
                </a:lnTo>
                <a:lnTo>
                  <a:pt x="1400" y="2990"/>
                </a:lnTo>
                <a:lnTo>
                  <a:pt x="1404" y="2908"/>
                </a:lnTo>
                <a:lnTo>
                  <a:pt x="1413" y="2823"/>
                </a:lnTo>
                <a:lnTo>
                  <a:pt x="1424" y="2742"/>
                </a:lnTo>
                <a:lnTo>
                  <a:pt x="1440" y="2662"/>
                </a:lnTo>
                <a:lnTo>
                  <a:pt x="1460" y="2583"/>
                </a:lnTo>
                <a:lnTo>
                  <a:pt x="1483" y="2503"/>
                </a:lnTo>
                <a:lnTo>
                  <a:pt x="1510" y="2428"/>
                </a:lnTo>
                <a:lnTo>
                  <a:pt x="1539" y="2354"/>
                </a:lnTo>
                <a:lnTo>
                  <a:pt x="1573" y="2282"/>
                </a:lnTo>
                <a:lnTo>
                  <a:pt x="1611" y="2212"/>
                </a:lnTo>
                <a:lnTo>
                  <a:pt x="1652" y="2144"/>
                </a:lnTo>
                <a:lnTo>
                  <a:pt x="1695" y="2078"/>
                </a:lnTo>
                <a:lnTo>
                  <a:pt x="1742" y="2015"/>
                </a:lnTo>
                <a:lnTo>
                  <a:pt x="1792" y="1954"/>
                </a:lnTo>
                <a:lnTo>
                  <a:pt x="1845" y="1894"/>
                </a:lnTo>
                <a:lnTo>
                  <a:pt x="1898" y="1839"/>
                </a:lnTo>
                <a:lnTo>
                  <a:pt x="1958" y="1785"/>
                </a:lnTo>
                <a:lnTo>
                  <a:pt x="2017" y="1734"/>
                </a:lnTo>
                <a:lnTo>
                  <a:pt x="2080" y="1686"/>
                </a:lnTo>
                <a:lnTo>
                  <a:pt x="2145" y="1641"/>
                </a:lnTo>
                <a:lnTo>
                  <a:pt x="2213" y="1600"/>
                </a:lnTo>
                <a:lnTo>
                  <a:pt x="2281" y="1560"/>
                </a:lnTo>
                <a:lnTo>
                  <a:pt x="2353" y="1526"/>
                </a:lnTo>
                <a:lnTo>
                  <a:pt x="2427" y="1494"/>
                </a:lnTo>
                <a:lnTo>
                  <a:pt x="2501" y="1465"/>
                </a:lnTo>
                <a:lnTo>
                  <a:pt x="2578" y="1441"/>
                </a:lnTo>
                <a:lnTo>
                  <a:pt x="2657" y="1420"/>
                </a:lnTo>
                <a:lnTo>
                  <a:pt x="2736" y="1402"/>
                </a:lnTo>
                <a:lnTo>
                  <a:pt x="2817" y="1389"/>
                </a:lnTo>
                <a:lnTo>
                  <a:pt x="2900" y="1380"/>
                </a:lnTo>
                <a:lnTo>
                  <a:pt x="2982" y="1375"/>
                </a:lnTo>
                <a:lnTo>
                  <a:pt x="3067" y="1373"/>
                </a:lnTo>
                <a:lnTo>
                  <a:pt x="3067" y="1373"/>
                </a:lnTo>
                <a:lnTo>
                  <a:pt x="3151" y="1377"/>
                </a:lnTo>
                <a:lnTo>
                  <a:pt x="3236" y="1386"/>
                </a:lnTo>
                <a:lnTo>
                  <a:pt x="3317" y="1397"/>
                </a:lnTo>
                <a:lnTo>
                  <a:pt x="3398" y="1413"/>
                </a:lnTo>
                <a:lnTo>
                  <a:pt x="3477" y="1432"/>
                </a:lnTo>
                <a:lnTo>
                  <a:pt x="3554" y="1456"/>
                </a:lnTo>
                <a:lnTo>
                  <a:pt x="3631" y="1483"/>
                </a:lnTo>
                <a:lnTo>
                  <a:pt x="3705" y="1513"/>
                </a:lnTo>
                <a:lnTo>
                  <a:pt x="3777" y="1546"/>
                </a:lnTo>
                <a:lnTo>
                  <a:pt x="3847" y="1583"/>
                </a:lnTo>
                <a:lnTo>
                  <a:pt x="3916" y="1625"/>
                </a:lnTo>
                <a:lnTo>
                  <a:pt x="3982" y="1668"/>
                </a:lnTo>
                <a:lnTo>
                  <a:pt x="4045" y="1715"/>
                </a:lnTo>
                <a:lnTo>
                  <a:pt x="4106" y="1765"/>
                </a:lnTo>
                <a:lnTo>
                  <a:pt x="4165" y="1817"/>
                </a:lnTo>
                <a:lnTo>
                  <a:pt x="4221" y="1873"/>
                </a:lnTo>
                <a:lnTo>
                  <a:pt x="4275" y="1930"/>
                </a:lnTo>
                <a:lnTo>
                  <a:pt x="4325" y="1990"/>
                </a:lnTo>
                <a:lnTo>
                  <a:pt x="4374" y="2052"/>
                </a:lnTo>
                <a:lnTo>
                  <a:pt x="4419" y="2117"/>
                </a:lnTo>
                <a:lnTo>
                  <a:pt x="4460" y="2185"/>
                </a:lnTo>
                <a:lnTo>
                  <a:pt x="4498" y="2254"/>
                </a:lnTo>
                <a:lnTo>
                  <a:pt x="4534" y="2326"/>
                </a:lnTo>
                <a:lnTo>
                  <a:pt x="4566" y="2399"/>
                </a:lnTo>
                <a:lnTo>
                  <a:pt x="4593" y="2475"/>
                </a:lnTo>
                <a:lnTo>
                  <a:pt x="4618" y="2550"/>
                </a:lnTo>
                <a:lnTo>
                  <a:pt x="4640" y="2629"/>
                </a:lnTo>
                <a:lnTo>
                  <a:pt x="4656" y="2708"/>
                </a:lnTo>
                <a:lnTo>
                  <a:pt x="4671" y="2789"/>
                </a:lnTo>
                <a:lnTo>
                  <a:pt x="4680" y="2872"/>
                </a:lnTo>
                <a:lnTo>
                  <a:pt x="4685" y="2955"/>
                </a:lnTo>
                <a:lnTo>
                  <a:pt x="4685" y="3039"/>
                </a:lnTo>
                <a:lnTo>
                  <a:pt x="4685" y="3039"/>
                </a:lnTo>
                <a:lnTo>
                  <a:pt x="4683" y="3077"/>
                </a:lnTo>
                <a:lnTo>
                  <a:pt x="4681" y="3113"/>
                </a:lnTo>
                <a:lnTo>
                  <a:pt x="4674" y="3185"/>
                </a:lnTo>
                <a:lnTo>
                  <a:pt x="4663" y="3255"/>
                </a:lnTo>
                <a:lnTo>
                  <a:pt x="4649" y="3323"/>
                </a:lnTo>
                <a:lnTo>
                  <a:pt x="4631" y="3388"/>
                </a:lnTo>
                <a:lnTo>
                  <a:pt x="4613" y="3450"/>
                </a:lnTo>
                <a:lnTo>
                  <a:pt x="4593" y="3510"/>
                </a:lnTo>
                <a:lnTo>
                  <a:pt x="4574" y="3564"/>
                </a:lnTo>
                <a:lnTo>
                  <a:pt x="4552" y="3614"/>
                </a:lnTo>
                <a:lnTo>
                  <a:pt x="4532" y="3659"/>
                </a:lnTo>
                <a:lnTo>
                  <a:pt x="4498" y="3731"/>
                </a:lnTo>
                <a:lnTo>
                  <a:pt x="4475" y="3778"/>
                </a:lnTo>
                <a:lnTo>
                  <a:pt x="4464" y="3794"/>
                </a:lnTo>
                <a:lnTo>
                  <a:pt x="4464" y="3794"/>
                </a:lnTo>
                <a:close/>
              </a:path>
            </a:pathLst>
          </a:custGeom>
          <a:solidFill>
            <a:srgbClr val="008680"/>
          </a:solidFill>
          <a:ln>
            <a:noFill/>
          </a:ln>
          <a:extLst/>
        </p:spPr>
        <p:txBody>
          <a:bodyPr vert="horz" wrap="square" lIns="68580" tIns="34290" rIns="68580" bIns="34290" numCol="1" anchor="t" anchorCtr="0" compatLnSpc="1">
            <a:prstTxWarp prst="textNoShape">
              <a:avLst/>
            </a:prstTxWarp>
          </a:bodyPr>
          <a:lstStyle/>
          <a:p>
            <a:pPr defTabSz="685800">
              <a:defRPr/>
            </a:pPr>
            <a:endParaRPr lang="en-US" sz="1350" dirty="0">
              <a:solidFill>
                <a:srgbClr val="000000"/>
              </a:solidFill>
            </a:endParaRPr>
          </a:p>
        </p:txBody>
      </p:sp>
      <p:cxnSp>
        <p:nvCxnSpPr>
          <p:cNvPr id="30" name="Connecteur droit 29"/>
          <p:cNvCxnSpPr>
            <a:cxnSpLocks/>
            <a:stCxn id="7" idx="2"/>
          </p:cNvCxnSpPr>
          <p:nvPr/>
        </p:nvCxnSpPr>
        <p:spPr>
          <a:xfrm>
            <a:off x="7786861" y="610487"/>
            <a:ext cx="158992" cy="993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00570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La </a:t>
            </a:r>
            <a:r>
              <a:rPr lang="en-US" dirty="0" err="1"/>
              <a:t>relevancia</a:t>
            </a:r>
            <a:r>
              <a:rPr lang="en-US" dirty="0"/>
              <a:t> del IoT</a:t>
            </a:r>
          </a:p>
        </p:txBody>
      </p:sp>
      <p:sp>
        <p:nvSpPr>
          <p:cNvPr id="4" name="Subtitle 3"/>
          <p:cNvSpPr>
            <a:spLocks noGrp="1"/>
          </p:cNvSpPr>
          <p:nvPr>
            <p:ph type="subTitle" idx="1"/>
          </p:nvPr>
        </p:nvSpPr>
        <p:spPr/>
        <p:txBody>
          <a:bodyPr/>
          <a:lstStyle/>
          <a:p>
            <a:endParaRPr lang="en-US"/>
          </a:p>
        </p:txBody>
      </p:sp>
    </p:spTree>
    <p:extLst>
      <p:ext uri="{BB962C8B-B14F-4D97-AF65-F5344CB8AC3E}">
        <p14:creationId xmlns:p14="http://schemas.microsoft.com/office/powerpoint/2010/main" val="12193922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224953" y="170260"/>
            <a:ext cx="8673362" cy="422523"/>
          </a:xfrm>
        </p:spPr>
        <p:txBody>
          <a:bodyPr/>
          <a:lstStyle/>
          <a:p>
            <a:r>
              <a:rPr lang="en-US" dirty="0" err="1"/>
              <a:t>Herramientas</a:t>
            </a:r>
            <a:r>
              <a:rPr lang="en-US" dirty="0"/>
              <a:t> para </a:t>
            </a:r>
            <a:r>
              <a:rPr lang="en-US" dirty="0" err="1"/>
              <a:t>mejorar</a:t>
            </a:r>
            <a:r>
              <a:rPr lang="en-US" dirty="0"/>
              <a:t> la </a:t>
            </a:r>
            <a:r>
              <a:rPr lang="en-US" dirty="0" err="1"/>
              <a:t>educación</a:t>
            </a:r>
            <a:endParaRPr lang="en-US" dirty="0"/>
          </a:p>
        </p:txBody>
      </p:sp>
      <p:sp>
        <p:nvSpPr>
          <p:cNvPr id="130" name="Content Placeholder 2"/>
          <p:cNvSpPr txBox="1">
            <a:spLocks/>
          </p:cNvSpPr>
          <p:nvPr/>
        </p:nvSpPr>
        <p:spPr>
          <a:xfrm>
            <a:off x="224953" y="594462"/>
            <a:ext cx="4489105" cy="262637"/>
          </a:xfrm>
          <a:prstGeom prst="rect">
            <a:avLst/>
          </a:prstGeom>
        </p:spPr>
        <p:txBody>
          <a:bodyPr/>
          <a:lstStyle>
            <a:lvl1pPr marL="180975" indent="-180975" algn="l" rtl="0" eaLnBrk="1" fontAlgn="base" hangingPunct="1">
              <a:spcBef>
                <a:spcPct val="20000"/>
              </a:spcBef>
              <a:spcAft>
                <a:spcPct val="30000"/>
              </a:spcAft>
              <a:buClrTx/>
              <a:buSzPct val="80000"/>
              <a:buFont typeface="Trebuchet MS" panose="05000000000000000000" pitchFamily="2" charset="2"/>
              <a:buChar char=""/>
              <a:defRPr sz="1500">
                <a:solidFill>
                  <a:schemeClr val="tx1"/>
                </a:solidFill>
                <a:latin typeface="Trebuchet MS" panose="020B0603020202020204" pitchFamily="34" charset="0"/>
                <a:ea typeface="+mn-ea"/>
                <a:cs typeface="Trebuchet MS" panose="020B0502040204020203" pitchFamily="34" charset="0"/>
              </a:defRPr>
            </a:lvl1pPr>
            <a:lvl2pPr marL="361950" indent="-180975" algn="l" rtl="0" eaLnBrk="1" fontAlgn="base" hangingPunct="1">
              <a:spcBef>
                <a:spcPct val="20000"/>
              </a:spcBef>
              <a:spcAft>
                <a:spcPts val="0"/>
              </a:spcAft>
              <a:buClrTx/>
              <a:buFont typeface="Trebuchet MS" panose="05000000000000000000" pitchFamily="2" charset="2"/>
              <a:buChar char="§"/>
              <a:defRPr sz="1400">
                <a:solidFill>
                  <a:schemeClr val="tx1"/>
                </a:solidFill>
                <a:latin typeface="Trebuchet MS" panose="020B0603020202020204" pitchFamily="34" charset="0"/>
                <a:cs typeface="Trebuchet MS" panose="020B0502040204020203" pitchFamily="34" charset="0"/>
              </a:defRPr>
            </a:lvl2pPr>
            <a:lvl3pPr marL="538163" indent="-131763" algn="l" rtl="0" eaLnBrk="1" fontAlgn="base" hangingPunct="1">
              <a:spcBef>
                <a:spcPts val="329"/>
              </a:spcBef>
              <a:spcAft>
                <a:spcPts val="0"/>
              </a:spcAft>
              <a:buClrTx/>
              <a:buFont typeface="Trebuchet MS" pitchFamily="34" charset="0"/>
              <a:buChar char="­"/>
              <a:defRPr sz="1200">
                <a:solidFill>
                  <a:schemeClr val="tx1"/>
                </a:solidFill>
                <a:latin typeface="Trebuchet MS" panose="020B0603020202020204" pitchFamily="34" charset="0"/>
                <a:cs typeface="Trebuchet MS" panose="020B0502040204020203" pitchFamily="34" charset="0"/>
              </a:defRPr>
            </a:lvl3pPr>
            <a:lvl4pPr marL="631825" indent="-85725"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4pPr>
            <a:lvl5pPr marL="715963" indent="-84138"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5pPr>
            <a:lvl6pPr marL="1093553"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6pPr>
            <a:lvl7pPr marL="1441942"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7pPr>
            <a:lvl8pPr marL="1790331"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8pPr>
            <a:lvl9pPr marL="2138719"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9pPr>
          </a:lstStyle>
          <a:p>
            <a:pPr marL="0" indent="0">
              <a:buNone/>
            </a:pPr>
            <a:r>
              <a:rPr lang="en-US" sz="1100" dirty="0" err="1">
                <a:solidFill>
                  <a:schemeClr val="tx2"/>
                </a:solidFill>
              </a:rPr>
              <a:t>Mejorando</a:t>
            </a:r>
            <a:r>
              <a:rPr lang="en-US" sz="1100" dirty="0">
                <a:solidFill>
                  <a:schemeClr val="tx2"/>
                </a:solidFill>
              </a:rPr>
              <a:t> las </a:t>
            </a:r>
            <a:r>
              <a:rPr lang="en-US" sz="1100" dirty="0" err="1">
                <a:solidFill>
                  <a:schemeClr val="tx2"/>
                </a:solidFill>
              </a:rPr>
              <a:t>tareas</a:t>
            </a:r>
            <a:r>
              <a:rPr lang="en-US" sz="1100" dirty="0">
                <a:solidFill>
                  <a:schemeClr val="tx2"/>
                </a:solidFill>
              </a:rPr>
              <a:t> de </a:t>
            </a:r>
            <a:r>
              <a:rPr lang="en-US" sz="1100" dirty="0" err="1">
                <a:solidFill>
                  <a:schemeClr val="tx2"/>
                </a:solidFill>
              </a:rPr>
              <a:t>los</a:t>
            </a:r>
            <a:r>
              <a:rPr lang="en-US" sz="1100" dirty="0">
                <a:solidFill>
                  <a:schemeClr val="tx2"/>
                </a:solidFill>
              </a:rPr>
              <a:t> </a:t>
            </a:r>
            <a:r>
              <a:rPr lang="en-US" sz="1100" dirty="0" err="1">
                <a:solidFill>
                  <a:schemeClr val="tx2"/>
                </a:solidFill>
              </a:rPr>
              <a:t>educadores</a:t>
            </a:r>
            <a:r>
              <a:rPr lang="en-US" sz="1100" dirty="0">
                <a:solidFill>
                  <a:schemeClr val="tx2"/>
                </a:solidFill>
              </a:rPr>
              <a:t> y el </a:t>
            </a:r>
            <a:r>
              <a:rPr lang="en-US" sz="1100" dirty="0" err="1">
                <a:solidFill>
                  <a:schemeClr val="tx2"/>
                </a:solidFill>
              </a:rPr>
              <a:t>éxito</a:t>
            </a:r>
            <a:r>
              <a:rPr lang="en-US" sz="1100" dirty="0">
                <a:solidFill>
                  <a:schemeClr val="tx2"/>
                </a:solidFill>
              </a:rPr>
              <a:t> </a:t>
            </a:r>
            <a:r>
              <a:rPr lang="en-US" sz="1100" dirty="0" err="1">
                <a:solidFill>
                  <a:schemeClr val="tx2"/>
                </a:solidFill>
              </a:rPr>
              <a:t>estudiantil</a:t>
            </a:r>
            <a:endParaRPr lang="en-US" sz="1100" dirty="0">
              <a:solidFill>
                <a:schemeClr val="tx2"/>
              </a:solidFill>
            </a:endParaRPr>
          </a:p>
        </p:txBody>
      </p:sp>
      <p:pic>
        <p:nvPicPr>
          <p:cNvPr id="4" name="Picture 6" descr="http://www.myboard.de/uploads/pics/SMARTBoard_SB885ix.jpg"/>
          <p:cNvPicPr>
            <a:picLocks noChangeAspect="1" noChangeArrowheads="1"/>
          </p:cNvPicPr>
          <p:nvPr/>
        </p:nvPicPr>
        <p:blipFill>
          <a:blip r:embed="rId3" cstate="print"/>
          <a:srcRect/>
          <a:stretch>
            <a:fillRect/>
          </a:stretch>
        </p:blipFill>
        <p:spPr bwMode="auto">
          <a:xfrm>
            <a:off x="368320" y="1352791"/>
            <a:ext cx="1768475" cy="1660750"/>
          </a:xfrm>
          <a:prstGeom prst="rect">
            <a:avLst/>
          </a:prstGeom>
          <a:noFill/>
        </p:spPr>
      </p:pic>
      <p:pic>
        <p:nvPicPr>
          <p:cNvPr id="5" name="Picture 12" descr="http://www.projectorreviews.com/wp-content/uploads/2014/11/Epson-595Wi-Pic1-1.jpg"/>
          <p:cNvPicPr>
            <a:picLocks noChangeAspect="1" noChangeArrowheads="1"/>
          </p:cNvPicPr>
          <p:nvPr/>
        </p:nvPicPr>
        <p:blipFill>
          <a:blip r:embed="rId4" cstate="print">
            <a:clrChange>
              <a:clrFrom>
                <a:srgbClr val="FFFFFF"/>
              </a:clrFrom>
              <a:clrTo>
                <a:srgbClr val="FFFFFF">
                  <a:alpha val="0"/>
                </a:srgbClr>
              </a:clrTo>
            </a:clrChange>
          </a:blip>
          <a:srcRect l="8754" t="13636" r="8670" b="11364"/>
          <a:stretch>
            <a:fillRect/>
          </a:stretch>
        </p:blipFill>
        <p:spPr bwMode="auto">
          <a:xfrm>
            <a:off x="2335077" y="1228905"/>
            <a:ext cx="1265236" cy="766106"/>
          </a:xfrm>
          <a:prstGeom prst="rect">
            <a:avLst/>
          </a:prstGeom>
          <a:noFill/>
        </p:spPr>
      </p:pic>
      <p:pic>
        <p:nvPicPr>
          <p:cNvPr id="8" name="Picture 2" descr="Image result for universities robotics"/>
          <p:cNvPicPr>
            <a:picLocks noChangeAspect="1" noChangeArrowheads="1"/>
          </p:cNvPicPr>
          <p:nvPr/>
        </p:nvPicPr>
        <p:blipFill>
          <a:blip r:embed="rId5" cstate="screen"/>
          <a:srcRect t="9820" r="7014"/>
          <a:stretch>
            <a:fillRect/>
          </a:stretch>
        </p:blipFill>
        <p:spPr bwMode="auto">
          <a:xfrm>
            <a:off x="4133375" y="3360835"/>
            <a:ext cx="1050883" cy="1019175"/>
          </a:xfrm>
          <a:prstGeom prst="ellipse">
            <a:avLst/>
          </a:prstGeom>
          <a:noFill/>
        </p:spPr>
      </p:pic>
      <p:pic>
        <p:nvPicPr>
          <p:cNvPr id="9" name="Picture 10" descr="Image result for robotics"/>
          <p:cNvPicPr>
            <a:picLocks noChangeAspect="1" noChangeArrowheads="1"/>
          </p:cNvPicPr>
          <p:nvPr/>
        </p:nvPicPr>
        <p:blipFill>
          <a:blip r:embed="rId6" cstate="screen"/>
          <a:srcRect/>
          <a:stretch>
            <a:fillRect/>
          </a:stretch>
        </p:blipFill>
        <p:spPr bwMode="auto">
          <a:xfrm>
            <a:off x="5373307" y="3360835"/>
            <a:ext cx="1664138" cy="965200"/>
          </a:xfrm>
          <a:prstGeom prst="rect">
            <a:avLst/>
          </a:prstGeom>
          <a:noFill/>
        </p:spPr>
      </p:pic>
      <p:pic>
        <p:nvPicPr>
          <p:cNvPr id="14" name="Picture 4" descr="https://www.adafruit.com/includes/templates/adafruit2013/images/little_pi.png"/>
          <p:cNvPicPr>
            <a:picLocks noChangeAspect="1" noChangeArrowheads="1"/>
          </p:cNvPicPr>
          <p:nvPr/>
        </p:nvPicPr>
        <p:blipFill>
          <a:blip r:embed="rId7" cstate="print"/>
          <a:srcRect/>
          <a:stretch>
            <a:fillRect/>
          </a:stretch>
        </p:blipFill>
        <p:spPr bwMode="auto">
          <a:xfrm>
            <a:off x="4000073" y="1827804"/>
            <a:ext cx="1317486" cy="1099401"/>
          </a:xfrm>
          <a:prstGeom prst="rect">
            <a:avLst/>
          </a:prstGeom>
          <a:noFill/>
        </p:spPr>
      </p:pic>
      <p:pic>
        <p:nvPicPr>
          <p:cNvPr id="18" name="Picture 2" descr="Image result for augmented reality higher educatio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8708" y="3308350"/>
            <a:ext cx="3231605" cy="1175129"/>
          </a:xfrm>
          <a:prstGeom prst="rect">
            <a:avLst/>
          </a:prstGeom>
          <a:ln>
            <a:noFill/>
          </a:ln>
          <a:effectLst>
            <a:softEdge rad="50800"/>
          </a:effectLst>
          <a:extLst>
            <a:ext uri="{909E8E84-426E-40DD-AFC4-6F175D3DCCD1}">
              <a14:hiddenFill xmlns:a14="http://schemas.microsoft.com/office/drawing/2010/main">
                <a:solidFill>
                  <a:srgbClr val="FFFFFF"/>
                </a:solidFill>
              </a14:hiddenFill>
            </a:ext>
          </a:extLst>
        </p:spPr>
      </p:pic>
      <p:pic>
        <p:nvPicPr>
          <p:cNvPr id="19" name="Picture 16" descr="Related image"/>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5717319" y="1088313"/>
            <a:ext cx="1203879" cy="208351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8" descr="Image result for portable 3d printer"/>
          <p:cNvPicPr>
            <a:picLocks noChangeAspect="1" noChangeArrowheads="1"/>
          </p:cNvPicPr>
          <p:nvPr/>
        </p:nvPicPr>
        <p:blipFill rotWithShape="1">
          <a:blip r:embed="rId10">
            <a:extLst>
              <a:ext uri="{28A0092B-C50C-407E-A947-70E740481C1C}">
                <a14:useLocalDpi xmlns:a14="http://schemas.microsoft.com/office/drawing/2010/main" val="0"/>
              </a:ext>
            </a:extLst>
          </a:blip>
          <a:srcRect l="28228" t="6352" r="27950" b="18334"/>
          <a:stretch/>
        </p:blipFill>
        <p:spPr bwMode="auto">
          <a:xfrm>
            <a:off x="7372128" y="1662613"/>
            <a:ext cx="1392654" cy="1822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605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4" descr="Image result for ACU lightwalk"/>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12131"/>
          <a:stretch/>
        </p:blipFill>
        <p:spPr bwMode="auto">
          <a:xfrm>
            <a:off x="352525" y="2976329"/>
            <a:ext cx="2933437" cy="1606914"/>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Image result for google hom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3980" y="1195781"/>
            <a:ext cx="978083" cy="978083"/>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p:nvPr>
        </p:nvSpPr>
        <p:spPr>
          <a:xfrm>
            <a:off x="224953" y="170260"/>
            <a:ext cx="8673362" cy="422523"/>
          </a:xfrm>
        </p:spPr>
        <p:txBody>
          <a:bodyPr/>
          <a:lstStyle/>
          <a:p>
            <a:r>
              <a:rPr lang="en-US" dirty="0" err="1"/>
              <a:t>Conveniencia</a:t>
            </a:r>
            <a:r>
              <a:rPr lang="en-US" dirty="0"/>
              <a:t> </a:t>
            </a:r>
            <a:r>
              <a:rPr lang="en-US" dirty="0" err="1"/>
              <a:t>en</a:t>
            </a:r>
            <a:r>
              <a:rPr lang="en-US" dirty="0"/>
              <a:t> el campus y </a:t>
            </a:r>
            <a:r>
              <a:rPr lang="en-US" dirty="0" err="1"/>
              <a:t>dormitorios</a:t>
            </a:r>
            <a:endParaRPr lang="en-US" dirty="0"/>
          </a:p>
        </p:txBody>
      </p:sp>
      <p:sp>
        <p:nvSpPr>
          <p:cNvPr id="130" name="Content Placeholder 2"/>
          <p:cNvSpPr txBox="1">
            <a:spLocks/>
          </p:cNvSpPr>
          <p:nvPr/>
        </p:nvSpPr>
        <p:spPr>
          <a:xfrm>
            <a:off x="224953" y="594462"/>
            <a:ext cx="4489105" cy="262637"/>
          </a:xfrm>
          <a:prstGeom prst="rect">
            <a:avLst/>
          </a:prstGeom>
        </p:spPr>
        <p:txBody>
          <a:bodyPr/>
          <a:lstStyle>
            <a:lvl1pPr marL="180975" indent="-180975" algn="l" rtl="0" eaLnBrk="1" fontAlgn="base" hangingPunct="1">
              <a:spcBef>
                <a:spcPct val="20000"/>
              </a:spcBef>
              <a:spcAft>
                <a:spcPct val="30000"/>
              </a:spcAft>
              <a:buClrTx/>
              <a:buSzPct val="80000"/>
              <a:buFont typeface="Trebuchet MS" panose="05000000000000000000" pitchFamily="2" charset="2"/>
              <a:buChar char=""/>
              <a:defRPr sz="1500">
                <a:solidFill>
                  <a:schemeClr val="tx1"/>
                </a:solidFill>
                <a:latin typeface="Trebuchet MS" panose="020B0603020202020204" pitchFamily="34" charset="0"/>
                <a:ea typeface="+mn-ea"/>
                <a:cs typeface="Trebuchet MS" panose="020B0502040204020203" pitchFamily="34" charset="0"/>
              </a:defRPr>
            </a:lvl1pPr>
            <a:lvl2pPr marL="361950" indent="-180975" algn="l" rtl="0" eaLnBrk="1" fontAlgn="base" hangingPunct="1">
              <a:spcBef>
                <a:spcPct val="20000"/>
              </a:spcBef>
              <a:spcAft>
                <a:spcPts val="0"/>
              </a:spcAft>
              <a:buClrTx/>
              <a:buFont typeface="Trebuchet MS" panose="05000000000000000000" pitchFamily="2" charset="2"/>
              <a:buChar char="§"/>
              <a:defRPr sz="1400">
                <a:solidFill>
                  <a:schemeClr val="tx1"/>
                </a:solidFill>
                <a:latin typeface="Trebuchet MS" panose="020B0603020202020204" pitchFamily="34" charset="0"/>
                <a:cs typeface="Trebuchet MS" panose="020B0502040204020203" pitchFamily="34" charset="0"/>
              </a:defRPr>
            </a:lvl2pPr>
            <a:lvl3pPr marL="538163" indent="-131763" algn="l" rtl="0" eaLnBrk="1" fontAlgn="base" hangingPunct="1">
              <a:spcBef>
                <a:spcPts val="329"/>
              </a:spcBef>
              <a:spcAft>
                <a:spcPts val="0"/>
              </a:spcAft>
              <a:buClrTx/>
              <a:buFont typeface="Trebuchet MS" pitchFamily="34" charset="0"/>
              <a:buChar char="­"/>
              <a:defRPr sz="1200">
                <a:solidFill>
                  <a:schemeClr val="tx1"/>
                </a:solidFill>
                <a:latin typeface="Trebuchet MS" panose="020B0603020202020204" pitchFamily="34" charset="0"/>
                <a:cs typeface="Trebuchet MS" panose="020B0502040204020203" pitchFamily="34" charset="0"/>
              </a:defRPr>
            </a:lvl3pPr>
            <a:lvl4pPr marL="631825" indent="-85725"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4pPr>
            <a:lvl5pPr marL="715963" indent="-84138"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5pPr>
            <a:lvl6pPr marL="1093553"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6pPr>
            <a:lvl7pPr marL="1441942"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7pPr>
            <a:lvl8pPr marL="1790331"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8pPr>
            <a:lvl9pPr marL="2138719"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9pPr>
          </a:lstStyle>
          <a:p>
            <a:pPr marL="0" indent="0">
              <a:buNone/>
            </a:pPr>
            <a:r>
              <a:rPr lang="en-US" sz="1100" dirty="0">
                <a:solidFill>
                  <a:schemeClr val="tx2"/>
                </a:solidFill>
              </a:rPr>
              <a:t>Para </a:t>
            </a:r>
            <a:r>
              <a:rPr lang="en-US" sz="1100" dirty="0" err="1">
                <a:solidFill>
                  <a:schemeClr val="tx2"/>
                </a:solidFill>
              </a:rPr>
              <a:t>una</a:t>
            </a:r>
            <a:r>
              <a:rPr lang="en-US" sz="1100" dirty="0">
                <a:solidFill>
                  <a:schemeClr val="tx2"/>
                </a:solidFill>
              </a:rPr>
              <a:t> </a:t>
            </a:r>
            <a:r>
              <a:rPr lang="en-US" sz="1100" dirty="0" err="1">
                <a:solidFill>
                  <a:schemeClr val="tx2"/>
                </a:solidFill>
              </a:rPr>
              <a:t>mejor</a:t>
            </a:r>
            <a:r>
              <a:rPr lang="en-US" sz="1100" dirty="0">
                <a:solidFill>
                  <a:schemeClr val="tx2"/>
                </a:solidFill>
              </a:rPr>
              <a:t> </a:t>
            </a:r>
            <a:r>
              <a:rPr lang="en-US" sz="1100" dirty="0" err="1">
                <a:solidFill>
                  <a:schemeClr val="tx2"/>
                </a:solidFill>
              </a:rPr>
              <a:t>experiencia</a:t>
            </a:r>
            <a:r>
              <a:rPr lang="en-US" sz="1100" dirty="0">
                <a:solidFill>
                  <a:schemeClr val="tx2"/>
                </a:solidFill>
              </a:rPr>
              <a:t> de </a:t>
            </a:r>
            <a:r>
              <a:rPr lang="en-US" sz="1100" dirty="0" err="1">
                <a:solidFill>
                  <a:schemeClr val="tx2"/>
                </a:solidFill>
              </a:rPr>
              <a:t>los</a:t>
            </a:r>
            <a:r>
              <a:rPr lang="en-US" sz="1100" dirty="0">
                <a:solidFill>
                  <a:schemeClr val="tx2"/>
                </a:solidFill>
              </a:rPr>
              <a:t> </a:t>
            </a:r>
            <a:r>
              <a:rPr lang="en-US" sz="1100" dirty="0" err="1">
                <a:solidFill>
                  <a:schemeClr val="tx2"/>
                </a:solidFill>
              </a:rPr>
              <a:t>estudiantes</a:t>
            </a:r>
            <a:endParaRPr lang="en-US" sz="1100" dirty="0">
              <a:solidFill>
                <a:schemeClr val="tx2"/>
              </a:solidFill>
            </a:endParaRPr>
          </a:p>
        </p:txBody>
      </p:sp>
      <p:pic>
        <p:nvPicPr>
          <p:cNvPr id="3076" name="Picture 4" descr="Image result for university campus automated washing machines"/>
          <p:cNvPicPr>
            <a:picLocks noChangeAspect="1" noChangeArrowheads="1"/>
          </p:cNvPicPr>
          <p:nvPr/>
        </p:nvPicPr>
        <p:blipFill rotWithShape="1">
          <a:blip r:embed="rId5">
            <a:extLst>
              <a:ext uri="{28A0092B-C50C-407E-A947-70E740481C1C}">
                <a14:useLocalDpi xmlns:a14="http://schemas.microsoft.com/office/drawing/2010/main" val="0"/>
              </a:ext>
            </a:extLst>
          </a:blip>
          <a:srcRect l="8210" t="-1221" r="318" b="1221"/>
          <a:stretch/>
        </p:blipFill>
        <p:spPr bwMode="auto">
          <a:xfrm>
            <a:off x="4937829" y="2966102"/>
            <a:ext cx="3815645" cy="1617141"/>
          </a:xfrm>
          <a:prstGeom prst="rect">
            <a:avLst/>
          </a:prstGeom>
          <a:noFill/>
          <a:extLst>
            <a:ext uri="{909E8E84-426E-40DD-AFC4-6F175D3DCCD1}">
              <a14:hiddenFill xmlns:a14="http://schemas.microsoft.com/office/drawing/2010/main">
                <a:solidFill>
                  <a:srgbClr val="FFFFFF"/>
                </a:solidFill>
              </a14:hiddenFill>
            </a:ext>
          </a:extLst>
        </p:spPr>
      </p:pic>
      <p:pic>
        <p:nvPicPr>
          <p:cNvPr id="3078" name="Picture 6" descr="Related image"/>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360878" y="1036385"/>
            <a:ext cx="2392597" cy="1939944"/>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Image result for university dorms vending machines"/>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8444" t="4624" r="4813" b="1697"/>
          <a:stretch/>
        </p:blipFill>
        <p:spPr bwMode="auto">
          <a:xfrm>
            <a:off x="3285963" y="3030498"/>
            <a:ext cx="1727673" cy="160691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Image result for Alexa"/>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652" b="6675"/>
          <a:stretch/>
        </p:blipFill>
        <p:spPr bwMode="auto">
          <a:xfrm>
            <a:off x="1678996" y="1137824"/>
            <a:ext cx="1041379" cy="650950"/>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8" descr="https://lh3.googleusercontent.com/9zBNjI4K_xEKsnPUEDZim3WBRL595DVj207112UxBYmSestTixfndUqDHnELTjLopg"/>
          <p:cNvPicPr>
            <a:picLocks noChangeAspect="1" noChangeArrowheads="1"/>
          </p:cNvPicPr>
          <p:nvPr/>
        </p:nvPicPr>
        <p:blipFill>
          <a:blip r:embed="rId9" cstate="print"/>
          <a:srcRect l="13607" t="15625" r="13151" b="15365"/>
          <a:stretch>
            <a:fillRect/>
          </a:stretch>
        </p:blipFill>
        <p:spPr bwMode="auto">
          <a:xfrm>
            <a:off x="1163441" y="2258180"/>
            <a:ext cx="714889" cy="505189"/>
          </a:xfrm>
          <a:prstGeom prst="rect">
            <a:avLst/>
          </a:prstGeom>
          <a:noFill/>
        </p:spPr>
      </p:pic>
      <p:pic>
        <p:nvPicPr>
          <p:cNvPr id="20" name="Picture 10" descr="http://images.cdn.whathifi.com/sites/whathifi.com/files/styles/big-image/public/brands/Apple/apple_tv_news2_0.jpg?itok=YI1vml5c"/>
          <p:cNvPicPr>
            <a:picLocks noChangeAspect="1" noChangeArrowheads="1"/>
          </p:cNvPicPr>
          <p:nvPr/>
        </p:nvPicPr>
        <p:blipFill>
          <a:blip r:embed="rId10" cstate="print">
            <a:clrChange>
              <a:clrFrom>
                <a:srgbClr val="FFFFFF"/>
              </a:clrFrom>
              <a:clrTo>
                <a:srgbClr val="FFFFFF">
                  <a:alpha val="0"/>
                </a:srgbClr>
              </a:clrTo>
            </a:clrChange>
          </a:blip>
          <a:srcRect l="18565" t="4419" r="17890" b="4651"/>
          <a:stretch>
            <a:fillRect/>
          </a:stretch>
        </p:blipFill>
        <p:spPr bwMode="auto">
          <a:xfrm>
            <a:off x="1927503" y="2014847"/>
            <a:ext cx="837627" cy="652415"/>
          </a:xfrm>
          <a:prstGeom prst="rect">
            <a:avLst/>
          </a:prstGeom>
          <a:noFill/>
        </p:spPr>
      </p:pic>
      <p:pic>
        <p:nvPicPr>
          <p:cNvPr id="3092" name="Picture 20" descr="Image result for digital signage at universities"/>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863476" y="1036385"/>
            <a:ext cx="3497402" cy="1929717"/>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2" descr="https://d3jk01pucauc5.cloudfront.net/catalog/product/cache/1/image/9df78eab33525d08d6e5fb8d27136e95/a/s/asl_homekit_edition_angled_dark_gray.jpg"/>
          <p:cNvPicPr>
            <a:picLocks noChangeAspect="1" noChangeArrowheads="1"/>
          </p:cNvPicPr>
          <p:nvPr/>
        </p:nvPicPr>
        <p:blipFill>
          <a:blip r:embed="rId12" cstate="screen"/>
          <a:srcRect/>
          <a:stretch>
            <a:fillRect/>
          </a:stretch>
        </p:blipFill>
        <p:spPr bwMode="auto">
          <a:xfrm>
            <a:off x="368172" y="2109582"/>
            <a:ext cx="746096" cy="746096"/>
          </a:xfrm>
          <a:prstGeom prst="rect">
            <a:avLst/>
          </a:prstGeom>
          <a:noFill/>
        </p:spPr>
      </p:pic>
      <p:cxnSp>
        <p:nvCxnSpPr>
          <p:cNvPr id="24" name="Straight Connector 23"/>
          <p:cNvCxnSpPr/>
          <p:nvPr/>
        </p:nvCxnSpPr>
        <p:spPr bwMode="auto">
          <a:xfrm>
            <a:off x="352525" y="2966102"/>
            <a:ext cx="8400950" cy="0"/>
          </a:xfrm>
          <a:prstGeom prst="line">
            <a:avLst/>
          </a:prstGeom>
          <a:noFill/>
          <a:ln w="28575" cap="flat" cmpd="sng" algn="ctr">
            <a:solidFill>
              <a:schemeClr val="bg1"/>
            </a:solidFill>
            <a:prstDash val="solid"/>
            <a:round/>
            <a:headEnd type="none" w="med" len="med"/>
            <a:tailEnd type="none"/>
          </a:ln>
          <a:effectLst/>
        </p:spPr>
      </p:cxnSp>
      <p:cxnSp>
        <p:nvCxnSpPr>
          <p:cNvPr id="26" name="Straight Connector 25"/>
          <p:cNvCxnSpPr/>
          <p:nvPr/>
        </p:nvCxnSpPr>
        <p:spPr bwMode="auto">
          <a:xfrm flipV="1">
            <a:off x="6360878" y="1036385"/>
            <a:ext cx="0" cy="1929717"/>
          </a:xfrm>
          <a:prstGeom prst="line">
            <a:avLst/>
          </a:prstGeom>
          <a:noFill/>
          <a:ln w="28575" cap="flat" cmpd="sng" algn="ctr">
            <a:solidFill>
              <a:schemeClr val="bg1"/>
            </a:solidFill>
            <a:prstDash val="solid"/>
            <a:round/>
            <a:headEnd type="none" w="med" len="med"/>
            <a:tailEnd type="none"/>
          </a:ln>
          <a:effectLst/>
        </p:spPr>
      </p:cxnSp>
      <p:sp>
        <p:nvSpPr>
          <p:cNvPr id="21" name="Oval 20"/>
          <p:cNvSpPr/>
          <p:nvPr/>
        </p:nvSpPr>
        <p:spPr>
          <a:xfrm>
            <a:off x="1570191" y="3524428"/>
            <a:ext cx="72487" cy="77486"/>
          </a:xfrm>
          <a:prstGeom prst="ellipse">
            <a:avLst/>
          </a:prstGeom>
          <a:solidFill>
            <a:schemeClr val="bg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cxnSp>
        <p:nvCxnSpPr>
          <p:cNvPr id="22" name="Straight Connector 21"/>
          <p:cNvCxnSpPr>
            <a:stCxn id="21" idx="5"/>
            <a:endCxn id="25" idx="1"/>
          </p:cNvCxnSpPr>
          <p:nvPr/>
        </p:nvCxnSpPr>
        <p:spPr bwMode="auto">
          <a:xfrm flipV="1">
            <a:off x="1632063" y="3155193"/>
            <a:ext cx="341624" cy="435373"/>
          </a:xfrm>
          <a:prstGeom prst="line">
            <a:avLst/>
          </a:prstGeom>
          <a:noFill/>
          <a:ln w="12700" cap="flat" cmpd="sng" algn="ctr">
            <a:solidFill>
              <a:schemeClr val="bg1"/>
            </a:solidFill>
            <a:prstDash val="solid"/>
            <a:round/>
            <a:headEnd type="none" w="med" len="med"/>
            <a:tailEnd type="none"/>
          </a:ln>
          <a:effectLst/>
        </p:spPr>
      </p:cxnSp>
      <p:sp>
        <p:nvSpPr>
          <p:cNvPr id="25" name="TextBox 24"/>
          <p:cNvSpPr txBox="1"/>
          <p:nvPr/>
        </p:nvSpPr>
        <p:spPr>
          <a:xfrm>
            <a:off x="1973687" y="3049791"/>
            <a:ext cx="899334" cy="210804"/>
          </a:xfrm>
          <a:prstGeom prst="rect">
            <a:avLst/>
          </a:prstGeom>
          <a:noFill/>
        </p:spPr>
        <p:txBody>
          <a:bodyPr wrap="none" rtlCol="0">
            <a:spAutoFit/>
          </a:bodyPr>
          <a:lstStyle/>
          <a:p>
            <a:r>
              <a:rPr lang="en-US" sz="1200" dirty="0">
                <a:solidFill>
                  <a:schemeClr val="bg1"/>
                </a:solidFill>
                <a:latin typeface="Trebuchet MS"/>
                <a:cs typeface="Trebuchet MS" panose="020B0502040204020203" pitchFamily="34" charset="0"/>
              </a:rPr>
              <a:t>Interactive art</a:t>
            </a:r>
          </a:p>
        </p:txBody>
      </p:sp>
      <p:pic>
        <p:nvPicPr>
          <p:cNvPr id="27" name="Picture 6" descr="Image result for ACU lightwalk"/>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2116987" y="3527552"/>
            <a:ext cx="1162664" cy="491640"/>
          </a:xfrm>
          <a:prstGeom prst="rect">
            <a:avLst/>
          </a:prstGeom>
          <a:noFill/>
          <a:extLst>
            <a:ext uri="{909E8E84-426E-40DD-AFC4-6F175D3DCCD1}">
              <a14:hiddenFill xmlns:a14="http://schemas.microsoft.com/office/drawing/2010/main">
                <a:solidFill>
                  <a:srgbClr val="FFFFFF"/>
                </a:solidFill>
              </a14:hiddenFill>
            </a:ext>
          </a:extLst>
        </p:spPr>
      </p:pic>
      <p:cxnSp>
        <p:nvCxnSpPr>
          <p:cNvPr id="30" name="Straight Connector 29"/>
          <p:cNvCxnSpPr/>
          <p:nvPr/>
        </p:nvCxnSpPr>
        <p:spPr bwMode="auto">
          <a:xfrm flipV="1">
            <a:off x="3285963" y="2953431"/>
            <a:ext cx="113726" cy="2138"/>
          </a:xfrm>
          <a:prstGeom prst="line">
            <a:avLst/>
          </a:prstGeom>
          <a:noFill/>
          <a:ln w="28575" cap="flat" cmpd="sng" algn="ctr">
            <a:solidFill>
              <a:schemeClr val="bg1"/>
            </a:solidFill>
            <a:prstDash val="solid"/>
            <a:round/>
            <a:headEnd type="none" w="med" len="med"/>
            <a:tailEnd type="none"/>
          </a:ln>
          <a:effectLst/>
        </p:spPr>
      </p:cxnSp>
    </p:spTree>
    <p:extLst>
      <p:ext uri="{BB962C8B-B14F-4D97-AF65-F5344CB8AC3E}">
        <p14:creationId xmlns:p14="http://schemas.microsoft.com/office/powerpoint/2010/main" val="75276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Image result for smart university buildi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4246" b="19458"/>
          <a:stretch/>
        </p:blipFill>
        <p:spPr bwMode="auto">
          <a:xfrm>
            <a:off x="0" y="1012562"/>
            <a:ext cx="5048126" cy="2876641"/>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p:nvPr>
        </p:nvSpPr>
        <p:spPr>
          <a:xfrm>
            <a:off x="224953" y="170260"/>
            <a:ext cx="8673362" cy="422523"/>
          </a:xfrm>
        </p:spPr>
        <p:txBody>
          <a:bodyPr/>
          <a:lstStyle/>
          <a:p>
            <a:r>
              <a:rPr lang="en-US" dirty="0" err="1"/>
              <a:t>Operaciones</a:t>
            </a:r>
            <a:r>
              <a:rPr lang="en-US" dirty="0"/>
              <a:t> y Seguridad </a:t>
            </a:r>
            <a:r>
              <a:rPr lang="en-US" dirty="0" err="1"/>
              <a:t>en</a:t>
            </a:r>
            <a:r>
              <a:rPr lang="en-US" dirty="0"/>
              <a:t> el Campus</a:t>
            </a:r>
          </a:p>
        </p:txBody>
      </p:sp>
      <p:sp>
        <p:nvSpPr>
          <p:cNvPr id="130" name="Content Placeholder 2"/>
          <p:cNvSpPr txBox="1">
            <a:spLocks/>
          </p:cNvSpPr>
          <p:nvPr/>
        </p:nvSpPr>
        <p:spPr>
          <a:xfrm>
            <a:off x="224953" y="594462"/>
            <a:ext cx="4489105" cy="262637"/>
          </a:xfrm>
          <a:prstGeom prst="rect">
            <a:avLst/>
          </a:prstGeom>
        </p:spPr>
        <p:txBody>
          <a:bodyPr/>
          <a:lstStyle>
            <a:lvl1pPr marL="180975" indent="-180975" algn="l" rtl="0" eaLnBrk="1" fontAlgn="base" hangingPunct="1">
              <a:spcBef>
                <a:spcPct val="20000"/>
              </a:spcBef>
              <a:spcAft>
                <a:spcPct val="30000"/>
              </a:spcAft>
              <a:buClrTx/>
              <a:buSzPct val="80000"/>
              <a:buFont typeface="Trebuchet MS" panose="05000000000000000000" pitchFamily="2" charset="2"/>
              <a:buChar char=""/>
              <a:defRPr sz="1500">
                <a:solidFill>
                  <a:schemeClr val="tx1"/>
                </a:solidFill>
                <a:latin typeface="Trebuchet MS" panose="020B0603020202020204" pitchFamily="34" charset="0"/>
                <a:ea typeface="+mn-ea"/>
                <a:cs typeface="Trebuchet MS" panose="020B0502040204020203" pitchFamily="34" charset="0"/>
              </a:defRPr>
            </a:lvl1pPr>
            <a:lvl2pPr marL="361950" indent="-180975" algn="l" rtl="0" eaLnBrk="1" fontAlgn="base" hangingPunct="1">
              <a:spcBef>
                <a:spcPct val="20000"/>
              </a:spcBef>
              <a:spcAft>
                <a:spcPts val="0"/>
              </a:spcAft>
              <a:buClrTx/>
              <a:buFont typeface="Trebuchet MS" panose="05000000000000000000" pitchFamily="2" charset="2"/>
              <a:buChar char="§"/>
              <a:defRPr sz="1400">
                <a:solidFill>
                  <a:schemeClr val="tx1"/>
                </a:solidFill>
                <a:latin typeface="Trebuchet MS" panose="020B0603020202020204" pitchFamily="34" charset="0"/>
                <a:cs typeface="Trebuchet MS" panose="020B0502040204020203" pitchFamily="34" charset="0"/>
              </a:defRPr>
            </a:lvl2pPr>
            <a:lvl3pPr marL="538163" indent="-131763" algn="l" rtl="0" eaLnBrk="1" fontAlgn="base" hangingPunct="1">
              <a:spcBef>
                <a:spcPts val="329"/>
              </a:spcBef>
              <a:spcAft>
                <a:spcPts val="0"/>
              </a:spcAft>
              <a:buClrTx/>
              <a:buFont typeface="Trebuchet MS" pitchFamily="34" charset="0"/>
              <a:buChar char="­"/>
              <a:defRPr sz="1200">
                <a:solidFill>
                  <a:schemeClr val="tx1"/>
                </a:solidFill>
                <a:latin typeface="Trebuchet MS" panose="020B0603020202020204" pitchFamily="34" charset="0"/>
                <a:cs typeface="Trebuchet MS" panose="020B0502040204020203" pitchFamily="34" charset="0"/>
              </a:defRPr>
            </a:lvl3pPr>
            <a:lvl4pPr marL="631825" indent="-85725"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4pPr>
            <a:lvl5pPr marL="715963" indent="-84138"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5pPr>
            <a:lvl6pPr marL="1093553"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6pPr>
            <a:lvl7pPr marL="1441942"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7pPr>
            <a:lvl8pPr marL="1790331"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8pPr>
            <a:lvl9pPr marL="2138719"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9pPr>
          </a:lstStyle>
          <a:p>
            <a:pPr marL="0" indent="0">
              <a:buNone/>
            </a:pPr>
            <a:r>
              <a:rPr lang="en-US" sz="1100" dirty="0" err="1">
                <a:solidFill>
                  <a:schemeClr val="tx2"/>
                </a:solidFill>
              </a:rPr>
              <a:t>Ahorro</a:t>
            </a:r>
            <a:r>
              <a:rPr lang="en-US" sz="1100" dirty="0">
                <a:solidFill>
                  <a:schemeClr val="tx2"/>
                </a:solidFill>
              </a:rPr>
              <a:t> de </a:t>
            </a:r>
            <a:r>
              <a:rPr lang="en-US" sz="1100" dirty="0" err="1">
                <a:solidFill>
                  <a:schemeClr val="tx2"/>
                </a:solidFill>
              </a:rPr>
              <a:t>energía</a:t>
            </a:r>
            <a:r>
              <a:rPr lang="en-US" sz="1100" dirty="0">
                <a:solidFill>
                  <a:schemeClr val="tx2"/>
                </a:solidFill>
              </a:rPr>
              <a:t>, Seguridad </a:t>
            </a:r>
            <a:r>
              <a:rPr lang="en-US" sz="1100" dirty="0" err="1">
                <a:solidFill>
                  <a:schemeClr val="tx2"/>
                </a:solidFill>
              </a:rPr>
              <a:t>física</a:t>
            </a:r>
            <a:r>
              <a:rPr lang="en-US" sz="1100" dirty="0">
                <a:solidFill>
                  <a:schemeClr val="tx2"/>
                </a:solidFill>
              </a:rPr>
              <a:t>, </a:t>
            </a:r>
            <a:r>
              <a:rPr lang="en-US" sz="1100" dirty="0" err="1">
                <a:solidFill>
                  <a:schemeClr val="tx2"/>
                </a:solidFill>
              </a:rPr>
              <a:t>Eficiencia</a:t>
            </a:r>
            <a:r>
              <a:rPr lang="en-US" sz="1100" dirty="0">
                <a:solidFill>
                  <a:schemeClr val="tx2"/>
                </a:solidFill>
              </a:rPr>
              <a:t> </a:t>
            </a:r>
            <a:r>
              <a:rPr lang="en-US" sz="1100" dirty="0" err="1">
                <a:solidFill>
                  <a:schemeClr val="tx2"/>
                </a:solidFill>
              </a:rPr>
              <a:t>operativa</a:t>
            </a:r>
            <a:endParaRPr lang="en-US" sz="1100" dirty="0">
              <a:solidFill>
                <a:schemeClr val="tx2"/>
              </a:solidFill>
            </a:endParaRPr>
          </a:p>
        </p:txBody>
      </p:sp>
      <p:sp>
        <p:nvSpPr>
          <p:cNvPr id="8" name="Oval 7"/>
          <p:cNvSpPr/>
          <p:nvPr/>
        </p:nvSpPr>
        <p:spPr>
          <a:xfrm>
            <a:off x="1619843" y="1268499"/>
            <a:ext cx="95249" cy="101818"/>
          </a:xfrm>
          <a:prstGeom prst="ellipse">
            <a:avLst/>
          </a:prstGeom>
          <a:solidFill>
            <a:schemeClr val="bg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cxnSp>
        <p:nvCxnSpPr>
          <p:cNvPr id="9" name="Straight Connector 8"/>
          <p:cNvCxnSpPr>
            <a:stCxn id="8" idx="2"/>
            <a:endCxn id="11" idx="3"/>
          </p:cNvCxnSpPr>
          <p:nvPr/>
        </p:nvCxnSpPr>
        <p:spPr bwMode="auto">
          <a:xfrm flipH="1" flipV="1">
            <a:off x="1123864" y="1150131"/>
            <a:ext cx="495979" cy="169277"/>
          </a:xfrm>
          <a:prstGeom prst="line">
            <a:avLst/>
          </a:prstGeom>
          <a:noFill/>
          <a:ln w="12700" cap="flat" cmpd="sng" algn="ctr">
            <a:solidFill>
              <a:schemeClr val="bg1"/>
            </a:solidFill>
            <a:prstDash val="solid"/>
            <a:round/>
            <a:headEnd type="none" w="med" len="med"/>
            <a:tailEnd type="none"/>
          </a:ln>
          <a:effectLst/>
        </p:spPr>
      </p:cxnSp>
      <p:sp>
        <p:nvSpPr>
          <p:cNvPr id="11" name="TextBox 10"/>
          <p:cNvSpPr txBox="1"/>
          <p:nvPr/>
        </p:nvSpPr>
        <p:spPr>
          <a:xfrm>
            <a:off x="2723" y="1011631"/>
            <a:ext cx="1121141" cy="276999"/>
          </a:xfrm>
          <a:prstGeom prst="rect">
            <a:avLst/>
          </a:prstGeom>
          <a:noFill/>
        </p:spPr>
        <p:txBody>
          <a:bodyPr wrap="none" rtlCol="0">
            <a:spAutoFit/>
          </a:bodyPr>
          <a:lstStyle/>
          <a:p>
            <a:r>
              <a:rPr lang="en-US" sz="1200" dirty="0">
                <a:solidFill>
                  <a:schemeClr val="bg1"/>
                </a:solidFill>
                <a:latin typeface="Trebuchet MS"/>
                <a:cs typeface="Trebuchet MS" panose="020B0502040204020203" pitchFamily="34" charset="0"/>
              </a:rPr>
              <a:t>Sistema HVAC</a:t>
            </a:r>
          </a:p>
        </p:txBody>
      </p:sp>
      <p:sp>
        <p:nvSpPr>
          <p:cNvPr id="12" name="Oval 11"/>
          <p:cNvSpPr/>
          <p:nvPr/>
        </p:nvSpPr>
        <p:spPr>
          <a:xfrm>
            <a:off x="2442344" y="1531396"/>
            <a:ext cx="95249" cy="101818"/>
          </a:xfrm>
          <a:prstGeom prst="ellipse">
            <a:avLst/>
          </a:prstGeom>
          <a:solidFill>
            <a:schemeClr val="bg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cxnSp>
        <p:nvCxnSpPr>
          <p:cNvPr id="13" name="Straight Connector 12"/>
          <p:cNvCxnSpPr>
            <a:stCxn id="12" idx="6"/>
            <a:endCxn id="14" idx="1"/>
          </p:cNvCxnSpPr>
          <p:nvPr/>
        </p:nvCxnSpPr>
        <p:spPr bwMode="auto">
          <a:xfrm>
            <a:off x="2537593" y="1582305"/>
            <a:ext cx="724006" cy="227431"/>
          </a:xfrm>
          <a:prstGeom prst="line">
            <a:avLst/>
          </a:prstGeom>
          <a:noFill/>
          <a:ln w="12700" cap="flat" cmpd="sng" algn="ctr">
            <a:solidFill>
              <a:schemeClr val="bg1"/>
            </a:solidFill>
            <a:prstDash val="solid"/>
            <a:round/>
            <a:headEnd type="none" w="med" len="med"/>
            <a:tailEnd type="none"/>
          </a:ln>
          <a:effectLst/>
        </p:spPr>
      </p:cxnSp>
      <p:sp>
        <p:nvSpPr>
          <p:cNvPr id="14" name="TextBox 13"/>
          <p:cNvSpPr txBox="1"/>
          <p:nvPr/>
        </p:nvSpPr>
        <p:spPr>
          <a:xfrm>
            <a:off x="3261599" y="1671236"/>
            <a:ext cx="1687130" cy="276999"/>
          </a:xfrm>
          <a:prstGeom prst="rect">
            <a:avLst/>
          </a:prstGeom>
          <a:noFill/>
        </p:spPr>
        <p:txBody>
          <a:bodyPr wrap="none" rtlCol="0">
            <a:spAutoFit/>
          </a:bodyPr>
          <a:lstStyle/>
          <a:p>
            <a:pPr algn="ctr"/>
            <a:r>
              <a:rPr lang="en-US" sz="1200" dirty="0" err="1">
                <a:solidFill>
                  <a:schemeClr val="bg1"/>
                </a:solidFill>
                <a:latin typeface="Trebuchet MS"/>
                <a:cs typeface="Trebuchet MS" panose="020B0502040204020203" pitchFamily="34" charset="0"/>
              </a:rPr>
              <a:t>Cámaras</a:t>
            </a:r>
            <a:r>
              <a:rPr lang="en-US" sz="1200" dirty="0">
                <a:solidFill>
                  <a:schemeClr val="bg1"/>
                </a:solidFill>
                <a:latin typeface="Trebuchet MS"/>
                <a:cs typeface="Trebuchet MS" panose="020B0502040204020203" pitchFamily="34" charset="0"/>
              </a:rPr>
              <a:t> de </a:t>
            </a:r>
            <a:r>
              <a:rPr lang="en-US" sz="1200" dirty="0" err="1">
                <a:solidFill>
                  <a:schemeClr val="bg1"/>
                </a:solidFill>
                <a:latin typeface="Trebuchet MS"/>
                <a:cs typeface="Trebuchet MS" panose="020B0502040204020203" pitchFamily="34" charset="0"/>
              </a:rPr>
              <a:t>Vigilancia</a:t>
            </a:r>
            <a:endParaRPr lang="en-US" sz="1200" dirty="0">
              <a:solidFill>
                <a:schemeClr val="bg1"/>
              </a:solidFill>
              <a:latin typeface="Trebuchet MS"/>
              <a:cs typeface="Trebuchet MS" panose="020B0502040204020203" pitchFamily="34" charset="0"/>
            </a:endParaRPr>
          </a:p>
        </p:txBody>
      </p:sp>
      <p:sp>
        <p:nvSpPr>
          <p:cNvPr id="15" name="Oval 14"/>
          <p:cNvSpPr/>
          <p:nvPr/>
        </p:nvSpPr>
        <p:spPr>
          <a:xfrm>
            <a:off x="1823307" y="3405960"/>
            <a:ext cx="95249" cy="101818"/>
          </a:xfrm>
          <a:prstGeom prst="ellipse">
            <a:avLst/>
          </a:prstGeom>
          <a:solidFill>
            <a:schemeClr val="bg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cxnSp>
        <p:nvCxnSpPr>
          <p:cNvPr id="16" name="Straight Connector 15"/>
          <p:cNvCxnSpPr>
            <a:stCxn id="15" idx="6"/>
            <a:endCxn id="17" idx="1"/>
          </p:cNvCxnSpPr>
          <p:nvPr/>
        </p:nvCxnSpPr>
        <p:spPr bwMode="auto">
          <a:xfrm flipV="1">
            <a:off x="1918556" y="3384130"/>
            <a:ext cx="477907" cy="72739"/>
          </a:xfrm>
          <a:prstGeom prst="line">
            <a:avLst/>
          </a:prstGeom>
          <a:noFill/>
          <a:ln w="12700" cap="flat" cmpd="sng" algn="ctr">
            <a:solidFill>
              <a:schemeClr val="bg1"/>
            </a:solidFill>
            <a:prstDash val="solid"/>
            <a:round/>
            <a:headEnd type="none" w="med" len="med"/>
            <a:tailEnd type="none"/>
          </a:ln>
          <a:effectLst/>
        </p:spPr>
      </p:cxnSp>
      <p:sp>
        <p:nvSpPr>
          <p:cNvPr id="17" name="TextBox 16"/>
          <p:cNvSpPr txBox="1"/>
          <p:nvPr/>
        </p:nvSpPr>
        <p:spPr>
          <a:xfrm>
            <a:off x="2396463" y="3245630"/>
            <a:ext cx="978153" cy="276999"/>
          </a:xfrm>
          <a:prstGeom prst="rect">
            <a:avLst/>
          </a:prstGeom>
          <a:noFill/>
        </p:spPr>
        <p:txBody>
          <a:bodyPr wrap="none" rtlCol="0">
            <a:spAutoFit/>
          </a:bodyPr>
          <a:lstStyle/>
          <a:p>
            <a:r>
              <a:rPr lang="en-US" sz="1200" dirty="0" err="1">
                <a:solidFill>
                  <a:schemeClr val="bg1"/>
                </a:solidFill>
                <a:latin typeface="Trebuchet MS"/>
                <a:cs typeface="Trebuchet MS" panose="020B0502040204020203" pitchFamily="34" charset="0"/>
              </a:rPr>
              <a:t>Iluminación</a:t>
            </a:r>
            <a:endParaRPr lang="en-US" sz="1200" dirty="0">
              <a:solidFill>
                <a:schemeClr val="bg1"/>
              </a:solidFill>
              <a:latin typeface="Trebuchet MS"/>
              <a:cs typeface="Trebuchet MS" panose="020B0502040204020203" pitchFamily="34" charset="0"/>
            </a:endParaRPr>
          </a:p>
        </p:txBody>
      </p:sp>
      <p:grpSp>
        <p:nvGrpSpPr>
          <p:cNvPr id="6" name="Group 5"/>
          <p:cNvGrpSpPr/>
          <p:nvPr/>
        </p:nvGrpSpPr>
        <p:grpSpPr>
          <a:xfrm>
            <a:off x="1" y="3706364"/>
            <a:ext cx="4449790" cy="1432841"/>
            <a:chOff x="3972433" y="3571597"/>
            <a:chExt cx="4881653" cy="1571902"/>
          </a:xfrm>
        </p:grpSpPr>
        <p:pic>
          <p:nvPicPr>
            <p:cNvPr id="5" name="Picture 2" descr="Image result for hotel lawn sprinkler system"/>
            <p:cNvPicPr>
              <a:picLocks noChangeAspect="1" noChangeArrowheads="1"/>
            </p:cNvPicPr>
            <p:nvPr/>
          </p:nvPicPr>
          <p:blipFill rotWithShape="1">
            <a:blip r:embed="rId4" cstate="print"/>
            <a:srcRect l="19852" t="24171" r="4763"/>
            <a:stretch/>
          </p:blipFill>
          <p:spPr bwMode="auto">
            <a:xfrm>
              <a:off x="3972433" y="3571597"/>
              <a:ext cx="4881653" cy="1571902"/>
            </a:xfrm>
            <a:prstGeom prst="rect">
              <a:avLst/>
            </a:prstGeom>
            <a:noFill/>
          </p:spPr>
        </p:pic>
        <p:sp>
          <p:nvSpPr>
            <p:cNvPr id="21" name="Oval 20"/>
            <p:cNvSpPr/>
            <p:nvPr/>
          </p:nvSpPr>
          <p:spPr>
            <a:xfrm>
              <a:off x="8249791" y="4216696"/>
              <a:ext cx="95249" cy="101818"/>
            </a:xfrm>
            <a:prstGeom prst="ellipse">
              <a:avLst/>
            </a:prstGeom>
            <a:solidFill>
              <a:schemeClr val="bg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cxnSp>
          <p:nvCxnSpPr>
            <p:cNvPr id="22" name="Straight Connector 21"/>
            <p:cNvCxnSpPr>
              <a:stCxn id="21" idx="2"/>
              <a:endCxn id="23" idx="3"/>
            </p:cNvCxnSpPr>
            <p:nvPr/>
          </p:nvCxnSpPr>
          <p:spPr bwMode="auto">
            <a:xfrm flipH="1">
              <a:off x="8055768" y="4267604"/>
              <a:ext cx="194024" cy="224636"/>
            </a:xfrm>
            <a:prstGeom prst="line">
              <a:avLst/>
            </a:prstGeom>
            <a:noFill/>
            <a:ln w="12700" cap="flat" cmpd="sng" algn="ctr">
              <a:solidFill>
                <a:schemeClr val="bg1"/>
              </a:solidFill>
              <a:prstDash val="solid"/>
              <a:round/>
              <a:headEnd type="none" w="med" len="med"/>
              <a:tailEnd type="none"/>
            </a:ln>
            <a:effectLst/>
          </p:spPr>
        </p:cxnSp>
        <p:sp>
          <p:nvSpPr>
            <p:cNvPr id="23" name="TextBox 22"/>
            <p:cNvSpPr txBox="1"/>
            <p:nvPr/>
          </p:nvSpPr>
          <p:spPr>
            <a:xfrm>
              <a:off x="6500832" y="4340298"/>
              <a:ext cx="1554936" cy="303882"/>
            </a:xfrm>
            <a:prstGeom prst="rect">
              <a:avLst/>
            </a:prstGeom>
            <a:noFill/>
          </p:spPr>
          <p:txBody>
            <a:bodyPr wrap="none" rtlCol="0">
              <a:spAutoFit/>
            </a:bodyPr>
            <a:lstStyle/>
            <a:p>
              <a:pPr algn="ctr"/>
              <a:r>
                <a:rPr lang="en-US" sz="1200" dirty="0" err="1">
                  <a:solidFill>
                    <a:schemeClr val="bg1"/>
                  </a:solidFill>
                  <a:latin typeface="Trebuchet MS"/>
                  <a:cs typeface="Trebuchet MS" panose="020B0502040204020203" pitchFamily="34" charset="0"/>
                </a:rPr>
                <a:t>Sistemas</a:t>
              </a:r>
              <a:r>
                <a:rPr lang="en-US" sz="1200" dirty="0">
                  <a:solidFill>
                    <a:schemeClr val="bg1"/>
                  </a:solidFill>
                  <a:latin typeface="Trebuchet MS"/>
                  <a:cs typeface="Trebuchet MS" panose="020B0502040204020203" pitchFamily="34" charset="0"/>
                </a:rPr>
                <a:t> de </a:t>
              </a:r>
              <a:r>
                <a:rPr lang="en-US" sz="1200" dirty="0" err="1">
                  <a:solidFill>
                    <a:schemeClr val="bg1"/>
                  </a:solidFill>
                  <a:latin typeface="Trebuchet MS"/>
                  <a:cs typeface="Trebuchet MS" panose="020B0502040204020203" pitchFamily="34" charset="0"/>
                </a:rPr>
                <a:t>Riego</a:t>
              </a:r>
              <a:endParaRPr lang="en-US" sz="1200" dirty="0">
                <a:solidFill>
                  <a:schemeClr val="bg1"/>
                </a:solidFill>
                <a:latin typeface="Trebuchet MS"/>
                <a:cs typeface="Trebuchet MS" panose="020B0502040204020203" pitchFamily="34" charset="0"/>
              </a:endParaRPr>
            </a:p>
          </p:txBody>
        </p:sp>
      </p:grpSp>
      <p:cxnSp>
        <p:nvCxnSpPr>
          <p:cNvPr id="40" name="Straight Connector 39"/>
          <p:cNvCxnSpPr/>
          <p:nvPr/>
        </p:nvCxnSpPr>
        <p:spPr bwMode="auto">
          <a:xfrm>
            <a:off x="0" y="3711077"/>
            <a:ext cx="4271792" cy="0"/>
          </a:xfrm>
          <a:prstGeom prst="line">
            <a:avLst/>
          </a:prstGeom>
          <a:noFill/>
          <a:ln w="28575" cap="flat" cmpd="sng" algn="ctr">
            <a:solidFill>
              <a:schemeClr val="bg1"/>
            </a:solidFill>
            <a:prstDash val="solid"/>
            <a:round/>
            <a:headEnd type="none" w="med" len="med"/>
            <a:tailEnd type="none"/>
          </a:ln>
          <a:effectLst/>
        </p:spPr>
      </p:cxnSp>
      <p:cxnSp>
        <p:nvCxnSpPr>
          <p:cNvPr id="19" name="Straight Connector 18"/>
          <p:cNvCxnSpPr/>
          <p:nvPr/>
        </p:nvCxnSpPr>
        <p:spPr bwMode="auto">
          <a:xfrm>
            <a:off x="7405709" y="4372292"/>
            <a:ext cx="377686" cy="453818"/>
          </a:xfrm>
          <a:prstGeom prst="line">
            <a:avLst/>
          </a:prstGeom>
          <a:noFill/>
          <a:ln w="12700" cap="flat" cmpd="sng" algn="ctr">
            <a:solidFill>
              <a:schemeClr val="bg1"/>
            </a:solidFill>
            <a:prstDash val="solid"/>
            <a:round/>
            <a:headEnd type="none" w="med" len="med"/>
            <a:tailEnd type="none"/>
          </a:ln>
          <a:effectLst/>
        </p:spPr>
      </p:cxnSp>
      <p:sp>
        <p:nvSpPr>
          <p:cNvPr id="52" name="TextBox 51"/>
          <p:cNvSpPr txBox="1"/>
          <p:nvPr/>
        </p:nvSpPr>
        <p:spPr>
          <a:xfrm>
            <a:off x="6839676" y="3076222"/>
            <a:ext cx="896399" cy="276999"/>
          </a:xfrm>
          <a:prstGeom prst="rect">
            <a:avLst/>
          </a:prstGeom>
          <a:noFill/>
        </p:spPr>
        <p:txBody>
          <a:bodyPr wrap="none" rtlCol="0">
            <a:spAutoFit/>
          </a:bodyPr>
          <a:lstStyle/>
          <a:p>
            <a:r>
              <a:rPr lang="en-US" sz="1200" dirty="0">
                <a:solidFill>
                  <a:schemeClr val="bg1"/>
                </a:solidFill>
                <a:latin typeface="Trebuchet MS"/>
                <a:cs typeface="Trebuchet MS" panose="020B0502040204020203" pitchFamily="34" charset="0"/>
              </a:rPr>
              <a:t>Door locks</a:t>
            </a:r>
          </a:p>
        </p:txBody>
      </p:sp>
      <p:cxnSp>
        <p:nvCxnSpPr>
          <p:cNvPr id="54" name="Straight Connector 53"/>
          <p:cNvCxnSpPr>
            <a:endCxn id="52" idx="1"/>
          </p:cNvCxnSpPr>
          <p:nvPr/>
        </p:nvCxnSpPr>
        <p:spPr bwMode="auto">
          <a:xfrm flipV="1">
            <a:off x="6024025" y="3214722"/>
            <a:ext cx="815651" cy="355627"/>
          </a:xfrm>
          <a:prstGeom prst="line">
            <a:avLst/>
          </a:prstGeom>
          <a:noFill/>
          <a:ln w="12700" cap="flat" cmpd="sng" algn="ctr">
            <a:solidFill>
              <a:schemeClr val="bg1"/>
            </a:solidFill>
            <a:prstDash val="solid"/>
            <a:round/>
            <a:headEnd type="none" w="med" len="med"/>
            <a:tailEnd type="none"/>
          </a:ln>
          <a:effectLst/>
        </p:spPr>
      </p:cxnSp>
      <p:cxnSp>
        <p:nvCxnSpPr>
          <p:cNvPr id="44" name="Straight Connector 43"/>
          <p:cNvCxnSpPr/>
          <p:nvPr/>
        </p:nvCxnSpPr>
        <p:spPr bwMode="auto">
          <a:xfrm flipV="1">
            <a:off x="4748958" y="3871255"/>
            <a:ext cx="0" cy="1272245"/>
          </a:xfrm>
          <a:prstGeom prst="line">
            <a:avLst/>
          </a:prstGeom>
          <a:noFill/>
          <a:ln w="28575" cap="flat" cmpd="sng" algn="ctr">
            <a:solidFill>
              <a:schemeClr val="bg1"/>
            </a:solidFill>
            <a:prstDash val="solid"/>
            <a:round/>
            <a:headEnd type="none" w="med" len="med"/>
            <a:tailEnd type="none"/>
          </a:ln>
          <a:effectLst/>
        </p:spPr>
      </p:cxnSp>
      <p:pic>
        <p:nvPicPr>
          <p:cNvPr id="2068" name="Picture 8" descr="Image result for iot and restroom cleaning"/>
          <p:cNvPicPr>
            <a:picLocks noChangeAspect="1" noChangeArrowheads="1"/>
          </p:cNvPicPr>
          <p:nvPr/>
        </p:nvPicPr>
        <p:blipFill rotWithShape="1">
          <a:blip r:embed="rId5">
            <a:extLst>
              <a:ext uri="{28A0092B-C50C-407E-A947-70E740481C1C}">
                <a14:useLocalDpi xmlns:a14="http://schemas.microsoft.com/office/drawing/2010/main" val="0"/>
              </a:ext>
            </a:extLst>
          </a:blip>
          <a:srcRect b="10446"/>
          <a:stretch/>
        </p:blipFill>
        <p:spPr bwMode="auto">
          <a:xfrm>
            <a:off x="5036303" y="1010341"/>
            <a:ext cx="4107157" cy="1972137"/>
          </a:xfrm>
          <a:prstGeom prst="rect">
            <a:avLst/>
          </a:prstGeom>
          <a:noFill/>
          <a:extLst>
            <a:ext uri="{909E8E84-426E-40DD-AFC4-6F175D3DCCD1}">
              <a14:hiddenFill xmlns:a14="http://schemas.microsoft.com/office/drawing/2010/main">
                <a:solidFill>
                  <a:srgbClr val="FFFFFF"/>
                </a:solidFill>
              </a14:hiddenFill>
            </a:ext>
          </a:extLst>
        </p:spPr>
      </p:pic>
      <p:cxnSp>
        <p:nvCxnSpPr>
          <p:cNvPr id="28" name="Straight Connector 27"/>
          <p:cNvCxnSpPr/>
          <p:nvPr/>
        </p:nvCxnSpPr>
        <p:spPr bwMode="auto">
          <a:xfrm>
            <a:off x="5448077" y="2982478"/>
            <a:ext cx="3685498" cy="0"/>
          </a:xfrm>
          <a:prstGeom prst="line">
            <a:avLst/>
          </a:prstGeom>
          <a:noFill/>
          <a:ln w="28575" cap="flat" cmpd="sng" algn="ctr">
            <a:solidFill>
              <a:schemeClr val="bg1"/>
            </a:solidFill>
            <a:prstDash val="solid"/>
            <a:round/>
            <a:headEnd type="none" w="med" len="med"/>
            <a:tailEnd type="none"/>
          </a:ln>
          <a:effectLst/>
        </p:spPr>
      </p:cxnSp>
      <p:sp>
        <p:nvSpPr>
          <p:cNvPr id="45" name="Oval 44"/>
          <p:cNvSpPr/>
          <p:nvPr/>
        </p:nvSpPr>
        <p:spPr>
          <a:xfrm>
            <a:off x="5887783" y="2335375"/>
            <a:ext cx="95249" cy="101818"/>
          </a:xfrm>
          <a:prstGeom prst="ellipse">
            <a:avLst/>
          </a:prstGeom>
          <a:solidFill>
            <a:schemeClr val="bg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46" name="Oval 45"/>
          <p:cNvSpPr/>
          <p:nvPr/>
        </p:nvSpPr>
        <p:spPr>
          <a:xfrm>
            <a:off x="7204091" y="1257107"/>
            <a:ext cx="95249" cy="101818"/>
          </a:xfrm>
          <a:prstGeom prst="ellipse">
            <a:avLst/>
          </a:prstGeom>
          <a:solidFill>
            <a:schemeClr val="bg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pic>
        <p:nvPicPr>
          <p:cNvPr id="5124" name="Picture 4" descr="Image result for iot ammonia sensor for bathrooms"/>
          <p:cNvPicPr>
            <a:picLocks noChangeAspect="1" noChangeArrowheads="1"/>
          </p:cNvPicPr>
          <p:nvPr/>
        </p:nvPicPr>
        <p:blipFill rotWithShape="1">
          <a:blip r:embed="rId6" cstate="print">
            <a:extLst>
              <a:ext uri="{BEBA8EAE-BF5A-486C-A8C5-ECC9F3942E4B}">
                <a14:imgProps xmlns:a14="http://schemas.microsoft.com/office/drawing/2010/main">
                  <a14:imgLayer r:embed="rId7">
                    <a14:imgEffect>
                      <a14:backgroundRemoval t="0" b="100000" l="0" r="100000"/>
                    </a14:imgEffect>
                  </a14:imgLayer>
                </a14:imgProps>
              </a:ext>
              <a:ext uri="{28A0092B-C50C-407E-A947-70E740481C1C}">
                <a14:useLocalDpi xmlns:a14="http://schemas.microsoft.com/office/drawing/2010/main" val="0"/>
              </a:ext>
            </a:extLst>
          </a:blip>
          <a:srcRect/>
          <a:stretch/>
        </p:blipFill>
        <p:spPr bwMode="auto">
          <a:xfrm>
            <a:off x="7345584" y="1206008"/>
            <a:ext cx="148149" cy="204017"/>
          </a:xfrm>
          <a:prstGeom prst="rect">
            <a:avLst/>
          </a:prstGeom>
          <a:noFill/>
          <a:extLst>
            <a:ext uri="{909E8E84-426E-40DD-AFC4-6F175D3DCCD1}">
              <a14:hiddenFill xmlns:a14="http://schemas.microsoft.com/office/drawing/2010/main">
                <a:solidFill>
                  <a:srgbClr val="FFFFFF"/>
                </a:solidFill>
              </a14:hiddenFill>
            </a:ext>
          </a:extLst>
        </p:spPr>
      </p:pic>
      <p:cxnSp>
        <p:nvCxnSpPr>
          <p:cNvPr id="42" name="Straight Connector 41"/>
          <p:cNvCxnSpPr/>
          <p:nvPr/>
        </p:nvCxnSpPr>
        <p:spPr bwMode="auto">
          <a:xfrm flipV="1">
            <a:off x="5062050" y="1015318"/>
            <a:ext cx="0" cy="1613310"/>
          </a:xfrm>
          <a:prstGeom prst="line">
            <a:avLst/>
          </a:prstGeom>
          <a:noFill/>
          <a:ln w="28575" cap="flat" cmpd="sng" algn="ctr">
            <a:solidFill>
              <a:schemeClr val="bg1"/>
            </a:solidFill>
            <a:prstDash val="solid"/>
            <a:round/>
            <a:headEnd type="none" w="med" len="med"/>
            <a:tailEnd type="none"/>
          </a:ln>
          <a:effectLst/>
        </p:spPr>
      </p:cxnSp>
      <p:sp>
        <p:nvSpPr>
          <p:cNvPr id="47" name="TextBox 46"/>
          <p:cNvSpPr txBox="1"/>
          <p:nvPr/>
        </p:nvSpPr>
        <p:spPr>
          <a:xfrm>
            <a:off x="5099857" y="1503212"/>
            <a:ext cx="1297150" cy="276999"/>
          </a:xfrm>
          <a:prstGeom prst="rect">
            <a:avLst/>
          </a:prstGeom>
          <a:noFill/>
        </p:spPr>
        <p:txBody>
          <a:bodyPr wrap="none" rtlCol="0">
            <a:spAutoFit/>
          </a:bodyPr>
          <a:lstStyle/>
          <a:p>
            <a:r>
              <a:rPr lang="en-US" sz="1200" dirty="0">
                <a:solidFill>
                  <a:schemeClr val="bg1"/>
                </a:solidFill>
                <a:latin typeface="Trebuchet MS"/>
                <a:cs typeface="Trebuchet MS" panose="020B0502040204020203" pitchFamily="34" charset="0"/>
              </a:rPr>
              <a:t>Sensor de </a:t>
            </a:r>
            <a:r>
              <a:rPr lang="en-US" sz="1200" dirty="0" err="1">
                <a:solidFill>
                  <a:schemeClr val="bg1"/>
                </a:solidFill>
                <a:latin typeface="Trebuchet MS"/>
                <a:cs typeface="Trebuchet MS" panose="020B0502040204020203" pitchFamily="34" charset="0"/>
              </a:rPr>
              <a:t>Jabón</a:t>
            </a:r>
            <a:endParaRPr lang="en-US" sz="1200" dirty="0">
              <a:solidFill>
                <a:schemeClr val="bg1"/>
              </a:solidFill>
              <a:latin typeface="Trebuchet MS"/>
              <a:cs typeface="Trebuchet MS" panose="020B0502040204020203" pitchFamily="34" charset="0"/>
            </a:endParaRPr>
          </a:p>
        </p:txBody>
      </p:sp>
      <p:cxnSp>
        <p:nvCxnSpPr>
          <p:cNvPr id="48" name="Straight Connector 47"/>
          <p:cNvCxnSpPr>
            <a:stCxn id="45" idx="1"/>
            <a:endCxn id="47" idx="2"/>
          </p:cNvCxnSpPr>
          <p:nvPr/>
        </p:nvCxnSpPr>
        <p:spPr bwMode="auto">
          <a:xfrm flipH="1" flipV="1">
            <a:off x="5748432" y="1780211"/>
            <a:ext cx="153300" cy="570075"/>
          </a:xfrm>
          <a:prstGeom prst="line">
            <a:avLst/>
          </a:prstGeom>
          <a:noFill/>
          <a:ln w="12700" cap="flat" cmpd="sng" algn="ctr">
            <a:solidFill>
              <a:schemeClr val="bg1"/>
            </a:solidFill>
            <a:prstDash val="solid"/>
            <a:round/>
            <a:headEnd type="none" w="med" len="med"/>
            <a:tailEnd type="none"/>
          </a:ln>
          <a:effectLst/>
        </p:spPr>
      </p:cxnSp>
      <p:sp>
        <p:nvSpPr>
          <p:cNvPr id="50" name="TextBox 49"/>
          <p:cNvSpPr txBox="1"/>
          <p:nvPr/>
        </p:nvSpPr>
        <p:spPr>
          <a:xfrm>
            <a:off x="6431850" y="1456495"/>
            <a:ext cx="1580433" cy="276999"/>
          </a:xfrm>
          <a:prstGeom prst="rect">
            <a:avLst/>
          </a:prstGeom>
          <a:noFill/>
        </p:spPr>
        <p:txBody>
          <a:bodyPr wrap="none" rtlCol="0">
            <a:spAutoFit/>
          </a:bodyPr>
          <a:lstStyle/>
          <a:p>
            <a:r>
              <a:rPr lang="en-US" sz="1200" dirty="0">
                <a:solidFill>
                  <a:schemeClr val="bg1"/>
                </a:solidFill>
                <a:latin typeface="Trebuchet MS"/>
                <a:cs typeface="Trebuchet MS" panose="020B0502040204020203" pitchFamily="34" charset="0"/>
              </a:rPr>
              <a:t>Sensor de Ammonia</a:t>
            </a:r>
          </a:p>
        </p:txBody>
      </p:sp>
      <p:cxnSp>
        <p:nvCxnSpPr>
          <p:cNvPr id="51" name="Straight Connector 50"/>
          <p:cNvCxnSpPr>
            <a:stCxn id="50" idx="0"/>
            <a:endCxn id="46" idx="3"/>
          </p:cNvCxnSpPr>
          <p:nvPr/>
        </p:nvCxnSpPr>
        <p:spPr bwMode="auto">
          <a:xfrm flipH="1" flipV="1">
            <a:off x="7218040" y="1344014"/>
            <a:ext cx="4027" cy="112481"/>
          </a:xfrm>
          <a:prstGeom prst="line">
            <a:avLst/>
          </a:prstGeom>
          <a:noFill/>
          <a:ln w="12700" cap="flat" cmpd="sng" algn="ctr">
            <a:solidFill>
              <a:schemeClr val="bg1"/>
            </a:solidFill>
            <a:prstDash val="solid"/>
            <a:round/>
            <a:headEnd type="none" w="med" len="med"/>
            <a:tailEnd type="none"/>
          </a:ln>
          <a:effectLst/>
        </p:spPr>
      </p:cxnSp>
      <p:sp>
        <p:nvSpPr>
          <p:cNvPr id="55" name="Oval 54"/>
          <p:cNvSpPr/>
          <p:nvPr/>
        </p:nvSpPr>
        <p:spPr>
          <a:xfrm>
            <a:off x="8258853" y="2545492"/>
            <a:ext cx="95249" cy="101818"/>
          </a:xfrm>
          <a:prstGeom prst="ellipse">
            <a:avLst/>
          </a:prstGeom>
          <a:solidFill>
            <a:schemeClr val="bg2">
              <a:lumMod val="60000"/>
              <a:lumOff val="40000"/>
            </a:schemeClr>
          </a:solidFill>
          <a:ln>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pPr>
            <a:endParaRPr lang="en-US">
              <a:latin typeface="Trebuchet MS"/>
              <a:cs typeface="Trebuchet MS"/>
            </a:endParaRPr>
          </a:p>
        </p:txBody>
      </p:sp>
      <p:sp>
        <p:nvSpPr>
          <p:cNvPr id="56" name="TextBox 55"/>
          <p:cNvSpPr txBox="1"/>
          <p:nvPr/>
        </p:nvSpPr>
        <p:spPr>
          <a:xfrm>
            <a:off x="7324409" y="2144058"/>
            <a:ext cx="1753685" cy="276999"/>
          </a:xfrm>
          <a:prstGeom prst="rect">
            <a:avLst/>
          </a:prstGeom>
          <a:noFill/>
        </p:spPr>
        <p:txBody>
          <a:bodyPr wrap="none" rtlCol="0">
            <a:spAutoFit/>
          </a:bodyPr>
          <a:lstStyle/>
          <a:p>
            <a:r>
              <a:rPr lang="en-US" sz="1200" dirty="0">
                <a:solidFill>
                  <a:schemeClr val="bg1"/>
                </a:solidFill>
                <a:latin typeface="Trebuchet MS"/>
                <a:cs typeface="Trebuchet MS" panose="020B0502040204020203" pitchFamily="34" charset="0"/>
              </a:rPr>
              <a:t>Sensor de </a:t>
            </a:r>
            <a:r>
              <a:rPr lang="en-US" sz="1200" dirty="0" err="1">
                <a:solidFill>
                  <a:schemeClr val="bg1"/>
                </a:solidFill>
                <a:latin typeface="Trebuchet MS"/>
                <a:cs typeface="Trebuchet MS" panose="020B0502040204020203" pitchFamily="34" charset="0"/>
              </a:rPr>
              <a:t>Papel</a:t>
            </a:r>
            <a:r>
              <a:rPr lang="en-US" sz="1200" dirty="0">
                <a:solidFill>
                  <a:schemeClr val="bg1"/>
                </a:solidFill>
                <a:latin typeface="Trebuchet MS"/>
                <a:cs typeface="Trebuchet MS" panose="020B0502040204020203" pitchFamily="34" charset="0"/>
              </a:rPr>
              <a:t> Toilet</a:t>
            </a:r>
          </a:p>
        </p:txBody>
      </p:sp>
      <p:cxnSp>
        <p:nvCxnSpPr>
          <p:cNvPr id="57" name="Straight Connector 56"/>
          <p:cNvCxnSpPr>
            <a:stCxn id="55" idx="1"/>
            <a:endCxn id="56" idx="2"/>
          </p:cNvCxnSpPr>
          <p:nvPr/>
        </p:nvCxnSpPr>
        <p:spPr bwMode="auto">
          <a:xfrm flipH="1" flipV="1">
            <a:off x="8201252" y="2421057"/>
            <a:ext cx="71550" cy="139346"/>
          </a:xfrm>
          <a:prstGeom prst="line">
            <a:avLst/>
          </a:prstGeom>
          <a:noFill/>
          <a:ln w="12700" cap="flat" cmpd="sng" algn="ctr">
            <a:solidFill>
              <a:schemeClr val="bg1"/>
            </a:solidFill>
            <a:prstDash val="solid"/>
            <a:round/>
            <a:headEnd type="none" w="med" len="med"/>
            <a:tailEnd type="none"/>
          </a:ln>
          <a:effectLst/>
        </p:spPr>
      </p:cxnSp>
      <p:pic>
        <p:nvPicPr>
          <p:cNvPr id="4" name="Picture 12" descr="Image result for survaillance cameras in universities"/>
          <p:cNvPicPr>
            <a:picLocks noChangeAspect="1" noChangeArrowheads="1"/>
          </p:cNvPicPr>
          <p:nvPr/>
        </p:nvPicPr>
        <p:blipFill rotWithShape="1">
          <a:blip r:embed="rId8">
            <a:extLst>
              <a:ext uri="{28A0092B-C50C-407E-A947-70E740481C1C}">
                <a14:useLocalDpi xmlns:a14="http://schemas.microsoft.com/office/drawing/2010/main" val="0"/>
              </a:ext>
            </a:extLst>
          </a:blip>
          <a:srcRect l="11702" r="12886"/>
          <a:stretch/>
        </p:blipFill>
        <p:spPr bwMode="auto">
          <a:xfrm>
            <a:off x="4494753" y="3008140"/>
            <a:ext cx="4649839" cy="2140982"/>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Image result for survaillance cameras in universities"/>
          <p:cNvPicPr>
            <a:picLocks noChangeAspect="1" noChangeArrowheads="1"/>
          </p:cNvPicPr>
          <p:nvPr/>
        </p:nvPicPr>
        <p:blipFill rotWithShape="1">
          <a:blip r:embed="rId9">
            <a:extLst>
              <a:ext uri="{28A0092B-C50C-407E-A947-70E740481C1C}">
                <a14:useLocalDpi xmlns:a14="http://schemas.microsoft.com/office/drawing/2010/main" val="0"/>
              </a:ext>
            </a:extLst>
          </a:blip>
          <a:srcRect l="58646" t="3443" r="3845" b="39431"/>
          <a:stretch/>
        </p:blipFill>
        <p:spPr bwMode="auto">
          <a:xfrm>
            <a:off x="6455510" y="3096354"/>
            <a:ext cx="929506" cy="112670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Image result for panic button for universities"/>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3313" r="11876" b="8812"/>
          <a:stretch/>
        </p:blipFill>
        <p:spPr bwMode="auto">
          <a:xfrm>
            <a:off x="7862124" y="3187598"/>
            <a:ext cx="990536" cy="1608495"/>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1026" name="Picture 2" descr="Image result for panic button for universities"/>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538347" y="2982478"/>
            <a:ext cx="581894" cy="1163787"/>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descr="Related image"/>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271792" y="2621648"/>
            <a:ext cx="1178420" cy="1254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0170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224953" y="170260"/>
            <a:ext cx="8673362" cy="422523"/>
          </a:xfrm>
        </p:spPr>
        <p:txBody>
          <a:bodyPr/>
          <a:lstStyle/>
          <a:p>
            <a:r>
              <a:rPr lang="en-US" dirty="0" err="1"/>
              <a:t>Investigación</a:t>
            </a:r>
            <a:r>
              <a:rPr lang="en-US" dirty="0"/>
              <a:t> y </a:t>
            </a:r>
            <a:r>
              <a:rPr lang="en-US" dirty="0" err="1"/>
              <a:t>programas</a:t>
            </a:r>
            <a:r>
              <a:rPr lang="en-US" dirty="0"/>
              <a:t> </a:t>
            </a:r>
            <a:r>
              <a:rPr lang="en-US" dirty="0" err="1"/>
              <a:t>académicos</a:t>
            </a:r>
            <a:endParaRPr lang="en-US" dirty="0"/>
          </a:p>
        </p:txBody>
      </p:sp>
      <p:sp>
        <p:nvSpPr>
          <p:cNvPr id="130" name="Content Placeholder 2"/>
          <p:cNvSpPr txBox="1">
            <a:spLocks/>
          </p:cNvSpPr>
          <p:nvPr/>
        </p:nvSpPr>
        <p:spPr>
          <a:xfrm>
            <a:off x="224953" y="594462"/>
            <a:ext cx="4489105" cy="262637"/>
          </a:xfrm>
          <a:prstGeom prst="rect">
            <a:avLst/>
          </a:prstGeom>
        </p:spPr>
        <p:txBody>
          <a:bodyPr/>
          <a:lstStyle>
            <a:lvl1pPr marL="180975" indent="-180975" algn="l" rtl="0" eaLnBrk="1" fontAlgn="base" hangingPunct="1">
              <a:spcBef>
                <a:spcPct val="20000"/>
              </a:spcBef>
              <a:spcAft>
                <a:spcPct val="30000"/>
              </a:spcAft>
              <a:buClrTx/>
              <a:buSzPct val="80000"/>
              <a:buFont typeface="Trebuchet MS" panose="05000000000000000000" pitchFamily="2" charset="2"/>
              <a:buChar char=""/>
              <a:defRPr sz="1500">
                <a:solidFill>
                  <a:schemeClr val="tx1"/>
                </a:solidFill>
                <a:latin typeface="Trebuchet MS" panose="020B0603020202020204" pitchFamily="34" charset="0"/>
                <a:ea typeface="+mn-ea"/>
                <a:cs typeface="Trebuchet MS" panose="020B0502040204020203" pitchFamily="34" charset="0"/>
              </a:defRPr>
            </a:lvl1pPr>
            <a:lvl2pPr marL="361950" indent="-180975" algn="l" rtl="0" eaLnBrk="1" fontAlgn="base" hangingPunct="1">
              <a:spcBef>
                <a:spcPct val="20000"/>
              </a:spcBef>
              <a:spcAft>
                <a:spcPts val="0"/>
              </a:spcAft>
              <a:buClrTx/>
              <a:buFont typeface="Trebuchet MS" panose="05000000000000000000" pitchFamily="2" charset="2"/>
              <a:buChar char="§"/>
              <a:defRPr sz="1400">
                <a:solidFill>
                  <a:schemeClr val="tx1"/>
                </a:solidFill>
                <a:latin typeface="Trebuchet MS" panose="020B0603020202020204" pitchFamily="34" charset="0"/>
                <a:cs typeface="Trebuchet MS" panose="020B0502040204020203" pitchFamily="34" charset="0"/>
              </a:defRPr>
            </a:lvl2pPr>
            <a:lvl3pPr marL="538163" indent="-131763" algn="l" rtl="0" eaLnBrk="1" fontAlgn="base" hangingPunct="1">
              <a:spcBef>
                <a:spcPts val="329"/>
              </a:spcBef>
              <a:spcAft>
                <a:spcPts val="0"/>
              </a:spcAft>
              <a:buClrTx/>
              <a:buFont typeface="Trebuchet MS" pitchFamily="34" charset="0"/>
              <a:buChar char="­"/>
              <a:defRPr sz="1200">
                <a:solidFill>
                  <a:schemeClr val="tx1"/>
                </a:solidFill>
                <a:latin typeface="Trebuchet MS" panose="020B0603020202020204" pitchFamily="34" charset="0"/>
                <a:cs typeface="Trebuchet MS" panose="020B0502040204020203" pitchFamily="34" charset="0"/>
              </a:defRPr>
            </a:lvl3pPr>
            <a:lvl4pPr marL="631825" indent="-85725"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4pPr>
            <a:lvl5pPr marL="715963" indent="-84138" algn="l" rtl="0" eaLnBrk="1" fontAlgn="base" hangingPunct="1">
              <a:spcBef>
                <a:spcPct val="20000"/>
              </a:spcBef>
              <a:spcAft>
                <a:spcPct val="30000"/>
              </a:spcAft>
              <a:buClrTx/>
              <a:buFont typeface="Trebuchet MS" pitchFamily="34" charset="0"/>
              <a:buChar char="­"/>
              <a:defRPr sz="1100">
                <a:solidFill>
                  <a:schemeClr val="tx1"/>
                </a:solidFill>
                <a:latin typeface="Trebuchet MS" panose="020B0603020202020204" pitchFamily="34" charset="0"/>
                <a:cs typeface="Trebuchet MS" panose="020B0502040204020203" pitchFamily="34" charset="0"/>
              </a:defRPr>
            </a:lvl5pPr>
            <a:lvl6pPr marL="1093553"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6pPr>
            <a:lvl7pPr marL="1441942"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7pPr>
            <a:lvl8pPr marL="1790331"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8pPr>
            <a:lvl9pPr marL="2138719" indent="-174194" algn="l" rtl="0" eaLnBrk="1" fontAlgn="base" hangingPunct="1">
              <a:spcBef>
                <a:spcPct val="20000"/>
              </a:spcBef>
              <a:spcAft>
                <a:spcPct val="30000"/>
              </a:spcAft>
              <a:buClr>
                <a:srgbClr val="6639B7"/>
              </a:buClr>
              <a:buFont typeface="Trebuchet MS" pitchFamily="34" charset="0"/>
              <a:buChar char="­"/>
              <a:defRPr sz="1100">
                <a:solidFill>
                  <a:schemeClr val="tx1"/>
                </a:solidFill>
                <a:latin typeface="Trebuchet MS"/>
              </a:defRPr>
            </a:lvl9pPr>
          </a:lstStyle>
          <a:p>
            <a:pPr marL="0" indent="0">
              <a:buNone/>
            </a:pPr>
            <a:r>
              <a:rPr lang="en-US" sz="1100" dirty="0">
                <a:solidFill>
                  <a:schemeClr val="tx2"/>
                </a:solidFill>
              </a:rPr>
              <a:t>Las </a:t>
            </a:r>
            <a:r>
              <a:rPr lang="en-US" sz="1100" dirty="0" err="1">
                <a:solidFill>
                  <a:schemeClr val="tx2"/>
                </a:solidFill>
              </a:rPr>
              <a:t>Universidades</a:t>
            </a:r>
            <a:r>
              <a:rPr lang="en-US" sz="1100" dirty="0">
                <a:solidFill>
                  <a:schemeClr val="tx2"/>
                </a:solidFill>
              </a:rPr>
              <a:t> </a:t>
            </a:r>
            <a:r>
              <a:rPr lang="en-US" sz="1100" dirty="0" err="1">
                <a:solidFill>
                  <a:schemeClr val="tx2"/>
                </a:solidFill>
              </a:rPr>
              <a:t>liderando</a:t>
            </a:r>
            <a:r>
              <a:rPr lang="en-US" sz="1100" dirty="0">
                <a:solidFill>
                  <a:schemeClr val="tx2"/>
                </a:solidFill>
              </a:rPr>
              <a:t> la </a:t>
            </a:r>
            <a:r>
              <a:rPr lang="en-US" sz="1100" dirty="0" err="1">
                <a:solidFill>
                  <a:schemeClr val="tx2"/>
                </a:solidFill>
              </a:rPr>
              <a:t>tecnología</a:t>
            </a:r>
            <a:endParaRPr lang="en-US" sz="1100" dirty="0">
              <a:solidFill>
                <a:schemeClr val="tx2"/>
              </a:solidFill>
            </a:endParaRPr>
          </a:p>
        </p:txBody>
      </p:sp>
      <p:pic>
        <p:nvPicPr>
          <p:cNvPr id="3082" name="Picture 10" descr="https://iot-uoe.github.io/images/banne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66" y="1993900"/>
            <a:ext cx="9144000" cy="31496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0" y="4735527"/>
            <a:ext cx="4045851" cy="307777"/>
          </a:xfrm>
          <a:prstGeom prst="rect">
            <a:avLst/>
          </a:prstGeom>
          <a:noFill/>
        </p:spPr>
        <p:txBody>
          <a:bodyPr wrap="none" rtlCol="0">
            <a:spAutoFit/>
          </a:bodyPr>
          <a:lstStyle/>
          <a:p>
            <a:r>
              <a:rPr lang="en-US" sz="1400" dirty="0" err="1">
                <a:solidFill>
                  <a:schemeClr val="bg1"/>
                </a:solidFill>
                <a:latin typeface="Trebuchet MS"/>
                <a:cs typeface="Trebuchet MS" panose="020B0502040204020203" pitchFamily="34" charset="0"/>
              </a:rPr>
              <a:t>Programa</a:t>
            </a:r>
            <a:r>
              <a:rPr lang="en-US" sz="1400" dirty="0">
                <a:solidFill>
                  <a:schemeClr val="bg1"/>
                </a:solidFill>
                <a:latin typeface="Trebuchet MS"/>
                <a:cs typeface="Trebuchet MS" panose="020B0502040204020203" pitchFamily="34" charset="0"/>
              </a:rPr>
              <a:t> de IoT </a:t>
            </a:r>
            <a:r>
              <a:rPr lang="en-US" sz="1400" dirty="0" err="1">
                <a:solidFill>
                  <a:schemeClr val="bg1"/>
                </a:solidFill>
                <a:latin typeface="Trebuchet MS"/>
                <a:cs typeface="Trebuchet MS" panose="020B0502040204020203" pitchFamily="34" charset="0"/>
              </a:rPr>
              <a:t>en</a:t>
            </a:r>
            <a:r>
              <a:rPr lang="en-US" sz="1400" dirty="0">
                <a:solidFill>
                  <a:schemeClr val="bg1"/>
                </a:solidFill>
                <a:latin typeface="Trebuchet MS"/>
                <a:cs typeface="Trebuchet MS" panose="020B0502040204020203" pitchFamily="34" charset="0"/>
              </a:rPr>
              <a:t> la Universidad de Edinburgh</a:t>
            </a:r>
          </a:p>
        </p:txBody>
      </p:sp>
      <p:pic>
        <p:nvPicPr>
          <p:cNvPr id="4100" name="Picture 4" descr="Image result for university of edinburgh"/>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83640" y="4039263"/>
            <a:ext cx="644055" cy="644055"/>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p:nvSpPr>
        <p:spPr>
          <a:xfrm>
            <a:off x="140475" y="1304109"/>
            <a:ext cx="2933560" cy="1600438"/>
          </a:xfrm>
          <a:prstGeom prst="rect">
            <a:avLst/>
          </a:prstGeom>
          <a:noFill/>
        </p:spPr>
        <p:txBody>
          <a:bodyPr wrap="none" rtlCol="0">
            <a:spAutoFit/>
          </a:bodyPr>
          <a:lstStyle/>
          <a:p>
            <a:pPr marL="457200" lvl="1" indent="-184150">
              <a:spcBef>
                <a:spcPts val="0"/>
              </a:spcBef>
              <a:buFont typeface="Arial" pitchFamily="34" charset="0"/>
              <a:buChar char="•"/>
            </a:pPr>
            <a:r>
              <a:rPr lang="en-US" sz="1400" dirty="0" err="1">
                <a:solidFill>
                  <a:schemeClr val="accent1">
                    <a:lumMod val="50000"/>
                  </a:schemeClr>
                </a:solidFill>
                <a:latin typeface="Trebuchet MS" pitchFamily="34" charset="0"/>
              </a:rPr>
              <a:t>Ciencias</a:t>
            </a:r>
            <a:r>
              <a:rPr lang="en-US" sz="1400" dirty="0">
                <a:solidFill>
                  <a:schemeClr val="accent1">
                    <a:lumMod val="50000"/>
                  </a:schemeClr>
                </a:solidFill>
                <a:latin typeface="Trebuchet MS" pitchFamily="34" charset="0"/>
              </a:rPr>
              <a:t> de la </a:t>
            </a:r>
            <a:r>
              <a:rPr lang="en-US" sz="1400" dirty="0" err="1">
                <a:solidFill>
                  <a:schemeClr val="accent1">
                    <a:lumMod val="50000"/>
                  </a:schemeClr>
                </a:solidFill>
                <a:latin typeface="Trebuchet MS" pitchFamily="34" charset="0"/>
              </a:rPr>
              <a:t>Computación</a:t>
            </a:r>
            <a:endParaRPr lang="en-US" sz="1400" dirty="0">
              <a:solidFill>
                <a:schemeClr val="accent1">
                  <a:lumMod val="50000"/>
                </a:schemeClr>
              </a:solidFill>
              <a:latin typeface="Trebuchet MS" pitchFamily="34" charset="0"/>
            </a:endParaRPr>
          </a:p>
          <a:p>
            <a:pPr marL="457200" lvl="1" indent="-184150">
              <a:spcBef>
                <a:spcPts val="0"/>
              </a:spcBef>
              <a:buFont typeface="Arial" pitchFamily="34" charset="0"/>
              <a:buChar char="•"/>
            </a:pPr>
            <a:r>
              <a:rPr lang="en-US" sz="1400" dirty="0" err="1">
                <a:solidFill>
                  <a:schemeClr val="accent1">
                    <a:lumMod val="50000"/>
                  </a:schemeClr>
                </a:solidFill>
                <a:latin typeface="Trebuchet MS" pitchFamily="34" charset="0"/>
              </a:rPr>
              <a:t>Escuelas</a:t>
            </a:r>
            <a:r>
              <a:rPr lang="en-US" sz="1400" dirty="0">
                <a:solidFill>
                  <a:schemeClr val="accent1">
                    <a:lumMod val="50000"/>
                  </a:schemeClr>
                </a:solidFill>
                <a:latin typeface="Trebuchet MS" pitchFamily="34" charset="0"/>
              </a:rPr>
              <a:t> de </a:t>
            </a:r>
            <a:r>
              <a:rPr lang="en-US" sz="1400" dirty="0" err="1">
                <a:solidFill>
                  <a:schemeClr val="accent1">
                    <a:lumMod val="50000"/>
                  </a:schemeClr>
                </a:solidFill>
                <a:latin typeface="Trebuchet MS" pitchFamily="34" charset="0"/>
              </a:rPr>
              <a:t>Ingeniería</a:t>
            </a:r>
            <a:endParaRPr lang="en-US" sz="1400" dirty="0">
              <a:solidFill>
                <a:schemeClr val="accent1">
                  <a:lumMod val="50000"/>
                </a:schemeClr>
              </a:solidFill>
              <a:latin typeface="Trebuchet MS" pitchFamily="34" charset="0"/>
            </a:endParaRPr>
          </a:p>
          <a:p>
            <a:pPr marL="457200" lvl="1" indent="-184150">
              <a:spcBef>
                <a:spcPts val="0"/>
              </a:spcBef>
              <a:buFont typeface="Arial" pitchFamily="34" charset="0"/>
              <a:buChar char="•"/>
            </a:pPr>
            <a:r>
              <a:rPr lang="en-US" sz="1400" dirty="0" err="1">
                <a:solidFill>
                  <a:schemeClr val="accent1">
                    <a:lumMod val="50000"/>
                  </a:schemeClr>
                </a:solidFill>
              </a:rPr>
              <a:t>Arquitectura</a:t>
            </a:r>
            <a:endParaRPr lang="en-US" sz="1400" dirty="0">
              <a:solidFill>
                <a:schemeClr val="accent1">
                  <a:lumMod val="50000"/>
                </a:schemeClr>
              </a:solidFill>
            </a:endParaRPr>
          </a:p>
          <a:p>
            <a:pPr marL="457200" lvl="1" indent="-184150">
              <a:spcBef>
                <a:spcPts val="0"/>
              </a:spcBef>
              <a:buFont typeface="Arial" pitchFamily="34" charset="0"/>
              <a:buChar char="•"/>
            </a:pPr>
            <a:r>
              <a:rPr lang="en-US" sz="1400" dirty="0">
                <a:solidFill>
                  <a:schemeClr val="accent1">
                    <a:lumMod val="50000"/>
                  </a:schemeClr>
                </a:solidFill>
              </a:rPr>
              <a:t>Agricultura</a:t>
            </a:r>
          </a:p>
          <a:p>
            <a:pPr marL="457200" lvl="1" indent="-184150">
              <a:spcBef>
                <a:spcPts val="0"/>
              </a:spcBef>
              <a:buFont typeface="Arial" pitchFamily="34" charset="0"/>
              <a:buChar char="•"/>
            </a:pPr>
            <a:r>
              <a:rPr lang="en-US" sz="1400" dirty="0" err="1">
                <a:solidFill>
                  <a:schemeClr val="accent1">
                    <a:lumMod val="50000"/>
                  </a:schemeClr>
                </a:solidFill>
                <a:latin typeface="Trebuchet MS" pitchFamily="34" charset="0"/>
              </a:rPr>
              <a:t>Ciencias</a:t>
            </a:r>
            <a:r>
              <a:rPr lang="en-US" sz="1400" dirty="0">
                <a:solidFill>
                  <a:schemeClr val="accent1">
                    <a:lumMod val="50000"/>
                  </a:schemeClr>
                </a:solidFill>
                <a:latin typeface="Trebuchet MS" pitchFamily="34" charset="0"/>
              </a:rPr>
              <a:t> </a:t>
            </a:r>
            <a:r>
              <a:rPr lang="en-US" sz="1400" dirty="0" err="1">
                <a:solidFill>
                  <a:schemeClr val="accent1">
                    <a:lumMod val="50000"/>
                  </a:schemeClr>
                </a:solidFill>
                <a:latin typeface="Trebuchet MS" pitchFamily="34" charset="0"/>
              </a:rPr>
              <a:t>Ambientales</a:t>
            </a:r>
            <a:endParaRPr lang="en-US" sz="1400" dirty="0">
              <a:solidFill>
                <a:schemeClr val="accent1">
                  <a:lumMod val="50000"/>
                </a:schemeClr>
              </a:solidFill>
              <a:latin typeface="Trebuchet MS" pitchFamily="34" charset="0"/>
            </a:endParaRPr>
          </a:p>
          <a:p>
            <a:pPr marL="457200" lvl="1" indent="-184150">
              <a:spcBef>
                <a:spcPts val="0"/>
              </a:spcBef>
              <a:buFont typeface="Arial" pitchFamily="34" charset="0"/>
              <a:buChar char="•"/>
            </a:pPr>
            <a:r>
              <a:rPr lang="en-US" sz="1400" dirty="0">
                <a:solidFill>
                  <a:schemeClr val="accent1">
                    <a:lumMod val="50000"/>
                  </a:schemeClr>
                </a:solidFill>
                <a:latin typeface="Trebuchet MS" pitchFamily="34" charset="0"/>
              </a:rPr>
              <a:t>Artes</a:t>
            </a:r>
          </a:p>
          <a:p>
            <a:pPr marL="457200" lvl="1" indent="-184150">
              <a:spcBef>
                <a:spcPts val="0"/>
              </a:spcBef>
              <a:buFont typeface="Arial" pitchFamily="34" charset="0"/>
              <a:buChar char="•"/>
            </a:pPr>
            <a:endParaRPr lang="en-US" sz="1400" dirty="0">
              <a:solidFill>
                <a:schemeClr val="accent1">
                  <a:lumMod val="50000"/>
                </a:schemeClr>
              </a:solidFill>
              <a:latin typeface="Trebuchet MS" pitchFamily="34" charset="0"/>
            </a:endParaRPr>
          </a:p>
        </p:txBody>
      </p:sp>
    </p:spTree>
    <p:extLst>
      <p:ext uri="{BB962C8B-B14F-4D97-AF65-F5344CB8AC3E}">
        <p14:creationId xmlns:p14="http://schemas.microsoft.com/office/powerpoint/2010/main" val="1019063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TIMING" val="|13.2|22.5"/>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TIMING" val="|13.2|22.5"/>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ALE_16x9_OPEN_2015">
  <a:themeElements>
    <a:clrScheme name="ALE Custom Colors Nov 2015">
      <a:dk1>
        <a:srgbClr val="000000"/>
      </a:dk1>
      <a:lt1>
        <a:srgbClr val="FFFFFF"/>
      </a:lt1>
      <a:dk2>
        <a:srgbClr val="7F7F7F"/>
      </a:dk2>
      <a:lt2>
        <a:srgbClr val="CF0072"/>
      </a:lt2>
      <a:accent1>
        <a:srgbClr val="00B9E1"/>
      </a:accent1>
      <a:accent2>
        <a:srgbClr val="C2C2C2"/>
      </a:accent2>
      <a:accent3>
        <a:srgbClr val="34B233"/>
      </a:accent3>
      <a:accent4>
        <a:srgbClr val="6639B7"/>
      </a:accent4>
      <a:accent5>
        <a:srgbClr val="FF4500"/>
      </a:accent5>
      <a:accent6>
        <a:srgbClr val="921B9B"/>
      </a:accent6>
      <a:hlink>
        <a:srgbClr val="0085CA"/>
      </a:hlink>
      <a:folHlink>
        <a:srgbClr val="00B2AA"/>
      </a:folHlink>
    </a:clrScheme>
    <a:fontScheme name="Revolution">
      <a:majorFont>
        <a:latin typeface="Trebuchet MS"/>
        <a:ea typeface=""/>
        <a:cs typeface=""/>
        <a:font script="Jpan" typeface="ＭＳ ゴシック"/>
        <a:font script="Hans" typeface="宋体"/>
        <a:font script="Hant" typeface="新細明體"/>
      </a:majorFont>
      <a:minorFont>
        <a:latin typeface="Trebuchet MS"/>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0"/>
          </a:spcBef>
          <a:defRPr>
            <a:latin typeface="Trebuchet MS"/>
            <a:cs typeface="Trebuchet MS"/>
          </a:defRPr>
        </a:defPPr>
      </a:lstStyle>
    </a:spDef>
    <a:lnDef>
      <a:spPr bwMode="auto">
        <a:noFill/>
        <a:ln w="12700" cap="flat" cmpd="sng" algn="ctr">
          <a:solidFill>
            <a:schemeClr val="tx1"/>
          </a:solidFill>
          <a:prstDash val="solid"/>
          <a:round/>
          <a:headEnd type="none" w="med" len="med"/>
          <a:tailEnd type="none"/>
        </a:ln>
        <a:effectLst/>
      </a:spPr>
      <a:bodyPr/>
      <a:lstStyle/>
    </a:lnDef>
    <a:txDef>
      <a:spPr>
        <a:noFill/>
      </a:spPr>
      <a:bodyPr wrap="square" rtlCol="0">
        <a:spAutoFit/>
      </a:bodyPr>
      <a:lstStyle>
        <a:defPPr>
          <a:defRPr sz="1400" dirty="0" err="1" smtClean="0">
            <a:solidFill>
              <a:schemeClr val="bg1"/>
            </a:solidFill>
            <a:latin typeface="Trebuchet MS"/>
            <a:cs typeface="Trebuchet MS" panose="020B0502040204020203" pitchFamily="34" charset="0"/>
          </a:defRPr>
        </a:defPPr>
      </a:lstStyle>
    </a:tx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34B233"/>
        </a:dk2>
        <a:lt2>
          <a:srgbClr val="CF0072"/>
        </a:lt2>
        <a:accent1>
          <a:srgbClr val="34B4E4"/>
        </a:accent1>
        <a:accent2>
          <a:srgbClr val="AA9C8F"/>
        </a:accent2>
        <a:accent3>
          <a:srgbClr val="FFFFFF"/>
        </a:accent3>
        <a:accent4>
          <a:srgbClr val="000000"/>
        </a:accent4>
        <a:accent5>
          <a:srgbClr val="AED6EF"/>
        </a:accent5>
        <a:accent6>
          <a:srgbClr val="9A8D81"/>
        </a:accent6>
        <a:hlink>
          <a:srgbClr val="00549F"/>
        </a:hlink>
        <a:folHlink>
          <a:srgbClr val="FFC828"/>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Trebuchet MS"/>
        <a:ea typeface=""/>
        <a:cs typeface=""/>
        <a:font script="Jpan" typeface="ＭＳ Ｐゴシック"/>
        <a:font script="Hang" typeface="맑은 고딕"/>
        <a:font script="Hans" typeface="宋体"/>
        <a:font script="Hant" typeface="新細明體"/>
        <a:font script="Arab" typeface="Trebuchet MS"/>
        <a:font script="Hebr" typeface="Trebuchet MS"/>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rebuchet MS"/>
        <a:font script="Uigh" typeface="Microsoft Uighur"/>
      </a:majorFont>
      <a:minorFont>
        <a:latin typeface="Trebuchet MS"/>
        <a:ea typeface=""/>
        <a:cs typeface=""/>
        <a:font script="Jpan" typeface="ＭＳ Ｐゴシック"/>
        <a:font script="Hang" typeface="맑은 고딕"/>
        <a:font script="Hans" typeface="宋体"/>
        <a:font script="Hant" typeface="新細明體"/>
        <a:font script="Arab" typeface="Trebuchet MS"/>
        <a:font script="Hebr" typeface="Trebuchet M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rebuchet MS"/>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Trebuchet MS"/>
        <a:ea typeface=""/>
        <a:cs typeface=""/>
        <a:font script="Jpan" typeface="ＭＳ Ｐゴシック"/>
        <a:font script="Hang" typeface="맑은 고딕"/>
        <a:font script="Hans" typeface="宋体"/>
        <a:font script="Hant" typeface="新細明體"/>
        <a:font script="Arab" typeface="Trebuchet MS"/>
        <a:font script="Hebr" typeface="Trebuchet MS"/>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rebuchet MS"/>
        <a:font script="Uigh" typeface="Microsoft Uighur"/>
      </a:majorFont>
      <a:minorFont>
        <a:latin typeface="Trebuchet MS"/>
        <a:ea typeface=""/>
        <a:cs typeface=""/>
        <a:font script="Jpan" typeface="ＭＳ Ｐゴシック"/>
        <a:font script="Hang" typeface="맑은 고딕"/>
        <a:font script="Hans" typeface="宋体"/>
        <a:font script="Hant" typeface="新細明體"/>
        <a:font script="Arab" typeface="Trebuchet MS"/>
        <a:font script="Hebr" typeface="Trebuchet M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rebuchet MS"/>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ALE Custom Colors Nov 2015">
    <a:dk1>
      <a:srgbClr val="000000"/>
    </a:dk1>
    <a:lt1>
      <a:srgbClr val="FFFFFF"/>
    </a:lt1>
    <a:dk2>
      <a:srgbClr val="7F7F7F"/>
    </a:dk2>
    <a:lt2>
      <a:srgbClr val="CF0072"/>
    </a:lt2>
    <a:accent1>
      <a:srgbClr val="00B9E1"/>
    </a:accent1>
    <a:accent2>
      <a:srgbClr val="C2C2C2"/>
    </a:accent2>
    <a:accent3>
      <a:srgbClr val="34B233"/>
    </a:accent3>
    <a:accent4>
      <a:srgbClr val="6639B7"/>
    </a:accent4>
    <a:accent5>
      <a:srgbClr val="FF4500"/>
    </a:accent5>
    <a:accent6>
      <a:srgbClr val="921B9B"/>
    </a:accent6>
    <a:hlink>
      <a:srgbClr val="0085CA"/>
    </a:hlink>
    <a:folHlink>
      <a:srgbClr val="00B2A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rget_x0020_Audiences xmlns="758adf4d-6dc7-4312-970f-22eaff57d821"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DBEB3B7D7E0D74EAF24A1CBB427F8CF" ma:contentTypeVersion="8" ma:contentTypeDescription="Create a new document." ma:contentTypeScope="" ma:versionID="d8b7661b10d497cb293853e68900d28c">
  <xsd:schema xmlns:xsd="http://www.w3.org/2001/XMLSchema" xmlns:xs="http://www.w3.org/2001/XMLSchema" xmlns:p="http://schemas.microsoft.com/office/2006/metadata/properties" xmlns:ns2="782ef10b-558c-42a7-ba14-7325d859466a" xmlns:ns3="758adf4d-6dc7-4312-970f-22eaff57d821" targetNamespace="http://schemas.microsoft.com/office/2006/metadata/properties" ma:root="true" ma:fieldsID="998bb76d3bf7b8bbbcd5bfce2bb48a4e" ns2:_="" ns3:_="">
    <xsd:import namespace="782ef10b-558c-42a7-ba14-7325d859466a"/>
    <xsd:import namespace="758adf4d-6dc7-4312-970f-22eaff57d821"/>
    <xsd:element name="properties">
      <xsd:complexType>
        <xsd:sequence>
          <xsd:element name="documentManagement">
            <xsd:complexType>
              <xsd:all>
                <xsd:element ref="ns2:SharedWithUsers" minOccurs="0"/>
                <xsd:element ref="ns2:SharedWithDetails" minOccurs="0"/>
                <xsd:element ref="ns3:Target_x0020_Audiences" minOccurs="0"/>
                <xsd:element ref="ns2:LastSharedByUser" minOccurs="0"/>
                <xsd:element ref="ns2:LastSharedByTime" minOccurs="0"/>
                <xsd:element ref="ns3:MediaServiceMetadata" minOccurs="0"/>
                <xsd:element ref="ns3:MediaServiceFastMetadata"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82ef10b-558c-42a7-ba14-7325d859466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758adf4d-6dc7-4312-970f-22eaff57d821" elementFormDefault="qualified">
    <xsd:import namespace="http://schemas.microsoft.com/office/2006/documentManagement/types"/>
    <xsd:import namespace="http://schemas.microsoft.com/office/infopath/2007/PartnerControls"/>
    <xsd:element name="Target_x0020_Audiences" ma:index="10" nillable="true" ma:displayName="Target Audiences" ma:internalName="Target_x0020_Audiences">
      <xsd:simpleType>
        <xsd:restriction base="dms:Unknown"/>
      </xsd:simpleType>
    </xsd:element>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5FBBF2F-D242-4DAC-AABD-1D772A15D7B8}">
  <ds:schemaRefs>
    <ds:schemaRef ds:uri="758adf4d-6dc7-4312-970f-22eaff57d821"/>
    <ds:schemaRef ds:uri="http://purl.org/dc/elements/1.1/"/>
    <ds:schemaRef ds:uri="http://schemas.microsoft.com/office/2006/metadata/properties"/>
    <ds:schemaRef ds:uri="http://schemas.openxmlformats.org/package/2006/metadata/core-properties"/>
    <ds:schemaRef ds:uri="http://purl.org/dc/dcmitype/"/>
    <ds:schemaRef ds:uri="http://purl.org/dc/terms/"/>
    <ds:schemaRef ds:uri="782ef10b-558c-42a7-ba14-7325d859466a"/>
    <ds:schemaRef ds:uri="http://www.w3.org/XML/1998/namespace"/>
    <ds:schemaRef ds:uri="http://schemas.microsoft.com/office/2006/documentManagement/types"/>
    <ds:schemaRef ds:uri="http://schemas.microsoft.com/office/infopath/2007/PartnerControls"/>
  </ds:schemaRefs>
</ds:datastoreItem>
</file>

<file path=customXml/itemProps2.xml><?xml version="1.0" encoding="utf-8"?>
<ds:datastoreItem xmlns:ds="http://schemas.openxmlformats.org/officeDocument/2006/customXml" ds:itemID="{5162A67A-8CDF-4BAE-8C4E-DD4EEE7FB699}">
  <ds:schemaRefs>
    <ds:schemaRef ds:uri="http://schemas.microsoft.com/sharepoint/v3/contenttype/forms"/>
  </ds:schemaRefs>
</ds:datastoreItem>
</file>

<file path=customXml/itemProps3.xml><?xml version="1.0" encoding="utf-8"?>
<ds:datastoreItem xmlns:ds="http://schemas.openxmlformats.org/officeDocument/2006/customXml" ds:itemID="{B4A267CE-0A55-4CEE-8566-7769A8FA03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82ef10b-558c-42a7-ba14-7325d859466a"/>
    <ds:schemaRef ds:uri="758adf4d-6dc7-4312-970f-22eaff57d82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1388</Words>
  <Application>Microsoft Office PowerPoint</Application>
  <PresentationFormat>Presentación en pantalla (16:9)</PresentationFormat>
  <Paragraphs>260</Paragraphs>
  <Slides>24</Slides>
  <Notes>13</Notes>
  <HiddenSlides>0</HiddenSlides>
  <MMClips>1</MMClips>
  <ScaleCrop>false</ScaleCrop>
  <HeadingPairs>
    <vt:vector size="6" baseType="variant">
      <vt:variant>
        <vt:lpstr>Fuentes usadas</vt:lpstr>
      </vt:variant>
      <vt:variant>
        <vt:i4>10</vt:i4>
      </vt:variant>
      <vt:variant>
        <vt:lpstr>Tema</vt:lpstr>
      </vt:variant>
      <vt:variant>
        <vt:i4>2</vt:i4>
      </vt:variant>
      <vt:variant>
        <vt:lpstr>Títulos de diapositiva</vt:lpstr>
      </vt:variant>
      <vt:variant>
        <vt:i4>24</vt:i4>
      </vt:variant>
    </vt:vector>
  </HeadingPairs>
  <TitlesOfParts>
    <vt:vector size="36" baseType="lpstr">
      <vt:lpstr>Adobe Devanagari</vt:lpstr>
      <vt:lpstr>MS PGothic</vt:lpstr>
      <vt:lpstr>Arial</vt:lpstr>
      <vt:lpstr>Calibri</vt:lpstr>
      <vt:lpstr>Calibri Light</vt:lpstr>
      <vt:lpstr>Segoe UI</vt:lpstr>
      <vt:lpstr>Times New Roman</vt:lpstr>
      <vt:lpstr>Trebuchet MS</vt:lpstr>
      <vt:lpstr>Verdana</vt:lpstr>
      <vt:lpstr>Wingdings</vt:lpstr>
      <vt:lpstr>ALE_16x9_OPEN_2015</vt:lpstr>
      <vt:lpstr>Thème Office</vt:lpstr>
      <vt:lpstr>La Explosión de IoT en el Campus</vt:lpstr>
      <vt:lpstr>Algunos puntos a considerar</vt:lpstr>
      <vt:lpstr>Smart Campus – Universidades se comportan como una pequeña ciudad</vt:lpstr>
      <vt:lpstr>Presentación de PowerPoint</vt:lpstr>
      <vt:lpstr>La relevancia del IoT</vt:lpstr>
      <vt:lpstr>Herramientas para mejorar la educación</vt:lpstr>
      <vt:lpstr>Conveniencia en el campus y dormitorios</vt:lpstr>
      <vt:lpstr>Operaciones y Seguridad en el Campus</vt:lpstr>
      <vt:lpstr>Investigación y programas académicos</vt:lpstr>
      <vt:lpstr>Acceso para todos!!!</vt:lpstr>
      <vt:lpstr>Seguridad</vt:lpstr>
      <vt:lpstr>IoT tendrá un papel significativo en las estrategias y decisiones de infraestructura TIC</vt:lpstr>
      <vt:lpstr>Retos</vt:lpstr>
      <vt:lpstr>Solution</vt:lpstr>
      <vt:lpstr>Construya la bases correctas para su transformación digital</vt:lpstr>
      <vt:lpstr>Presentación de PowerPoint</vt:lpstr>
      <vt:lpstr>Fácil activación de dispositivos</vt:lpstr>
      <vt:lpstr>Habilitación de IoT</vt:lpstr>
      <vt:lpstr>Presentación de PowerPoint</vt:lpstr>
      <vt:lpstr>Conclusión</vt:lpstr>
      <vt:lpstr>Construir el fundamento para su evolución digital</vt:lpstr>
      <vt:lpstr>Presentación de PowerPoint</vt:lpstr>
      <vt:lpstr>Demostración</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ackie Morris</dc:creator>
  <cp:lastModifiedBy>Villa Jorge Alberto</cp:lastModifiedBy>
  <cp:revision>1370</cp:revision>
  <dcterms:created xsi:type="dcterms:W3CDTF">2011-08-29T20:41:33Z</dcterms:created>
  <dcterms:modified xsi:type="dcterms:W3CDTF">2019-09-03T16:52: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BEB3B7D7E0D74EAF24A1CBB427F8CF</vt:lpwstr>
  </property>
</Properties>
</file>